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4.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notesSlides/notesSlide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xml" ContentType="application/vnd.openxmlformats-officedocument.presentationml.notesSlide+xml"/>
  <Override PartName="/ppt/tags/tag97.xml" ContentType="application/vnd.openxmlformats-officedocument.presentationml.tags+xml"/>
  <Override PartName="/ppt/notesSlides/notesSlide4.xml" ContentType="application/vnd.openxmlformats-officedocument.presentationml.notesSlide+xml"/>
  <Override PartName="/ppt/tags/tag98.xml" ContentType="application/vnd.openxmlformats-officedocument.presentationml.tags+xml"/>
  <Override PartName="/ppt/notesSlides/notesSlide5.xml" ContentType="application/vnd.openxmlformats-officedocument.presentationml.notesSlide+xml"/>
  <Override PartName="/ppt/tags/tag99.xml" ContentType="application/vnd.openxmlformats-officedocument.presentationml.tags+xml"/>
  <Override PartName="/ppt/notesSlides/notesSlide6.xml" ContentType="application/vnd.openxmlformats-officedocument.presentationml.notesSlide+xml"/>
  <Override PartName="/ppt/tags/tag100.xml" ContentType="application/vnd.openxmlformats-officedocument.presentationml.tags+xml"/>
  <Override PartName="/ppt/notesSlides/notesSlide7.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8.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9.xml" ContentType="application/vnd.openxmlformats-officedocument.presentationml.notesSlide+xml"/>
  <Override PartName="/ppt/tags/tag109.xml" ContentType="application/vnd.openxmlformats-officedocument.presentationml.tags+xml"/>
  <Override PartName="/ppt/notesSlides/notesSlide10.xml" ContentType="application/vnd.openxmlformats-officedocument.presentationml.notesSlide+xml"/>
  <Override PartName="/ppt/tags/tag110.xml" ContentType="application/vnd.openxmlformats-officedocument.presentationml.tags+xml"/>
  <Override PartName="/ppt/notesSlides/notesSlide11.xml" ContentType="application/vnd.openxmlformats-officedocument.presentationml.notesSlide+xml"/>
  <Override PartName="/ppt/tags/tag111.xml" ContentType="application/vnd.openxmlformats-officedocument.presentationml.tags+xml"/>
  <Override PartName="/ppt/notesSlides/notesSlide12.xml" ContentType="application/vnd.openxmlformats-officedocument.presentationml.notesSlide+xml"/>
  <Override PartName="/ppt/tags/tag112.xml" ContentType="application/vnd.openxmlformats-officedocument.presentationml.tags+xml"/>
  <Override PartName="/ppt/notesSlides/notesSlide13.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4.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5.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57.xml" ContentType="application/vnd.openxmlformats-officedocument.presentationml.tags+xml"/>
  <Override PartName="/ppt/tags/tag158.xml" ContentType="application/vnd.openxmlformats-officedocument.presentationml.tags+xml"/>
  <Override PartName="/ppt/notesSlides/notesSlide17.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8" r:id="rId5"/>
    <p:sldMasterId id="2147483702" r:id="rId6"/>
  </p:sldMasterIdLst>
  <p:notesMasterIdLst>
    <p:notesMasterId r:id="rId37"/>
  </p:notesMasterIdLst>
  <p:sldIdLst>
    <p:sldId id="256" r:id="rId7"/>
    <p:sldId id="541" r:id="rId8"/>
    <p:sldId id="492" r:id="rId9"/>
    <p:sldId id="556" r:id="rId10"/>
    <p:sldId id="686" r:id="rId11"/>
    <p:sldId id="881" r:id="rId12"/>
    <p:sldId id="896" r:id="rId13"/>
    <p:sldId id="268" r:id="rId14"/>
    <p:sldId id="692" r:id="rId15"/>
    <p:sldId id="879" r:id="rId16"/>
    <p:sldId id="885" r:id="rId17"/>
    <p:sldId id="877" r:id="rId18"/>
    <p:sldId id="888" r:id="rId19"/>
    <p:sldId id="889" r:id="rId20"/>
    <p:sldId id="892" r:id="rId21"/>
    <p:sldId id="273" r:id="rId22"/>
    <p:sldId id="274" r:id="rId23"/>
    <p:sldId id="278" r:id="rId24"/>
    <p:sldId id="285" r:id="rId25"/>
    <p:sldId id="284" r:id="rId26"/>
    <p:sldId id="283" r:id="rId27"/>
    <p:sldId id="693" r:id="rId28"/>
    <p:sldId id="870" r:id="rId29"/>
    <p:sldId id="694" r:id="rId30"/>
    <p:sldId id="894" r:id="rId31"/>
    <p:sldId id="873" r:id="rId32"/>
    <p:sldId id="878" r:id="rId33"/>
    <p:sldId id="887" r:id="rId34"/>
    <p:sldId id="895" r:id="rId35"/>
    <p:sldId id="304"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3BA6"/>
    <a:srgbClr val="13349A"/>
    <a:srgbClr val="0E2C8C"/>
    <a:srgbClr val="E6EBF5"/>
    <a:srgbClr val="45E1D2"/>
    <a:srgbClr val="193DAA"/>
    <a:srgbClr val="0A2472"/>
    <a:srgbClr val="3281F6"/>
    <a:srgbClr val="09268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1575" autoAdjust="0"/>
  </p:normalViewPr>
  <p:slideViewPr>
    <p:cSldViewPr snapToGrid="0">
      <p:cViewPr>
        <p:scale>
          <a:sx n="62" d="100"/>
          <a:sy n="62" d="100"/>
        </p:scale>
        <p:origin x="760" y="28"/>
      </p:cViewPr>
      <p:guideLst>
        <p:guide pos="3840"/>
        <p:guide orient="horz" pos="2160"/>
      </p:guideLst>
    </p:cSldViewPr>
  </p:slideViewPr>
  <p:notesTextViewPr>
    <p:cViewPr>
      <p:scale>
        <a:sx n="1" d="1"/>
        <a:sy n="1" d="1"/>
      </p:scale>
      <p:origin x="0" y="0"/>
    </p:cViewPr>
  </p:notesTextViewPr>
  <p:sorterViewPr>
    <p:cViewPr>
      <p:scale>
        <a:sx n="100" d="100"/>
        <a:sy n="100" d="100"/>
      </p:scale>
      <p:origin x="0" y="-2707"/>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77675840978593E-2"/>
          <c:y val="3.3397559409120106E-2"/>
          <c:w val="0.96024464831804279"/>
          <c:h val="0.93320488118175982"/>
        </c:manualLayout>
      </c:layout>
      <c:barChart>
        <c:barDir val="bar"/>
        <c:grouping val="clustered"/>
        <c:varyColors val="0"/>
        <c:ser>
          <c:idx val="0"/>
          <c:order val="0"/>
          <c:spPr>
            <a:solidFill>
              <a:schemeClr val="accent1"/>
            </a:solidFill>
            <a:ln>
              <a:noFill/>
            </a:ln>
          </c:spPr>
          <c:invertIfNegative val="0"/>
          <c:val>
            <c:numRef>
              <c:f>Sheet1!$A$1:$D$1</c:f>
              <c:numCache>
                <c:formatCode>General</c:formatCode>
                <c:ptCount val="4"/>
                <c:pt idx="0">
                  <c:v>83</c:v>
                </c:pt>
                <c:pt idx="1">
                  <c:v>15</c:v>
                </c:pt>
                <c:pt idx="2">
                  <c:v>2</c:v>
                </c:pt>
                <c:pt idx="3">
                  <c:v>0</c:v>
                </c:pt>
              </c:numCache>
            </c:numRef>
          </c:val>
          <c:extLst>
            <c:ext xmlns:c16="http://schemas.microsoft.com/office/drawing/2014/chart" uri="{C3380CC4-5D6E-409C-BE32-E72D297353CC}">
              <c16:uniqueId val="{00000000-14E5-4381-9E7D-F60B4C9F0740}"/>
            </c:ext>
          </c:extLst>
        </c:ser>
        <c:ser>
          <c:idx val="1"/>
          <c:order val="1"/>
          <c:spPr>
            <a:solidFill>
              <a:schemeClr val="hlink"/>
            </a:solidFill>
            <a:ln>
              <a:noFill/>
            </a:ln>
          </c:spPr>
          <c:invertIfNegative val="0"/>
          <c:val>
            <c:numRef>
              <c:f>Sheet1!$A$2:$D$2</c:f>
              <c:numCache>
                <c:formatCode>General</c:formatCode>
                <c:ptCount val="4"/>
                <c:pt idx="0">
                  <c:v>84</c:v>
                </c:pt>
                <c:pt idx="1">
                  <c:v>14.000000000000002</c:v>
                </c:pt>
                <c:pt idx="2">
                  <c:v>3</c:v>
                </c:pt>
                <c:pt idx="3">
                  <c:v>0</c:v>
                </c:pt>
              </c:numCache>
            </c:numRef>
          </c:val>
          <c:extLst>
            <c:ext xmlns:c16="http://schemas.microsoft.com/office/drawing/2014/chart" uri="{C3380CC4-5D6E-409C-BE32-E72D297353CC}">
              <c16:uniqueId val="{00000001-14E5-4381-9E7D-F60B4C9F0740}"/>
            </c:ext>
          </c:extLst>
        </c:ser>
        <c:ser>
          <c:idx val="2"/>
          <c:order val="2"/>
          <c:spPr>
            <a:solidFill>
              <a:schemeClr val="accent2"/>
            </a:solidFill>
            <a:ln>
              <a:noFill/>
            </a:ln>
          </c:spPr>
          <c:invertIfNegative val="0"/>
          <c:val>
            <c:numRef>
              <c:f>Sheet1!$A$3:$D$3</c:f>
              <c:numCache>
                <c:formatCode>General</c:formatCode>
                <c:ptCount val="4"/>
                <c:pt idx="0">
                  <c:v>85</c:v>
                </c:pt>
                <c:pt idx="1">
                  <c:v>14.000000000000002</c:v>
                </c:pt>
                <c:pt idx="2">
                  <c:v>1</c:v>
                </c:pt>
                <c:pt idx="3">
                  <c:v>0</c:v>
                </c:pt>
              </c:numCache>
            </c:numRef>
          </c:val>
          <c:extLst>
            <c:ext xmlns:c16="http://schemas.microsoft.com/office/drawing/2014/chart" uri="{C3380CC4-5D6E-409C-BE32-E72D297353CC}">
              <c16:uniqueId val="{00000002-14E5-4381-9E7D-F60B4C9F0740}"/>
            </c:ext>
          </c:extLst>
        </c:ser>
        <c:dLbls>
          <c:showLegendKey val="0"/>
          <c:showVal val="0"/>
          <c:showCatName val="0"/>
          <c:showSerName val="0"/>
          <c:showPercent val="0"/>
          <c:showBubbleSize val="0"/>
        </c:dLbls>
        <c:gapWidth val="80"/>
        <c:axId val="1716842143"/>
        <c:axId val="1"/>
      </c:barChart>
      <c:catAx>
        <c:axId val="171684214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5"/>
          <c:min val="0"/>
        </c:scaling>
        <c:delete val="1"/>
        <c:axPos val="t"/>
        <c:numFmt formatCode="General" sourceLinked="1"/>
        <c:majorTickMark val="out"/>
        <c:minorTickMark val="none"/>
        <c:tickLblPos val="nextTo"/>
        <c:crossAx val="171684214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84300341296929E-2"/>
          <c:y val="0.17449664429530201"/>
          <c:w val="0.95563139931740615"/>
          <c:h val="0.65100671140939592"/>
        </c:manualLayout>
      </c:layout>
      <c:barChart>
        <c:barDir val="col"/>
        <c:grouping val="stacked"/>
        <c:varyColors val="0"/>
        <c:ser>
          <c:idx val="0"/>
          <c:order val="0"/>
          <c:spPr>
            <a:solidFill>
              <a:schemeClr val="accent6"/>
            </a:solidFill>
            <a:ln>
              <a:noFill/>
            </a:ln>
          </c:spPr>
          <c:invertIfNegative val="0"/>
          <c:val>
            <c:numRef>
              <c:f>Sheet1!$A$1:$C$1</c:f>
              <c:numCache>
                <c:formatCode>General</c:formatCode>
                <c:ptCount val="3"/>
                <c:pt idx="0">
                  <c:v>1095.6521739130433</c:v>
                </c:pt>
                <c:pt idx="1">
                  <c:v>424.44444444444446</c:v>
                </c:pt>
                <c:pt idx="2">
                  <c:v>863.33333333333326</c:v>
                </c:pt>
              </c:numCache>
            </c:numRef>
          </c:val>
          <c:extLst>
            <c:ext xmlns:c16="http://schemas.microsoft.com/office/drawing/2014/chart" uri="{C3380CC4-5D6E-409C-BE32-E72D297353CC}">
              <c16:uniqueId val="{00000000-88E8-42E6-90D2-C3D3B0651579}"/>
            </c:ext>
          </c:extLst>
        </c:ser>
        <c:dLbls>
          <c:showLegendKey val="0"/>
          <c:showVal val="0"/>
          <c:showCatName val="0"/>
          <c:showSerName val="0"/>
          <c:showPercent val="0"/>
          <c:showBubbleSize val="0"/>
        </c:dLbls>
        <c:gapWidth val="80"/>
        <c:overlap val="100"/>
        <c:axId val="1716828703"/>
        <c:axId val="1"/>
      </c:barChart>
      <c:catAx>
        <c:axId val="17168287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95.6521739130433"/>
          <c:min val="0"/>
        </c:scaling>
        <c:delete val="1"/>
        <c:axPos val="l"/>
        <c:numFmt formatCode="General" sourceLinked="1"/>
        <c:majorTickMark val="out"/>
        <c:minorTickMark val="none"/>
        <c:tickLblPos val="nextTo"/>
        <c:crossAx val="1716828703"/>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alibri" panose="020F0502020204030204" pitchFamily="34" charset="0"/>
                <a:cs typeface="Calibri" panose="020F0502020204030204" pitchFamily="34" charset="0"/>
                <a:sym typeface="Calibri" panose="020F0502020204030204" pitchFamily="34" charset="0"/>
              </a:defRPr>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alibri" panose="020F0502020204030204" pitchFamily="34" charset="0"/>
                <a:cs typeface="Calibri" panose="020F0502020204030204" pitchFamily="34" charset="0"/>
                <a:sym typeface="Calibri" panose="020F0502020204030204" pitchFamily="34" charset="0"/>
              </a:defRPr>
            </a:lvl1pPr>
          </a:lstStyle>
          <a:p>
            <a:fld id="{AC3BDB33-5499-4BF5-8021-4AB16A5F234D}" type="datetimeFigureOut">
              <a:rPr lang="en-IN" smtClean="0"/>
              <a:pPr/>
              <a:t>11-07-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alibri" panose="020F0502020204030204" pitchFamily="34" charset="0"/>
                <a:cs typeface="Calibri" panose="020F0502020204030204" pitchFamily="34" charset="0"/>
                <a:sym typeface="Calibri" panose="020F0502020204030204" pitchFamily="34" charset="0"/>
              </a:defRPr>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libri" panose="020F0502020204030204" pitchFamily="34" charset="0"/>
                <a:cs typeface="Calibri" panose="020F0502020204030204" pitchFamily="34" charset="0"/>
                <a:sym typeface="Calibri" panose="020F0502020204030204" pitchFamily="34" charset="0"/>
              </a:defRPr>
            </a:lvl1pPr>
          </a:lstStyle>
          <a:p>
            <a:fld id="{808B04B9-C30D-4FA3-A24E-84C76B166B3B}" type="slidenum">
              <a:rPr lang="en-IN" smtClean="0"/>
              <a:pPr/>
              <a:t>‹#›</a:t>
            </a:fld>
            <a:endParaRPr lang="en-IN"/>
          </a:p>
        </p:txBody>
      </p:sp>
    </p:spTree>
    <p:extLst>
      <p:ext uri="{BB962C8B-B14F-4D97-AF65-F5344CB8AC3E}">
        <p14:creationId xmlns:p14="http://schemas.microsoft.com/office/powerpoint/2010/main" val="29086965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9144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13716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18288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808B04B9-C30D-4FA3-A24E-84C76B166B3B}" type="slidenum">
              <a:rPr lang="en-IN" smtClean="0"/>
              <a:t>1</a:t>
            </a:fld>
            <a:endParaRPr lang="en-IN"/>
          </a:p>
        </p:txBody>
      </p:sp>
    </p:spTree>
    <p:extLst>
      <p:ext uri="{BB962C8B-B14F-4D97-AF65-F5344CB8AC3E}">
        <p14:creationId xmlns:p14="http://schemas.microsoft.com/office/powerpoint/2010/main" val="3755961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3"/>
        <p:cNvGrpSpPr/>
        <p:nvPr/>
      </p:nvGrpSpPr>
      <p:grpSpPr>
        <a:xfrm>
          <a:off x="0" y="0"/>
          <a:ext cx="0" cy="0"/>
          <a:chOff x="0" y="0"/>
          <a:chExt cx="0" cy="0"/>
        </a:xfrm>
      </p:grpSpPr>
      <p:sp>
        <p:nvSpPr>
          <p:cNvPr id="1404" name="Google Shape;140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05" name="Google Shape;140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643978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3"/>
        <p:cNvGrpSpPr/>
        <p:nvPr/>
      </p:nvGrpSpPr>
      <p:grpSpPr>
        <a:xfrm>
          <a:off x="0" y="0"/>
          <a:ext cx="0" cy="0"/>
          <a:chOff x="0" y="0"/>
          <a:chExt cx="0" cy="0"/>
        </a:xfrm>
      </p:grpSpPr>
      <p:sp>
        <p:nvSpPr>
          <p:cNvPr id="1404" name="Google Shape;140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05" name="Google Shape;140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52483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3"/>
        <p:cNvGrpSpPr/>
        <p:nvPr/>
      </p:nvGrpSpPr>
      <p:grpSpPr>
        <a:xfrm>
          <a:off x="0" y="0"/>
          <a:ext cx="0" cy="0"/>
          <a:chOff x="0" y="0"/>
          <a:chExt cx="0" cy="0"/>
        </a:xfrm>
      </p:grpSpPr>
      <p:sp>
        <p:nvSpPr>
          <p:cNvPr id="1404" name="Google Shape;140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05" name="Google Shape;140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11370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I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lang="en-IN"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1801346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E7619A79-94C4-4373-8F1F-A8B39B1E85EA}" type="slidenum">
              <a:rPr lang="en-IN" smtClean="0"/>
              <a:t>22</a:t>
            </a:fld>
            <a:endParaRPr lang="en-IN"/>
          </a:p>
        </p:txBody>
      </p:sp>
    </p:spTree>
    <p:extLst>
      <p:ext uri="{BB962C8B-B14F-4D97-AF65-F5344CB8AC3E}">
        <p14:creationId xmlns:p14="http://schemas.microsoft.com/office/powerpoint/2010/main" val="1257042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E7619A79-94C4-4373-8F1F-A8B39B1E85EA}" type="slidenum">
              <a:rPr lang="en-IN" smtClean="0"/>
              <a:t>24</a:t>
            </a:fld>
            <a:endParaRPr lang="en-IN"/>
          </a:p>
        </p:txBody>
      </p:sp>
    </p:spTree>
    <p:extLst>
      <p:ext uri="{BB962C8B-B14F-4D97-AF65-F5344CB8AC3E}">
        <p14:creationId xmlns:p14="http://schemas.microsoft.com/office/powerpoint/2010/main" val="3086755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9"/>
        <p:cNvGrpSpPr/>
        <p:nvPr/>
      </p:nvGrpSpPr>
      <p:grpSpPr>
        <a:xfrm>
          <a:off x="0" y="0"/>
          <a:ext cx="0" cy="0"/>
          <a:chOff x="0" y="0"/>
          <a:chExt cx="0" cy="0"/>
        </a:xfrm>
      </p:grpSpPr>
      <p:sp>
        <p:nvSpPr>
          <p:cNvPr id="870" name="Google Shape;870;p1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71" name="Google Shape;87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463553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619A79-94C4-4373-8F1F-A8B39B1E85EA}"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235447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7"/>
        <p:cNvGrpSpPr/>
        <p:nvPr/>
      </p:nvGrpSpPr>
      <p:grpSpPr>
        <a:xfrm>
          <a:off x="0" y="0"/>
          <a:ext cx="0" cy="0"/>
          <a:chOff x="0" y="0"/>
          <a:chExt cx="0" cy="0"/>
        </a:xfrm>
      </p:grpSpPr>
      <p:sp>
        <p:nvSpPr>
          <p:cNvPr id="2878" name="Google Shape;2878;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79" name="Google Shape;2879;p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80" name="Google Shape;2880;p4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idx="10"/>
          </p:nvPr>
        </p:nvSpPr>
        <p:spPr/>
        <p:txBody>
          <a:bodyPr/>
          <a:lstStyle/>
          <a:p>
            <a:pPr algn="r">
              <a:buSzPct val="25000"/>
            </a:pPr>
            <a:fld id="{00000000-1234-1234-1234-123412341234}" type="slidenum">
              <a:rPr lang="en-US" sz="1200" b="1">
                <a:solidFill>
                  <a:schemeClr val="dk1"/>
                </a:solidFill>
              </a:rPr>
              <a:pPr algn="r">
                <a:buSzPct val="25000"/>
              </a:pPr>
              <a:t>3</a:t>
            </a:fld>
            <a:endParaRPr lang="en-US" sz="1200" b="1">
              <a:solidFill>
                <a:schemeClr val="dk1"/>
              </a:solidFill>
            </a:endParaRPr>
          </a:p>
        </p:txBody>
      </p:sp>
    </p:spTree>
    <p:extLst>
      <p:ext uri="{BB962C8B-B14F-4D97-AF65-F5344CB8AC3E}">
        <p14:creationId xmlns:p14="http://schemas.microsoft.com/office/powerpoint/2010/main" val="323820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E7619A79-94C4-4373-8F1F-A8B39B1E85EA}" type="slidenum">
              <a:rPr lang="en-IN" smtClean="0"/>
              <a:t>4</a:t>
            </a:fld>
            <a:endParaRPr lang="en-IN"/>
          </a:p>
        </p:txBody>
      </p:sp>
    </p:spTree>
    <p:extLst>
      <p:ext uri="{BB962C8B-B14F-4D97-AF65-F5344CB8AC3E}">
        <p14:creationId xmlns:p14="http://schemas.microsoft.com/office/powerpoint/2010/main" val="835606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8"/>
        <p:cNvGrpSpPr/>
        <p:nvPr/>
      </p:nvGrpSpPr>
      <p:grpSpPr>
        <a:xfrm>
          <a:off x="0" y="0"/>
          <a:ext cx="0" cy="0"/>
          <a:chOff x="0" y="0"/>
          <a:chExt cx="0" cy="0"/>
        </a:xfrm>
      </p:grpSpPr>
      <p:sp>
        <p:nvSpPr>
          <p:cNvPr id="1279" name="Google Shape;1279;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80" name="Google Shape;1280;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3"/>
        <p:cNvGrpSpPr/>
        <p:nvPr/>
      </p:nvGrpSpPr>
      <p:grpSpPr>
        <a:xfrm>
          <a:off x="0" y="0"/>
          <a:ext cx="0" cy="0"/>
          <a:chOff x="0" y="0"/>
          <a:chExt cx="0" cy="0"/>
        </a:xfrm>
      </p:grpSpPr>
      <p:sp>
        <p:nvSpPr>
          <p:cNvPr id="1404" name="Google Shape;140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05" name="Google Shape;140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52786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
        <p:cNvGrpSpPr/>
        <p:nvPr/>
      </p:nvGrpSpPr>
      <p:grpSpPr>
        <a:xfrm>
          <a:off x="0" y="0"/>
          <a:ext cx="0" cy="0"/>
          <a:chOff x="0" y="0"/>
          <a:chExt cx="0" cy="0"/>
        </a:xfrm>
      </p:grpSpPr>
      <p:sp>
        <p:nvSpPr>
          <p:cNvPr id="905" name="Google Shape;905;p14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906" name="Google Shape;906;p1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5834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2"/>
        <p:cNvGrpSpPr/>
        <p:nvPr/>
      </p:nvGrpSpPr>
      <p:grpSpPr>
        <a:xfrm>
          <a:off x="0" y="0"/>
          <a:ext cx="0" cy="0"/>
          <a:chOff x="0" y="0"/>
          <a:chExt cx="0" cy="0"/>
        </a:xfrm>
      </p:grpSpPr>
      <p:sp>
        <p:nvSpPr>
          <p:cNvPr id="1243" name="Google Shape;1243;p14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1244" name="Google Shape;1244;p14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E7619A79-94C4-4373-8F1F-A8B39B1E85EA}" type="slidenum">
              <a:rPr lang="en-IN" smtClean="0"/>
              <a:t>9</a:t>
            </a:fld>
            <a:endParaRPr lang="en-IN"/>
          </a:p>
        </p:txBody>
      </p:sp>
    </p:spTree>
    <p:extLst>
      <p:ext uri="{BB962C8B-B14F-4D97-AF65-F5344CB8AC3E}">
        <p14:creationId xmlns:p14="http://schemas.microsoft.com/office/powerpoint/2010/main" val="23736700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E7619A79-94C4-4373-8F1F-A8B39B1E85EA}" type="slidenum">
              <a:rPr lang="en-IN" smtClean="0"/>
              <a:t>12</a:t>
            </a:fld>
            <a:endParaRPr lang="en-IN"/>
          </a:p>
        </p:txBody>
      </p:sp>
    </p:spTree>
    <p:extLst>
      <p:ext uri="{BB962C8B-B14F-4D97-AF65-F5344CB8AC3E}">
        <p14:creationId xmlns:p14="http://schemas.microsoft.com/office/powerpoint/2010/main" val="19919304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3.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5.jpe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3.wdp"/><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4.wdp"/><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5.wdp"/><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9.png"/><Relationship Id="rId5" Type="http://schemas.openxmlformats.org/officeDocument/2006/relationships/image" Target="../media/image14.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6.wdp"/><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0.png"/><Relationship Id="rId5" Type="http://schemas.openxmlformats.org/officeDocument/2006/relationships/image" Target="../media/image1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s://infomineo.com/insights/blog/" TargetMode="External"/><Relationship Id="rId13" Type="http://schemas.openxmlformats.org/officeDocument/2006/relationships/image" Target="../media/image23.emf"/><Relationship Id="rId3" Type="http://schemas.openxmlformats.org/officeDocument/2006/relationships/oleObject" Target="../embeddings/oleObject31.bin"/><Relationship Id="rId7" Type="http://schemas.openxmlformats.org/officeDocument/2006/relationships/image" Target="../media/image6.svg"/><Relationship Id="rId12" Type="http://schemas.openxmlformats.org/officeDocument/2006/relationships/hyperlink" Target="https://www.facebook.com/Infomineo/" TargetMode="External"/><Relationship Id="rId2" Type="http://schemas.openxmlformats.org/officeDocument/2006/relationships/slideMaster" Target="../slideMasters/slideMaster1.xml"/><Relationship Id="rId1" Type="http://schemas.openxmlformats.org/officeDocument/2006/relationships/tags" Target="../tags/tag61.xml"/><Relationship Id="rId6" Type="http://schemas.openxmlformats.org/officeDocument/2006/relationships/image" Target="../media/image5.png"/><Relationship Id="rId11" Type="http://schemas.openxmlformats.org/officeDocument/2006/relationships/image" Target="../media/image22.emf"/><Relationship Id="rId5" Type="http://schemas.openxmlformats.org/officeDocument/2006/relationships/hyperlink" Target="https://infomineo.com/" TargetMode="External"/><Relationship Id="rId10" Type="http://schemas.openxmlformats.org/officeDocument/2006/relationships/hyperlink" Target="https://www.linkedin.com/company-beta/2416143/admin/updates/" TargetMode="External"/><Relationship Id="rId4" Type="http://schemas.openxmlformats.org/officeDocument/2006/relationships/image" Target="../media/image13.emf"/><Relationship Id="rId9" Type="http://schemas.openxmlformats.org/officeDocument/2006/relationships/image" Target="../media/image21.w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26.png"/><Relationship Id="rId7" Type="http://schemas.openxmlformats.org/officeDocument/2006/relationships/image" Target="../media/image28.png"/><Relationship Id="rId2" Type="http://schemas.openxmlformats.org/officeDocument/2006/relationships/hyperlink" Target="https://infomineo.com/" TargetMode="External"/><Relationship Id="rId1" Type="http://schemas.openxmlformats.org/officeDocument/2006/relationships/slideMaster" Target="../slideMasters/slideMaster2.xml"/><Relationship Id="rId6" Type="http://schemas.openxmlformats.org/officeDocument/2006/relationships/hyperlink" Target="https://www.linkedin.com/company-beta/2416143/admin/updates/" TargetMode="External"/><Relationship Id="rId5" Type="http://schemas.openxmlformats.org/officeDocument/2006/relationships/image" Target="../media/image27.png"/><Relationship Id="rId4" Type="http://schemas.openxmlformats.org/officeDocument/2006/relationships/hyperlink" Target="https://infomineo.com/insights/blog/" TargetMode="External"/><Relationship Id="rId9" Type="http://schemas.openxmlformats.org/officeDocument/2006/relationships/image" Target="../media/image2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71.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33.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infomineo.com/insights/blog/" TargetMode="External"/><Relationship Id="rId7" Type="http://schemas.openxmlformats.org/officeDocument/2006/relationships/hyperlink" Target="https://www.facebook.com/Infomineo/" TargetMode="External"/><Relationship Id="rId2" Type="http://schemas.openxmlformats.org/officeDocument/2006/relationships/hyperlink" Target="https://infomineo.com/" TargetMode="External"/><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hyperlink" Target="https://www.linkedin.com/company-beta/2416143/admin/updates/" TargetMode="External"/><Relationship Id="rId10" Type="http://schemas.openxmlformats.org/officeDocument/2006/relationships/image" Target="../media/image10.svg"/><Relationship Id="rId4" Type="http://schemas.openxmlformats.org/officeDocument/2006/relationships/image" Target="../media/image27.png"/><Relationship Id="rId9"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3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68586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t="-4" r="-1" b="-4"/>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8"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8" y="1844676"/>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51297"/>
            <a:ext cx="5478239" cy="1246495"/>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BF5158EB-C08E-40B8-8ED0-962C0F6BA21C}" type="datetime4">
              <a:rPr lang="en-US" smtClean="0"/>
              <a:t>July 11, 2023</a:t>
            </a:fld>
            <a:endParaRPr lang="en-IN" dirty="0"/>
          </a:p>
        </p:txBody>
      </p:sp>
      <p:pic>
        <p:nvPicPr>
          <p:cNvPr id="28" name="Graphic 27">
            <a:extLst>
              <a:ext uri="{FF2B5EF4-FFF2-40B4-BE49-F238E27FC236}">
                <a16:creationId xmlns:a16="http://schemas.microsoft.com/office/drawing/2014/main" id="{D71087DA-5BA8-41BD-999A-2C7F15FF36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896" y="450469"/>
            <a:ext cx="2497452" cy="574280"/>
          </a:xfrm>
          <a:prstGeom prst="rect">
            <a:avLst/>
          </a:prstGeom>
        </p:spPr>
      </p:pic>
    </p:spTree>
    <p:extLst>
      <p:ext uri="{BB962C8B-B14F-4D97-AF65-F5344CB8AC3E}">
        <p14:creationId xmlns:p14="http://schemas.microsoft.com/office/powerpoint/2010/main" val="13100669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Grey backgroun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88775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A3ACF9-E695-4094-9A16-A4F48EC9FF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725425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3"/>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5"/>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3"/>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5"/>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Tree>
    <p:extLst>
      <p:ext uri="{BB962C8B-B14F-4D97-AF65-F5344CB8AC3E}">
        <p14:creationId xmlns:p14="http://schemas.microsoft.com/office/powerpoint/2010/main" val="4595252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9817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476173-BEA2-49BD-B5FE-C9602A2A7D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35069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35069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8135839" y="2175803"/>
            <a:ext cx="35053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8135839" y="1857375"/>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59121794-F5DD-4A31-9CFD-38DDBBCF1C7C}"/>
              </a:ext>
            </a:extLst>
          </p:cNvPr>
          <p:cNvSpPr>
            <a:spLocks noGrp="1"/>
          </p:cNvSpPr>
          <p:nvPr>
            <p:ph type="body" sz="quarter" idx="17" hasCustomPrompt="1"/>
          </p:nvPr>
        </p:nvSpPr>
        <p:spPr>
          <a:xfrm>
            <a:off x="4344162" y="2175803"/>
            <a:ext cx="35053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3143DD43-CBE6-4068-87AB-C994C1891565}"/>
              </a:ext>
            </a:extLst>
          </p:cNvPr>
          <p:cNvSpPr>
            <a:spLocks noGrp="1"/>
          </p:cNvSpPr>
          <p:nvPr>
            <p:ph type="body" sz="quarter" idx="18" hasCustomPrompt="1"/>
          </p:nvPr>
        </p:nvSpPr>
        <p:spPr>
          <a:xfrm>
            <a:off x="4344162" y="1857375"/>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15326925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87911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14B796-0A71-42E1-B6EB-B6B2B794121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25594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3"/>
            <a:ext cx="2554875"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5"/>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3395664" y="2175803"/>
            <a:ext cx="25594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3395664" y="1857375"/>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9086263" y="2175803"/>
            <a:ext cx="2554875"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9086263" y="1857375"/>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38745769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409243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80F200-6A77-426D-879D-7C93BD8B9FB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19836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5104050"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5104050"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2827457" y="2175803"/>
            <a:ext cx="19836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2827457" y="1857375"/>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7380643"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7380643"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37" name="Text Placeholder 14">
            <a:extLst>
              <a:ext uri="{FF2B5EF4-FFF2-40B4-BE49-F238E27FC236}">
                <a16:creationId xmlns:a16="http://schemas.microsoft.com/office/drawing/2014/main" id="{ADA6637A-F017-4396-B239-B80ED2F97B37}"/>
              </a:ext>
            </a:extLst>
          </p:cNvPr>
          <p:cNvSpPr>
            <a:spLocks noGrp="1"/>
          </p:cNvSpPr>
          <p:nvPr>
            <p:ph type="body" sz="quarter" idx="21" hasCustomPrompt="1"/>
          </p:nvPr>
        </p:nvSpPr>
        <p:spPr>
          <a:xfrm>
            <a:off x="9660801"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8" name="Text Placeholder 14">
            <a:extLst>
              <a:ext uri="{FF2B5EF4-FFF2-40B4-BE49-F238E27FC236}">
                <a16:creationId xmlns:a16="http://schemas.microsoft.com/office/drawing/2014/main" id="{7B295F18-5030-4811-B6C7-29EE7444BC70}"/>
              </a:ext>
            </a:extLst>
          </p:cNvPr>
          <p:cNvSpPr>
            <a:spLocks noGrp="1"/>
          </p:cNvSpPr>
          <p:nvPr>
            <p:ph type="body" sz="quarter" idx="22" hasCustomPrompt="1"/>
          </p:nvPr>
        </p:nvSpPr>
        <p:spPr>
          <a:xfrm>
            <a:off x="9660801"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712996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79622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C34F18-9238-4944-9751-DBBFCD9E3C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3077171" cy="837152"/>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61E219BD-1BA8-B546-8642-A805A79B597F}"/>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40022947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0105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9" name="Rectangle 8">
            <a:extLst>
              <a:ext uri="{FF2B5EF4-FFF2-40B4-BE49-F238E27FC236}">
                <a16:creationId xmlns:a16="http://schemas.microsoft.com/office/drawing/2014/main" id="{DD057705-6172-4294-BBA5-1648A283F8CF}"/>
              </a:ext>
            </a:extLst>
          </p:cNvPr>
          <p:cNvSpPr/>
          <p:nvPr userDrawn="1"/>
        </p:nvSpPr>
        <p:spPr>
          <a:xfrm>
            <a:off x="0" y="-1"/>
            <a:ext cx="12192000" cy="2377441"/>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5" name="Title 4">
            <a:extLst>
              <a:ext uri="{FF2B5EF4-FFF2-40B4-BE49-F238E27FC236}">
                <a16:creationId xmlns:a16="http://schemas.microsoft.com/office/drawing/2014/main" id="{2CB9776C-E953-422C-BB43-BE29FDD186C8}"/>
              </a:ext>
            </a:extLst>
          </p:cNvPr>
          <p:cNvSpPr>
            <a:spLocks noGrp="1"/>
          </p:cNvSpPr>
          <p:nvPr>
            <p:ph type="title"/>
          </p:nvPr>
        </p:nvSpPr>
        <p:spPr>
          <a:xfrm>
            <a:off x="550863" y="560588"/>
            <a:ext cx="11089972" cy="443198"/>
          </a:xfrm>
        </p:spPr>
        <p:txBody>
          <a:bodyPr/>
          <a:lstStyle>
            <a:lvl1pPr>
              <a:defRPr>
                <a:solidFill>
                  <a:schemeClr val="bg1"/>
                </a:solidFill>
              </a:defRPr>
            </a:lvl1pPr>
          </a:lstStyle>
          <a:p>
            <a:r>
              <a:rPr lang="en-US" dirty="0"/>
              <a:t>Click to edit Master title style</a:t>
            </a:r>
            <a:endParaRPr lang="en-IN" dirty="0"/>
          </a:p>
        </p:txBody>
      </p:sp>
      <p:cxnSp>
        <p:nvCxnSpPr>
          <p:cNvPr id="10" name="Straight Connector 9">
            <a:extLst>
              <a:ext uri="{FF2B5EF4-FFF2-40B4-BE49-F238E27FC236}">
                <a16:creationId xmlns:a16="http://schemas.microsoft.com/office/drawing/2014/main" id="{E32D61BF-04DB-4CF5-B8B8-FCCBADB025CC}"/>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0067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3226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3077171" cy="837152"/>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7D40989-093D-497F-A8CA-3F93ACC1104E}"/>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38502419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56054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AAE3F72-88DF-4B4D-99C2-2DFE1EFB16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6098537"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5385396" cy="418576"/>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114D1E49-4D99-476D-920F-4752B876172D}"/>
              </a:ext>
            </a:extLst>
          </p:cNvPr>
          <p:cNvSpPr>
            <a:spLocks noGrp="1"/>
          </p:cNvSpPr>
          <p:nvPr>
            <p:ph type="ftr" sz="quarter" idx="3"/>
          </p:nvPr>
        </p:nvSpPr>
        <p:spPr>
          <a:xfrm>
            <a:off x="566142"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24904660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28015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8FBABF1-7718-43F6-B247-8269F95D220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1" y="3010422"/>
            <a:ext cx="3032465" cy="837152"/>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7" name="Footer Placeholder 4">
            <a:extLst>
              <a:ext uri="{FF2B5EF4-FFF2-40B4-BE49-F238E27FC236}">
                <a16:creationId xmlns:a16="http://schemas.microsoft.com/office/drawing/2014/main" id="{806BC45B-28D3-4748-A59A-03B0AF6C4170}"/>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2826361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751323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FBC274A-4D13-36BA-81DC-556B9740C81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515" t="9091" r="1515" b="9091"/>
          <a:stretch/>
        </p:blipFill>
        <p:spPr>
          <a:xfrm>
            <a:off x="0" y="0"/>
            <a:ext cx="12192000" cy="6858000"/>
          </a:xfrm>
          <a:prstGeom prst="rect">
            <a:avLst/>
          </a:prstGeom>
        </p:spPr>
      </p:pic>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3" name="Rectangle 12">
            <a:extLst>
              <a:ext uri="{FF2B5EF4-FFF2-40B4-BE49-F238E27FC236}">
                <a16:creationId xmlns:a16="http://schemas.microsoft.com/office/drawing/2014/main" id="{80270E3B-760C-41F0-B9D6-A2E014047679}"/>
              </a:ext>
            </a:extLst>
          </p:cNvPr>
          <p:cNvSpPr/>
          <p:nvPr userDrawn="1"/>
        </p:nvSpPr>
        <p:spPr>
          <a:xfrm>
            <a:off x="536448"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8" y="1844676"/>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51297"/>
            <a:ext cx="5478239" cy="1246495"/>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BF5158EB-C08E-40B8-8ED0-962C0F6BA21C}" type="datetime4">
              <a:rPr lang="en-US" smtClean="0"/>
              <a:t>July 11, 2023</a:t>
            </a:fld>
            <a:endParaRPr lang="en-IN" dirty="0"/>
          </a:p>
        </p:txBody>
      </p:sp>
      <p:pic>
        <p:nvPicPr>
          <p:cNvPr id="28" name="Graphic 27">
            <a:extLst>
              <a:ext uri="{FF2B5EF4-FFF2-40B4-BE49-F238E27FC236}">
                <a16:creationId xmlns:a16="http://schemas.microsoft.com/office/drawing/2014/main" id="{D71087DA-5BA8-41BD-999A-2C7F15FF36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896" y="450469"/>
            <a:ext cx="2497452" cy="574280"/>
          </a:xfrm>
          <a:prstGeom prst="rect">
            <a:avLst/>
          </a:prstGeom>
        </p:spPr>
      </p:pic>
    </p:spTree>
    <p:extLst>
      <p:ext uri="{BB962C8B-B14F-4D97-AF65-F5344CB8AC3E}">
        <p14:creationId xmlns:p14="http://schemas.microsoft.com/office/powerpoint/2010/main" val="2715538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318821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694F4AE1-9478-4BD2-88AE-435A08BBBD3D}"/>
              </a:ext>
            </a:extLst>
          </p:cNvPr>
          <p:cNvSpPr>
            <a:spLocks noGrp="1"/>
          </p:cNvSpPr>
          <p:nvPr>
            <p:ph type="title"/>
          </p:nvPr>
        </p:nvSpPr>
        <p:spPr>
          <a:xfrm>
            <a:off x="550863" y="560588"/>
            <a:ext cx="11089972" cy="41857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dirty="0"/>
              <a:t>Click to edit Master title style</a:t>
            </a:r>
            <a:endParaRPr lang="en-IN" dirty="0"/>
          </a:p>
        </p:txBody>
      </p:sp>
      <p:cxnSp>
        <p:nvCxnSpPr>
          <p:cNvPr id="6" name="Straight Connector 5">
            <a:extLst>
              <a:ext uri="{FF2B5EF4-FFF2-40B4-BE49-F238E27FC236}">
                <a16:creationId xmlns:a16="http://schemas.microsoft.com/office/drawing/2014/main" id="{AC27F5F1-6E1A-43D9-B04D-DEEBA03354E7}"/>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63795" y="5290633"/>
            <a:ext cx="1542089"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23" name="Footer Placeholder 4">
            <a:extLst>
              <a:ext uri="{FF2B5EF4-FFF2-40B4-BE49-F238E27FC236}">
                <a16:creationId xmlns:a16="http://schemas.microsoft.com/office/drawing/2014/main" id="{3C13A330-69BE-41FF-B32E-FB999A737436}"/>
              </a:ext>
            </a:extLst>
          </p:cNvPr>
          <p:cNvSpPr>
            <a:spLocks noGrp="1"/>
          </p:cNvSpPr>
          <p:nvPr>
            <p:ph type="ftr" sz="quarter" idx="3"/>
          </p:nvPr>
        </p:nvSpPr>
        <p:spPr>
          <a:xfrm>
            <a:off x="550863"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31705377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ue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964793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23" name="Footer Placeholder 4">
            <a:extLst>
              <a:ext uri="{FF2B5EF4-FFF2-40B4-BE49-F238E27FC236}">
                <a16:creationId xmlns:a16="http://schemas.microsoft.com/office/drawing/2014/main" id="{3C13A330-69BE-41FF-B32E-FB999A737436}"/>
              </a:ext>
            </a:extLst>
          </p:cNvPr>
          <p:cNvSpPr>
            <a:spLocks noGrp="1"/>
          </p:cNvSpPr>
          <p:nvPr>
            <p:ph type="ftr" sz="quarter" idx="3"/>
          </p:nvPr>
        </p:nvSpPr>
        <p:spPr>
          <a:xfrm>
            <a:off x="550863"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22331279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003623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7E2B9A3-0AB0-4FA9-BE30-99B8A88EB1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8134763" y="-1"/>
            <a:ext cx="4059776"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562841"/>
            <a:ext cx="7261122" cy="418576"/>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3" y="6445294"/>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747BD8F9-1D4E-4291-8770-E69192472F2F}"/>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F19AD426-D097-4B58-AA0C-5D7F9F888F48}"/>
              </a:ext>
            </a:extLst>
          </p:cNvPr>
          <p:cNvGrpSpPr/>
          <p:nvPr userDrawn="1"/>
        </p:nvGrpSpPr>
        <p:grpSpPr>
          <a:xfrm>
            <a:off x="11998459" y="6162188"/>
            <a:ext cx="68500" cy="441924"/>
            <a:chOff x="11998459" y="6162188"/>
            <a:chExt cx="68500" cy="441924"/>
          </a:xfrm>
          <a:solidFill>
            <a:schemeClr val="bg1"/>
          </a:solidFill>
        </p:grpSpPr>
        <p:sp>
          <p:nvSpPr>
            <p:cNvPr id="10" name="Freeform: Shape 9">
              <a:extLst>
                <a:ext uri="{FF2B5EF4-FFF2-40B4-BE49-F238E27FC236}">
                  <a16:creationId xmlns:a16="http://schemas.microsoft.com/office/drawing/2014/main" id="{90898366-B817-43FB-AFAE-6B0F4D8DBE50}"/>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1" name="Freeform: Shape 10">
              <a:extLst>
                <a:ext uri="{FF2B5EF4-FFF2-40B4-BE49-F238E27FC236}">
                  <a16:creationId xmlns:a16="http://schemas.microsoft.com/office/drawing/2014/main" id="{C17DAB8C-8046-45A5-9FE4-564DE8FE4EE2}"/>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F1156B93-1AC0-4DBA-B396-FC69064FFEF4}"/>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A1E59D13-5E41-48F0-B4AD-7159EBBE3A9B}"/>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B55096B5-2F5A-4EE7-9D5D-017B4E21FBAC}"/>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DB19AA4-F79C-4F57-8079-2753D73438F9}"/>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9614D237-BF63-4029-98DA-D71D891F28BD}"/>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9B16BE89-A7E5-45F9-971D-D0BD8B330A7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005136AA-2C5A-47B0-9E10-05F2E530C402}"/>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9547C5FE-7A4A-4EDD-B629-A30100071A11}"/>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BD0E1BA-DF6A-404C-9E16-E00370C5726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0B07B6BF-075A-4C4F-BA25-883DFCB7229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59E62E96-212A-4625-95BF-B76CFC534CF1}"/>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3" name="Copyright">
            <a:extLst>
              <a:ext uri="{FF2B5EF4-FFF2-40B4-BE49-F238E27FC236}">
                <a16:creationId xmlns:a16="http://schemas.microsoft.com/office/drawing/2014/main" id="{9D736DFD-D753-4935-B0F1-C258D786A795}"/>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24" name="Footer Placeholder 2">
            <a:extLst>
              <a:ext uri="{FF2B5EF4-FFF2-40B4-BE49-F238E27FC236}">
                <a16:creationId xmlns:a16="http://schemas.microsoft.com/office/drawing/2014/main" id="{102EDCD8-AA6A-4696-8E69-48019CAD0AD1}"/>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26505082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3574794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C2C367-8056-426B-81B2-4B2C7238E5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562841"/>
            <a:ext cx="5205071" cy="837152"/>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3" y="6445294"/>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9" name="Straight Connector 8">
            <a:extLst>
              <a:ext uri="{FF2B5EF4-FFF2-40B4-BE49-F238E27FC236}">
                <a16:creationId xmlns:a16="http://schemas.microsoft.com/office/drawing/2014/main" id="{C8C5468B-3210-455B-960F-ACC92937B434}"/>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D85A519-4566-4E0C-A58C-80A700C7504C}"/>
              </a:ext>
            </a:extLst>
          </p:cNvPr>
          <p:cNvGrpSpPr/>
          <p:nvPr userDrawn="1"/>
        </p:nvGrpSpPr>
        <p:grpSpPr>
          <a:xfrm>
            <a:off x="11998459" y="6162188"/>
            <a:ext cx="68500" cy="441924"/>
            <a:chOff x="11998459" y="6162188"/>
            <a:chExt cx="68500" cy="441924"/>
          </a:xfrm>
          <a:solidFill>
            <a:schemeClr val="bg1"/>
          </a:solidFill>
        </p:grpSpPr>
        <p:sp>
          <p:nvSpPr>
            <p:cNvPr id="11" name="Freeform: Shape 10">
              <a:extLst>
                <a:ext uri="{FF2B5EF4-FFF2-40B4-BE49-F238E27FC236}">
                  <a16:creationId xmlns:a16="http://schemas.microsoft.com/office/drawing/2014/main" id="{7CAE1C60-A871-443D-A7F9-B6E2D559E441}"/>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D1655526-EBA0-434F-9F17-F2F25EB67C64}"/>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B7304F15-51D1-4B7A-AD7A-819CBC4AE4D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6338FE57-1805-4A9C-BF1D-DAD6347D2D9A}"/>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6B569ED1-C596-40B1-BE9A-9017E2A34317}"/>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4009E87D-15F6-461B-8613-4D45DEC91DF8}"/>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EF1E131A-2CBD-498E-BF77-35CB73179FB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70206C6A-0755-4A5A-A68A-80DA88954D0D}"/>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E77717B5-6538-40B8-80D9-DF6AF219884E}"/>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A6F4C72B-A338-43A5-B504-D7C59DF51F82}"/>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12BF5563-93F1-481A-91B4-C075059E368E}"/>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7FC16EFC-46A9-416F-86D6-804893E20E5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CB960D13-8779-48EB-ACDD-6F71D394676F}"/>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5" name="Footer Placeholder 2">
            <a:extLst>
              <a:ext uri="{FF2B5EF4-FFF2-40B4-BE49-F238E27FC236}">
                <a16:creationId xmlns:a16="http://schemas.microsoft.com/office/drawing/2014/main" id="{8D5C90CD-E3CF-46F9-BF9E-F748CFCE162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35623131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131716185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874EE92D-4D1C-47C9-913E-5715C82141F2}"/>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948612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5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34017395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ECE5C3D-D93A-DBD7-39B1-D9D00DD8AD8B}"/>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1919" t="7707" r="21919" b="7707"/>
          <a:stretch/>
        </p:blipFill>
        <p:spPr>
          <a:xfrm>
            <a:off x="0" y="0"/>
            <a:ext cx="12192000"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2923215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36722130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6C96425-6CDC-4E22-05CC-4B40D3E50BDA}"/>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4275" t="4296" r="4275" b="18385"/>
          <a:stretch/>
        </p:blipFill>
        <p:spPr>
          <a:xfrm>
            <a:off x="0" y="0"/>
            <a:ext cx="12192000"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2844642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229433829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D2B8655-2F4A-868B-C79D-01D5D1BA08BD}"/>
              </a:ext>
            </a:extLst>
          </p:cNvPr>
          <p:cNvPicPr>
            <a:picLocks noChangeAspect="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7573" y="0"/>
            <a:ext cx="12156854"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1431318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47747112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E09FE20-9827-C595-5B42-0E41BC5D77C9}"/>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6390" t="5882" r="6390" b="5882"/>
          <a:stretch/>
        </p:blipFill>
        <p:spPr>
          <a:xfrm>
            <a:off x="35146" y="0"/>
            <a:ext cx="12156854"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2104326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6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364480282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8E1BC5E-BE01-39D3-839A-84A44EE84C9A}"/>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6587" t="7174" r="12652" b="7174"/>
          <a:stretch/>
        </p:blipFill>
        <p:spPr>
          <a:xfrm>
            <a:off x="35146" y="0"/>
            <a:ext cx="12121708"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4047068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Option 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366131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4A727BF-EF41-4850-A868-11C0325A6C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8" name="Picture 7" descr="A large body of water with a city in the background&#10;&#10;Description automatically generated">
            <a:extLst>
              <a:ext uri="{FF2B5EF4-FFF2-40B4-BE49-F238E27FC236}">
                <a16:creationId xmlns:a16="http://schemas.microsoft.com/office/drawing/2014/main" id="{A415120D-3668-49C1-AE11-A5139E17FB7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214" t="3933" r="2214" b="3933"/>
          <a:stretch/>
        </p:blipFill>
        <p:spPr>
          <a:xfrm>
            <a:off x="269998" y="270000"/>
            <a:ext cx="11652001" cy="6318000"/>
          </a:xfrm>
          <a:prstGeom prst="rect">
            <a:avLst/>
          </a:prstGeom>
        </p:spPr>
      </p:pic>
      <p:sp>
        <p:nvSpPr>
          <p:cNvPr id="13" name="Rectangle 12">
            <a:extLst>
              <a:ext uri="{FF2B5EF4-FFF2-40B4-BE49-F238E27FC236}">
                <a16:creationId xmlns:a16="http://schemas.microsoft.com/office/drawing/2014/main" id="{7BE857BB-5DDF-4AEA-8F22-D5F9820E5C07}"/>
              </a:ext>
            </a:extLst>
          </p:cNvPr>
          <p:cNvSpPr/>
          <p:nvPr userDrawn="1"/>
        </p:nvSpPr>
        <p:spPr>
          <a:xfrm>
            <a:off x="536448" y="540000"/>
            <a:ext cx="6363891" cy="631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337943"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337943"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C285226A-F240-4F22-9D48-062E79258A8D}" type="datetime4">
              <a:rPr lang="en-US" smtClean="0"/>
              <a:t>July 11, 2023</a:t>
            </a:fld>
            <a:endParaRPr lang="en-IN"/>
          </a:p>
        </p:txBody>
      </p:sp>
      <p:pic>
        <p:nvPicPr>
          <p:cNvPr id="25" name="Graphic 24">
            <a:extLst>
              <a:ext uri="{FF2B5EF4-FFF2-40B4-BE49-F238E27FC236}">
                <a16:creationId xmlns:a16="http://schemas.microsoft.com/office/drawing/2014/main" id="{D16DBE00-5C8F-4D3E-95EE-B4530AF96EC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896" y="901732"/>
            <a:ext cx="2497452" cy="574280"/>
          </a:xfrm>
          <a:prstGeom prst="rect">
            <a:avLst/>
          </a:prstGeom>
        </p:spPr>
      </p:pic>
    </p:spTree>
    <p:extLst>
      <p:ext uri="{BB962C8B-B14F-4D97-AF65-F5344CB8AC3E}">
        <p14:creationId xmlns:p14="http://schemas.microsoft.com/office/powerpoint/2010/main" val="26099458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16146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6" name="TextBox 5">
            <a:extLst>
              <a:ext uri="{FF2B5EF4-FFF2-40B4-BE49-F238E27FC236}">
                <a16:creationId xmlns:a16="http://schemas.microsoft.com/office/drawing/2014/main" id="{8106A152-DC8B-0C47-8CFD-D99759D28F81}"/>
              </a:ext>
            </a:extLst>
          </p:cNvPr>
          <p:cNvSpPr txBox="1"/>
          <p:nvPr userDrawn="1"/>
        </p:nvSpPr>
        <p:spPr>
          <a:xfrm>
            <a:off x="550863" y="5965461"/>
            <a:ext cx="3028906" cy="369332"/>
          </a:xfrm>
          <a:prstGeom prst="rect">
            <a:avLst/>
          </a:prstGeom>
          <a:noFill/>
        </p:spPr>
        <p:txBody>
          <a:bodyPr wrap="none" lIns="0" tIns="0" rIns="0" bIns="0" rtlCol="0">
            <a:spAutoFit/>
          </a:bodyPr>
          <a:lstStyle/>
          <a:p>
            <a:pPr algn="l"/>
            <a:r>
              <a:rPr lang="en-GB" sz="1200" b="1" i="0" u="sng"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hlinkClick r:id="rId5">
                  <a:extLst>
                    <a:ext uri="{A12FA001-AC4F-418D-AE19-62706E023703}">
                      <ahyp:hlinkClr xmlns:ahyp="http://schemas.microsoft.com/office/drawing/2018/hyperlinkcolor" val="tx"/>
                    </a:ext>
                  </a:extLst>
                </a:hlinkClick>
              </a:rPr>
              <a:t>www.infomineo.com</a:t>
            </a:r>
            <a:endParaRPr lang="en-GB" sz="1200" b="1" i="0" u="sng"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endParaRPr>
          </a:p>
          <a:p>
            <a:pPr algn="l"/>
            <a:r>
              <a:rPr lang="en-GB" sz="1200" b="0" i="0" dirty="0">
                <a:solidFill>
                  <a:schemeClr val="bg1"/>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Infomineo Copyright © 2023. All rights reserved.</a:t>
            </a:r>
          </a:p>
        </p:txBody>
      </p:sp>
      <p:pic>
        <p:nvPicPr>
          <p:cNvPr id="13" name="Graphic 12">
            <a:extLst>
              <a:ext uri="{FF2B5EF4-FFF2-40B4-BE49-F238E27FC236}">
                <a16:creationId xmlns:a16="http://schemas.microsoft.com/office/drawing/2014/main" id="{C7CFAB11-6F0A-43F9-8297-D133DEE8097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56669" y="3006053"/>
            <a:ext cx="3678662" cy="845895"/>
          </a:xfrm>
          <a:prstGeom prst="rect">
            <a:avLst/>
          </a:prstGeom>
        </p:spPr>
      </p:pic>
      <p:pic>
        <p:nvPicPr>
          <p:cNvPr id="30" name="Picture 29">
            <a:hlinkClick r:id="rId8"/>
            <a:extLst>
              <a:ext uri="{FF2B5EF4-FFF2-40B4-BE49-F238E27FC236}">
                <a16:creationId xmlns:a16="http://schemas.microsoft.com/office/drawing/2014/main" id="{3ED467EF-C028-4376-B7C8-A8830D77CF76}"/>
              </a:ext>
            </a:extLst>
          </p:cNvPr>
          <p:cNvPicPr>
            <a:picLocks noChangeAspect="1"/>
          </p:cNvPicPr>
          <p:nvPr userDrawn="1"/>
        </p:nvPicPr>
        <p:blipFill>
          <a:blip r:embed="rId9"/>
          <a:stretch>
            <a:fillRect/>
          </a:stretch>
        </p:blipFill>
        <p:spPr>
          <a:xfrm>
            <a:off x="11323329" y="5965461"/>
            <a:ext cx="370332" cy="370332"/>
          </a:xfrm>
          <a:prstGeom prst="rect">
            <a:avLst/>
          </a:prstGeom>
        </p:spPr>
      </p:pic>
      <p:pic>
        <p:nvPicPr>
          <p:cNvPr id="32" name="Picture 31">
            <a:hlinkClick r:id="rId10"/>
            <a:extLst>
              <a:ext uri="{FF2B5EF4-FFF2-40B4-BE49-F238E27FC236}">
                <a16:creationId xmlns:a16="http://schemas.microsoft.com/office/drawing/2014/main" id="{3BF2889F-2FC0-49EE-9DAD-8868FC3BE522}"/>
              </a:ext>
            </a:extLst>
          </p:cNvPr>
          <p:cNvPicPr>
            <a:picLocks noChangeAspect="1"/>
          </p:cNvPicPr>
          <p:nvPr userDrawn="1"/>
        </p:nvPicPr>
        <p:blipFill>
          <a:blip r:embed="rId11"/>
          <a:stretch>
            <a:fillRect/>
          </a:stretch>
        </p:blipFill>
        <p:spPr>
          <a:xfrm>
            <a:off x="10825964" y="5965461"/>
            <a:ext cx="368808" cy="370332"/>
          </a:xfrm>
          <a:prstGeom prst="rect">
            <a:avLst/>
          </a:prstGeom>
        </p:spPr>
      </p:pic>
      <p:pic>
        <p:nvPicPr>
          <p:cNvPr id="34" name="Picture 33">
            <a:hlinkClick r:id="rId12"/>
            <a:extLst>
              <a:ext uri="{FF2B5EF4-FFF2-40B4-BE49-F238E27FC236}">
                <a16:creationId xmlns:a16="http://schemas.microsoft.com/office/drawing/2014/main" id="{96507CF0-D683-43B8-9352-634205E2EC2C}"/>
              </a:ext>
            </a:extLst>
          </p:cNvPr>
          <p:cNvPicPr>
            <a:picLocks noChangeAspect="1"/>
          </p:cNvPicPr>
          <p:nvPr userDrawn="1"/>
        </p:nvPicPr>
        <p:blipFill>
          <a:blip r:embed="rId13"/>
          <a:stretch>
            <a:fillRect/>
          </a:stretch>
        </p:blipFill>
        <p:spPr>
          <a:xfrm>
            <a:off x="10328599" y="5965461"/>
            <a:ext cx="368808" cy="370332"/>
          </a:xfrm>
          <a:prstGeom prst="rect">
            <a:avLst/>
          </a:prstGeom>
        </p:spPr>
      </p:pic>
    </p:spTree>
    <p:extLst>
      <p:ext uri="{BB962C8B-B14F-4D97-AF65-F5344CB8AC3E}">
        <p14:creationId xmlns:p14="http://schemas.microsoft.com/office/powerpoint/2010/main" val="26288132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uides">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C7E8C095-69F2-4BC8-964E-A1BFE9309E4B}"/>
              </a:ext>
            </a:extLst>
          </p:cNvPr>
          <p:cNvGraphicFramePr>
            <a:graphicFrameLocks noChangeAspect="1"/>
          </p:cNvGraphicFramePr>
          <p:nvPr userDrawn="1">
            <p:custDataLst>
              <p:tags r:id="rId1"/>
            </p:custDataLst>
            <p:extLst>
              <p:ext uri="{D42A27DB-BD31-4B8C-83A1-F6EECF244321}">
                <p14:modId xmlns:p14="http://schemas.microsoft.com/office/powerpoint/2010/main" val="870154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B5F11C0-1445-4182-AF87-C63E0DB6CE2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7" name="Freeform: Shape 95">
            <a:extLst>
              <a:ext uri="{FF2B5EF4-FFF2-40B4-BE49-F238E27FC236}">
                <a16:creationId xmlns:a16="http://schemas.microsoft.com/office/drawing/2014/main" id="{E5A08834-247C-4C9E-93E7-8514C051C060}"/>
              </a:ext>
            </a:extLst>
          </p:cNvPr>
          <p:cNvSpPr/>
          <p:nvPr userDrawn="1"/>
        </p:nvSpPr>
        <p:spPr>
          <a:xfrm>
            <a:off x="0" y="0"/>
            <a:ext cx="12193200" cy="6858000"/>
          </a:xfrm>
          <a:custGeom>
            <a:avLst/>
            <a:gdLst>
              <a:gd name="connsiteX0" fmla="*/ 566584 w 12193200"/>
              <a:gd name="connsiteY0" fmla="*/ 549276 h 6858000"/>
              <a:gd name="connsiteX1" fmla="*/ 566584 w 12193200"/>
              <a:gd name="connsiteY1" fmla="*/ 6308726 h 6858000"/>
              <a:gd name="connsiteX2" fmla="*/ 11641138 w 12193200"/>
              <a:gd name="connsiteY2" fmla="*/ 6308726 h 6858000"/>
              <a:gd name="connsiteX3" fmla="*/ 11641138 w 12193200"/>
              <a:gd name="connsiteY3" fmla="*/ 549276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5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50" name="Group 49">
            <a:extLst>
              <a:ext uri="{FF2B5EF4-FFF2-40B4-BE49-F238E27FC236}">
                <a16:creationId xmlns:a16="http://schemas.microsoft.com/office/drawing/2014/main" id="{D59B0D14-7DD8-45E2-B968-99300FF0D28D}"/>
              </a:ext>
            </a:extLst>
          </p:cNvPr>
          <p:cNvGrpSpPr/>
          <p:nvPr userDrawn="1"/>
        </p:nvGrpSpPr>
        <p:grpSpPr>
          <a:xfrm>
            <a:off x="-600" y="549275"/>
            <a:ext cx="12193200" cy="5759450"/>
            <a:chOff x="-600" y="549275"/>
            <a:chExt cx="12193200" cy="5759450"/>
          </a:xfrm>
        </p:grpSpPr>
        <p:cxnSp>
          <p:nvCxnSpPr>
            <p:cNvPr id="24" name="Straight Connector 23">
              <a:extLst>
                <a:ext uri="{FF2B5EF4-FFF2-40B4-BE49-F238E27FC236}">
                  <a16:creationId xmlns:a16="http://schemas.microsoft.com/office/drawing/2014/main" id="{EFD9771C-C32F-443B-97DA-AB808B787FCB}"/>
                </a:ext>
              </a:extLst>
            </p:cNvPr>
            <p:cNvCxnSpPr/>
            <p:nvPr/>
          </p:nvCxnSpPr>
          <p:spPr>
            <a:xfrm>
              <a:off x="-600" y="54927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FDCFA-8871-4375-9DD7-4FC5886280A9}"/>
                </a:ext>
              </a:extLst>
            </p:cNvPr>
            <p:cNvCxnSpPr/>
            <p:nvPr/>
          </p:nvCxnSpPr>
          <p:spPr>
            <a:xfrm>
              <a:off x="-600" y="107286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BCC4B7F-FEF1-4EA1-831D-C9AA6F5F064E}"/>
                </a:ext>
              </a:extLst>
            </p:cNvPr>
            <p:cNvCxnSpPr/>
            <p:nvPr/>
          </p:nvCxnSpPr>
          <p:spPr>
            <a:xfrm>
              <a:off x="-600" y="133465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1DCA16-8F73-4630-BDD0-2A70C4A58AB4}"/>
                </a:ext>
              </a:extLst>
            </p:cNvPr>
            <p:cNvCxnSpPr/>
            <p:nvPr/>
          </p:nvCxnSpPr>
          <p:spPr>
            <a:xfrm>
              <a:off x="-600" y="159644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C31EB1-B3A4-46CF-BFA4-063B67EE1C0D}"/>
                </a:ext>
              </a:extLst>
            </p:cNvPr>
            <p:cNvCxnSpPr/>
            <p:nvPr/>
          </p:nvCxnSpPr>
          <p:spPr>
            <a:xfrm>
              <a:off x="-600" y="185824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3E6A85-DDE0-4463-B476-9FA784357023}"/>
                </a:ext>
              </a:extLst>
            </p:cNvPr>
            <p:cNvCxnSpPr/>
            <p:nvPr/>
          </p:nvCxnSpPr>
          <p:spPr>
            <a:xfrm>
              <a:off x="-600" y="212003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4D7F3C-5BD5-4AC2-88A1-966E801F5AED}"/>
                </a:ext>
              </a:extLst>
            </p:cNvPr>
            <p:cNvCxnSpPr/>
            <p:nvPr/>
          </p:nvCxnSpPr>
          <p:spPr>
            <a:xfrm>
              <a:off x="-600" y="238182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775BB7-F520-4F81-AF6D-F59D1B76F55E}"/>
                </a:ext>
              </a:extLst>
            </p:cNvPr>
            <p:cNvCxnSpPr/>
            <p:nvPr/>
          </p:nvCxnSpPr>
          <p:spPr>
            <a:xfrm>
              <a:off x="-600" y="264361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CB72474-2AC2-420E-BDB5-E5A722B50684}"/>
                </a:ext>
              </a:extLst>
            </p:cNvPr>
            <p:cNvCxnSpPr/>
            <p:nvPr/>
          </p:nvCxnSpPr>
          <p:spPr>
            <a:xfrm>
              <a:off x="-600" y="290541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F88338-30AC-49A0-A5C4-EC7BD34E1FA6}"/>
                </a:ext>
              </a:extLst>
            </p:cNvPr>
            <p:cNvCxnSpPr/>
            <p:nvPr/>
          </p:nvCxnSpPr>
          <p:spPr>
            <a:xfrm>
              <a:off x="-600" y="316720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A4A82DD-B8CC-462B-93E9-CBC87352521F}"/>
                </a:ext>
              </a:extLst>
            </p:cNvPr>
            <p:cNvCxnSpPr/>
            <p:nvPr/>
          </p:nvCxnSpPr>
          <p:spPr>
            <a:xfrm>
              <a:off x="-600" y="342899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86DFAD-90A1-4761-A1F6-2CECC9F3CEB8}"/>
                </a:ext>
              </a:extLst>
            </p:cNvPr>
            <p:cNvCxnSpPr/>
            <p:nvPr/>
          </p:nvCxnSpPr>
          <p:spPr>
            <a:xfrm>
              <a:off x="-600" y="369079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73AC16-3E18-48F7-97ED-8B5A48560A3B}"/>
                </a:ext>
              </a:extLst>
            </p:cNvPr>
            <p:cNvCxnSpPr/>
            <p:nvPr/>
          </p:nvCxnSpPr>
          <p:spPr>
            <a:xfrm>
              <a:off x="-600" y="395258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2B4CC9-D426-40F8-825B-C7E1196189B4}"/>
                </a:ext>
              </a:extLst>
            </p:cNvPr>
            <p:cNvCxnSpPr/>
            <p:nvPr/>
          </p:nvCxnSpPr>
          <p:spPr>
            <a:xfrm>
              <a:off x="-600" y="421437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DD5A36E-8435-4B1C-8462-1C956794FC17}"/>
                </a:ext>
              </a:extLst>
            </p:cNvPr>
            <p:cNvCxnSpPr/>
            <p:nvPr/>
          </p:nvCxnSpPr>
          <p:spPr>
            <a:xfrm>
              <a:off x="-600" y="447617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D85A532-653B-4FD3-A2B9-908071F117D2}"/>
                </a:ext>
              </a:extLst>
            </p:cNvPr>
            <p:cNvCxnSpPr/>
            <p:nvPr/>
          </p:nvCxnSpPr>
          <p:spPr>
            <a:xfrm>
              <a:off x="-600" y="473796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E1136A-6637-439F-89A7-D7F878D15199}"/>
                </a:ext>
              </a:extLst>
            </p:cNvPr>
            <p:cNvCxnSpPr/>
            <p:nvPr/>
          </p:nvCxnSpPr>
          <p:spPr>
            <a:xfrm>
              <a:off x="-600" y="499975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A0A4627-9F33-480E-B584-D2625F29AB95}"/>
                </a:ext>
              </a:extLst>
            </p:cNvPr>
            <p:cNvCxnSpPr/>
            <p:nvPr/>
          </p:nvCxnSpPr>
          <p:spPr>
            <a:xfrm>
              <a:off x="-600" y="526154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037A92-0EC2-4FBA-A847-8D0F6C45AD99}"/>
                </a:ext>
              </a:extLst>
            </p:cNvPr>
            <p:cNvCxnSpPr/>
            <p:nvPr/>
          </p:nvCxnSpPr>
          <p:spPr>
            <a:xfrm>
              <a:off x="-600" y="552334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45D501-68B8-4FBE-8794-3CDE530B5439}"/>
                </a:ext>
              </a:extLst>
            </p:cNvPr>
            <p:cNvCxnSpPr/>
            <p:nvPr userDrawn="1"/>
          </p:nvCxnSpPr>
          <p:spPr>
            <a:xfrm>
              <a:off x="-600" y="578513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C63DF98-DC31-4B0A-9A94-9B9C493BD0DD}"/>
                </a:ext>
              </a:extLst>
            </p:cNvPr>
            <p:cNvCxnSpPr/>
            <p:nvPr userDrawn="1"/>
          </p:nvCxnSpPr>
          <p:spPr>
            <a:xfrm>
              <a:off x="-600" y="81106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7F595-E8CD-4823-A296-F9B434149D35}"/>
                </a:ext>
              </a:extLst>
            </p:cNvPr>
            <p:cNvCxnSpPr/>
            <p:nvPr userDrawn="1"/>
          </p:nvCxnSpPr>
          <p:spPr>
            <a:xfrm>
              <a:off x="-600" y="630872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767E29-78AA-446B-8F14-50FFE81A75D5}"/>
                </a:ext>
              </a:extLst>
            </p:cNvPr>
            <p:cNvCxnSpPr/>
            <p:nvPr userDrawn="1"/>
          </p:nvCxnSpPr>
          <p:spPr>
            <a:xfrm>
              <a:off x="-600" y="604692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grpSp>
      <p:sp>
        <p:nvSpPr>
          <p:cNvPr id="9" name="Footnote measure">
            <a:extLst>
              <a:ext uri="{FF2B5EF4-FFF2-40B4-BE49-F238E27FC236}">
                <a16:creationId xmlns:a16="http://schemas.microsoft.com/office/drawing/2014/main" id="{FCB67C59-94A5-43D0-98F3-D2DF706BE603}"/>
              </a:ext>
            </a:extLst>
          </p:cNvPr>
          <p:cNvSpPr>
            <a:spLocks noChangeArrowheads="1"/>
          </p:cNvSpPr>
          <p:nvPr userDrawn="1"/>
        </p:nvSpPr>
        <p:spPr bwMode="auto">
          <a:xfrm>
            <a:off x="550263" y="6308721"/>
            <a:ext cx="11090873" cy="261799"/>
          </a:xfrm>
          <a:prstGeom prst="rect">
            <a:avLst/>
          </a:prstGeom>
          <a:solidFill>
            <a:srgbClr val="FF0000">
              <a:alpha val="10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lv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0" name="Whitespace measure">
            <a:extLst>
              <a:ext uri="{FF2B5EF4-FFF2-40B4-BE49-F238E27FC236}">
                <a16:creationId xmlns:a16="http://schemas.microsoft.com/office/drawing/2014/main" id="{B9FA0CC8-4D85-4377-9762-D979C28385FB}"/>
              </a:ext>
            </a:extLst>
          </p:cNvPr>
          <p:cNvSpPr>
            <a:spLocks noChangeArrowheads="1"/>
          </p:cNvSpPr>
          <p:nvPr userDrawn="1"/>
        </p:nvSpPr>
        <p:spPr bwMode="auto">
          <a:xfrm>
            <a:off x="550864" y="1348221"/>
            <a:ext cx="11105556" cy="509202"/>
          </a:xfrm>
          <a:prstGeom prst="rect">
            <a:avLst/>
          </a:prstGeom>
          <a:solidFill>
            <a:srgbClr val="FF0000">
              <a:alpha val="5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lv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1" name="Live area">
            <a:extLst>
              <a:ext uri="{FF2B5EF4-FFF2-40B4-BE49-F238E27FC236}">
                <a16:creationId xmlns:a16="http://schemas.microsoft.com/office/drawing/2014/main" id="{AA787823-C275-4031-9AC7-3513520EE759}"/>
              </a:ext>
            </a:extLst>
          </p:cNvPr>
          <p:cNvSpPr/>
          <p:nvPr userDrawn="1"/>
        </p:nvSpPr>
        <p:spPr>
          <a:xfrm>
            <a:off x="550863" y="2120033"/>
            <a:ext cx="11090275" cy="418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chemeClr val="tx2">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12" name="Group 11">
            <a:extLst>
              <a:ext uri="{FF2B5EF4-FFF2-40B4-BE49-F238E27FC236}">
                <a16:creationId xmlns:a16="http://schemas.microsoft.com/office/drawing/2014/main" id="{EF1AA03C-D537-4B50-8AA2-DE2B0859A9E0}"/>
              </a:ext>
            </a:extLst>
          </p:cNvPr>
          <p:cNvGrpSpPr/>
          <p:nvPr userDrawn="1"/>
        </p:nvGrpSpPr>
        <p:grpSpPr>
          <a:xfrm>
            <a:off x="1215339" y="1857423"/>
            <a:ext cx="9763000" cy="4458091"/>
            <a:chOff x="1215339" y="549274"/>
            <a:chExt cx="9763000" cy="5759450"/>
          </a:xfrm>
          <a:solidFill>
            <a:schemeClr val="tx2">
              <a:lumMod val="40000"/>
              <a:lumOff val="60000"/>
              <a:alpha val="10000"/>
            </a:schemeClr>
          </a:solidFill>
        </p:grpSpPr>
        <p:sp>
          <p:nvSpPr>
            <p:cNvPr id="13" name="Rectangle 34">
              <a:extLst>
                <a:ext uri="{FF2B5EF4-FFF2-40B4-BE49-F238E27FC236}">
                  <a16:creationId xmlns:a16="http://schemas.microsoft.com/office/drawing/2014/main" id="{CEBF00D2-4B24-426D-BD4A-087B43FE3715}"/>
                </a:ext>
              </a:extLst>
            </p:cNvPr>
            <p:cNvSpPr>
              <a:spLocks noChangeArrowheads="1"/>
            </p:cNvSpPr>
            <p:nvPr/>
          </p:nvSpPr>
          <p:spPr bwMode="auto">
            <a:xfrm>
              <a:off x="690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35">
              <a:extLst>
                <a:ext uri="{FF2B5EF4-FFF2-40B4-BE49-F238E27FC236}">
                  <a16:creationId xmlns:a16="http://schemas.microsoft.com/office/drawing/2014/main" id="{6BD82B4A-4BB0-4614-B13C-4CFCC7A227D9}"/>
                </a:ext>
              </a:extLst>
            </p:cNvPr>
            <p:cNvSpPr>
              <a:spLocks noChangeArrowheads="1"/>
            </p:cNvSpPr>
            <p:nvPr/>
          </p:nvSpPr>
          <p:spPr bwMode="auto">
            <a:xfrm>
              <a:off x="879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36">
              <a:extLst>
                <a:ext uri="{FF2B5EF4-FFF2-40B4-BE49-F238E27FC236}">
                  <a16:creationId xmlns:a16="http://schemas.microsoft.com/office/drawing/2014/main" id="{BF9ACD5F-BA8A-4218-BB75-6E90A13EF900}"/>
                </a:ext>
              </a:extLst>
            </p:cNvPr>
            <p:cNvSpPr>
              <a:spLocks noChangeArrowheads="1"/>
            </p:cNvSpPr>
            <p:nvPr/>
          </p:nvSpPr>
          <p:spPr bwMode="auto">
            <a:xfrm>
              <a:off x="784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6" name="Rectangle 37">
              <a:extLst>
                <a:ext uri="{FF2B5EF4-FFF2-40B4-BE49-F238E27FC236}">
                  <a16:creationId xmlns:a16="http://schemas.microsoft.com/office/drawing/2014/main" id="{379A22D2-DA96-41ED-9D9E-1155426DFFBD}"/>
                </a:ext>
              </a:extLst>
            </p:cNvPr>
            <p:cNvSpPr>
              <a:spLocks noChangeArrowheads="1"/>
            </p:cNvSpPr>
            <p:nvPr/>
          </p:nvSpPr>
          <p:spPr bwMode="auto">
            <a:xfrm>
              <a:off x="974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7" name="Rectangle 38">
              <a:extLst>
                <a:ext uri="{FF2B5EF4-FFF2-40B4-BE49-F238E27FC236}">
                  <a16:creationId xmlns:a16="http://schemas.microsoft.com/office/drawing/2014/main" id="{7EF7963D-A1E1-415D-8969-F027A75D12FE}"/>
                </a:ext>
              </a:extLst>
            </p:cNvPr>
            <p:cNvSpPr>
              <a:spLocks noChangeArrowheads="1"/>
            </p:cNvSpPr>
            <p:nvPr/>
          </p:nvSpPr>
          <p:spPr bwMode="auto">
            <a:xfrm>
              <a:off x="1069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8" name="Rectangle 39">
              <a:extLst>
                <a:ext uri="{FF2B5EF4-FFF2-40B4-BE49-F238E27FC236}">
                  <a16:creationId xmlns:a16="http://schemas.microsoft.com/office/drawing/2014/main" id="{BBE34D05-AF10-4FE9-A201-F9E2A8027014}"/>
                </a:ext>
              </a:extLst>
            </p:cNvPr>
            <p:cNvSpPr>
              <a:spLocks noChangeArrowheads="1"/>
            </p:cNvSpPr>
            <p:nvPr/>
          </p:nvSpPr>
          <p:spPr bwMode="auto">
            <a:xfrm>
              <a:off x="5952839" y="549274"/>
              <a:ext cx="288000" cy="5759450"/>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9" name="Rectangle 40">
              <a:extLst>
                <a:ext uri="{FF2B5EF4-FFF2-40B4-BE49-F238E27FC236}">
                  <a16:creationId xmlns:a16="http://schemas.microsoft.com/office/drawing/2014/main" id="{349BF860-A8A0-4AB9-B299-1AF8241953E9}"/>
                </a:ext>
              </a:extLst>
            </p:cNvPr>
            <p:cNvSpPr>
              <a:spLocks noChangeArrowheads="1"/>
            </p:cNvSpPr>
            <p:nvPr/>
          </p:nvSpPr>
          <p:spPr bwMode="auto">
            <a:xfrm>
              <a:off x="121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41">
              <a:extLst>
                <a:ext uri="{FF2B5EF4-FFF2-40B4-BE49-F238E27FC236}">
                  <a16:creationId xmlns:a16="http://schemas.microsoft.com/office/drawing/2014/main" id="{3E2A80A6-61F6-4E58-B43B-059CCD29CD23}"/>
                </a:ext>
              </a:extLst>
            </p:cNvPr>
            <p:cNvSpPr>
              <a:spLocks noChangeArrowheads="1"/>
            </p:cNvSpPr>
            <p:nvPr/>
          </p:nvSpPr>
          <p:spPr bwMode="auto">
            <a:xfrm>
              <a:off x="216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1" name="Rectangle 42">
              <a:extLst>
                <a:ext uri="{FF2B5EF4-FFF2-40B4-BE49-F238E27FC236}">
                  <a16:creationId xmlns:a16="http://schemas.microsoft.com/office/drawing/2014/main" id="{0F927BDE-7613-4A1B-9405-C18A0AA0230E}"/>
                </a:ext>
              </a:extLst>
            </p:cNvPr>
            <p:cNvSpPr>
              <a:spLocks noChangeArrowheads="1"/>
            </p:cNvSpPr>
            <p:nvPr/>
          </p:nvSpPr>
          <p:spPr bwMode="auto">
            <a:xfrm>
              <a:off x="311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43">
              <a:extLst>
                <a:ext uri="{FF2B5EF4-FFF2-40B4-BE49-F238E27FC236}">
                  <a16:creationId xmlns:a16="http://schemas.microsoft.com/office/drawing/2014/main" id="{9D0BF9DE-3D09-432F-B97F-D68AFE1C7D42}"/>
                </a:ext>
              </a:extLst>
            </p:cNvPr>
            <p:cNvSpPr>
              <a:spLocks noChangeArrowheads="1"/>
            </p:cNvSpPr>
            <p:nvPr/>
          </p:nvSpPr>
          <p:spPr bwMode="auto">
            <a:xfrm>
              <a:off x="405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3" name="Rectangle 44">
              <a:extLst>
                <a:ext uri="{FF2B5EF4-FFF2-40B4-BE49-F238E27FC236}">
                  <a16:creationId xmlns:a16="http://schemas.microsoft.com/office/drawing/2014/main" id="{7807AD9B-3A59-4121-9F68-FB858FD6D2BC}"/>
                </a:ext>
              </a:extLst>
            </p:cNvPr>
            <p:cNvSpPr>
              <a:spLocks noChangeArrowheads="1"/>
            </p:cNvSpPr>
            <p:nvPr/>
          </p:nvSpPr>
          <p:spPr bwMode="auto">
            <a:xfrm>
              <a:off x="500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grpSp>
      <p:sp>
        <p:nvSpPr>
          <p:cNvPr id="47" name="Footnote example">
            <a:extLst>
              <a:ext uri="{FF2B5EF4-FFF2-40B4-BE49-F238E27FC236}">
                <a16:creationId xmlns:a16="http://schemas.microsoft.com/office/drawing/2014/main" id="{DBF27226-1CAE-4EC3-B7C2-CD7BFF212B2F}"/>
              </a:ext>
            </a:extLst>
          </p:cNvPr>
          <p:cNvSpPr txBox="1"/>
          <p:nvPr userDrawn="1"/>
        </p:nvSpPr>
        <p:spPr>
          <a:xfrm>
            <a:off x="550862" y="6309543"/>
            <a:ext cx="9030915" cy="277705"/>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Footnotes/Not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Source: Include a source here</a:t>
            </a:r>
          </a:p>
        </p:txBody>
      </p:sp>
      <p:sp>
        <p:nvSpPr>
          <p:cNvPr id="5" name="Slide Number Placeholder 4">
            <a:extLst>
              <a:ext uri="{FF2B5EF4-FFF2-40B4-BE49-F238E27FC236}">
                <a16:creationId xmlns:a16="http://schemas.microsoft.com/office/drawing/2014/main" id="{75491C5D-1CCA-4AD2-960D-E2D2520D37E4}"/>
              </a:ext>
            </a:extLst>
          </p:cNvPr>
          <p:cNvSpPr>
            <a:spLocks noGrp="1"/>
          </p:cNvSpPr>
          <p:nvPr userDrawn="1">
            <p:ph type="sldNum" sz="quarter" idx="12"/>
          </p:nvPr>
        </p:nvSpPr>
        <p:spPr>
          <a:xfrm>
            <a:off x="11490153" y="6450225"/>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a:t>
            </a:fld>
            <a:endParaRPr lang="en-IN"/>
          </a:p>
        </p:txBody>
      </p:sp>
      <p:sp>
        <p:nvSpPr>
          <p:cNvPr id="3" name="Title 2">
            <a:extLst>
              <a:ext uri="{FF2B5EF4-FFF2-40B4-BE49-F238E27FC236}">
                <a16:creationId xmlns:a16="http://schemas.microsoft.com/office/drawing/2014/main" id="{820E7A3A-8CB6-4833-8DE9-0C89242C0CE2}"/>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grpSp>
        <p:nvGrpSpPr>
          <p:cNvPr id="2" name="Group 1">
            <a:extLst>
              <a:ext uri="{FF2B5EF4-FFF2-40B4-BE49-F238E27FC236}">
                <a16:creationId xmlns:a16="http://schemas.microsoft.com/office/drawing/2014/main" id="{0A5092CC-99B7-42FA-B922-D9A469AA61A3}"/>
              </a:ext>
            </a:extLst>
          </p:cNvPr>
          <p:cNvGrpSpPr/>
          <p:nvPr userDrawn="1"/>
        </p:nvGrpSpPr>
        <p:grpSpPr>
          <a:xfrm>
            <a:off x="550864" y="6156603"/>
            <a:ext cx="11089971" cy="55199"/>
            <a:chOff x="550864" y="6156603"/>
            <a:chExt cx="11089971" cy="55199"/>
          </a:xfrm>
        </p:grpSpPr>
        <p:sp>
          <p:nvSpPr>
            <p:cNvPr id="51" name="Rectangle 50">
              <a:extLst>
                <a:ext uri="{FF2B5EF4-FFF2-40B4-BE49-F238E27FC236}">
                  <a16:creationId xmlns:a16="http://schemas.microsoft.com/office/drawing/2014/main" id="{C7D78F6B-68EA-4677-8270-E6CE44B4A9DC}"/>
                </a:ext>
              </a:extLst>
            </p:cNvPr>
            <p:cNvSpPr/>
            <p:nvPr userDrawn="1"/>
          </p:nvSpPr>
          <p:spPr>
            <a:xfrm>
              <a:off x="550864"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2" name="Rectangle 51">
              <a:extLst>
                <a:ext uri="{FF2B5EF4-FFF2-40B4-BE49-F238E27FC236}">
                  <a16:creationId xmlns:a16="http://schemas.microsoft.com/office/drawing/2014/main" id="{B6E6D155-C668-4620-947B-CD6756DB3E3F}"/>
                </a:ext>
              </a:extLst>
            </p:cNvPr>
            <p:cNvSpPr/>
            <p:nvPr userDrawn="1"/>
          </p:nvSpPr>
          <p:spPr>
            <a:xfrm>
              <a:off x="5104050"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3" name="Rectangle 52">
              <a:extLst>
                <a:ext uri="{FF2B5EF4-FFF2-40B4-BE49-F238E27FC236}">
                  <a16:creationId xmlns:a16="http://schemas.microsoft.com/office/drawing/2014/main" id="{53A33606-AE46-4272-A076-D6F1DEF2BE14}"/>
                </a:ext>
              </a:extLst>
            </p:cNvPr>
            <p:cNvSpPr/>
            <p:nvPr userDrawn="1"/>
          </p:nvSpPr>
          <p:spPr>
            <a:xfrm>
              <a:off x="7380643"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4" name="Rectangle 53">
              <a:extLst>
                <a:ext uri="{FF2B5EF4-FFF2-40B4-BE49-F238E27FC236}">
                  <a16:creationId xmlns:a16="http://schemas.microsoft.com/office/drawing/2014/main" id="{97AF00D4-2C2C-4B64-AC48-30E76E740B68}"/>
                </a:ext>
              </a:extLst>
            </p:cNvPr>
            <p:cNvSpPr/>
            <p:nvPr userDrawn="1"/>
          </p:nvSpPr>
          <p:spPr>
            <a:xfrm>
              <a:off x="9657235"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5" name="Rectangle 54">
              <a:extLst>
                <a:ext uri="{FF2B5EF4-FFF2-40B4-BE49-F238E27FC236}">
                  <a16:creationId xmlns:a16="http://schemas.microsoft.com/office/drawing/2014/main" id="{F53F07A3-100A-4285-8103-25EB4F518B92}"/>
                </a:ext>
              </a:extLst>
            </p:cNvPr>
            <p:cNvSpPr/>
            <p:nvPr userDrawn="1"/>
          </p:nvSpPr>
          <p:spPr>
            <a:xfrm>
              <a:off x="2827457"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spTree>
    <p:extLst>
      <p:ext uri="{BB962C8B-B14F-4D97-AF65-F5344CB8AC3E}">
        <p14:creationId xmlns:p14="http://schemas.microsoft.com/office/powerpoint/2010/main" val="10902899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339960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A374107-D284-43FC-B1C8-16D4730570E9}"/>
              </a:ext>
            </a:extLst>
          </p:cNvPr>
          <p:cNvSpPr>
            <a:spLocks noGrp="1"/>
          </p:cNvSpPr>
          <p:nvPr>
            <p:ph type="ftr" sz="quarter" idx="11"/>
          </p:nvPr>
        </p:nvSpPr>
        <p:spPr>
          <a:xfrm>
            <a:off x="550862" y="6450225"/>
            <a:ext cx="6916738" cy="153888"/>
          </a:xfrm>
        </p:spPr>
        <p:txBody>
          <a:bodyPr/>
          <a:lstStyle/>
          <a:p>
            <a:endParaRPr lang="en-IN" dirty="0"/>
          </a:p>
        </p:txBody>
      </p:sp>
      <p:sp>
        <p:nvSpPr>
          <p:cNvPr id="5" name="Slide Number Placeholder 4">
            <a:extLst>
              <a:ext uri="{FF2B5EF4-FFF2-40B4-BE49-F238E27FC236}">
                <a16:creationId xmlns:a16="http://schemas.microsoft.com/office/drawing/2014/main" id="{1A089CAE-6B9C-4764-B552-4C492F022EB6}"/>
              </a:ext>
            </a:extLst>
          </p:cNvPr>
          <p:cNvSpPr>
            <a:spLocks noGrp="1"/>
          </p:cNvSpPr>
          <p:nvPr>
            <p:ph type="sldNum" sz="quarter" idx="12"/>
          </p:nvPr>
        </p:nvSpPr>
        <p:spPr/>
        <p:txBody>
          <a:bodyPr/>
          <a:lstStyle/>
          <a:p>
            <a:fld id="{2547BBBC-05CB-49BC-A9CC-2D869F0C1D2C}" type="slidenum">
              <a:rPr lang="en-IN" smtClean="0"/>
              <a:t>‹#›</a:t>
            </a:fld>
            <a:endParaRPr lang="en-IN"/>
          </a:p>
        </p:txBody>
      </p:sp>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50862" y="998828"/>
            <a:ext cx="11089972" cy="292388"/>
          </a:xfrm>
        </p:spPr>
        <p:txBody>
          <a:bodyPr>
            <a:spAutoFit/>
          </a:bodyPr>
          <a:lstStyle>
            <a:lvl1pPr>
              <a:defRPr sz="2000">
                <a:solidFill>
                  <a:schemeClr val="tx2"/>
                </a:solidFill>
                <a:latin typeface="Franklin Gothic Book" panose="020B05030201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6286554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3804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p:txBody>
          <a:bodyPr/>
          <a:lstStyle/>
          <a:p>
            <a:pPr>
              <a:lnSpc>
                <a:spcPct val="90000"/>
              </a:lnSpc>
            </a:pPr>
            <a:endParaRPr lang="en-US" dirty="0"/>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16161056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562708" y="130584"/>
            <a:ext cx="11066584" cy="627834"/>
          </a:xfrm>
          <a:prstGeom prst="rect">
            <a:avLst/>
          </a:prstGeom>
          <a:noFill/>
          <a:ln>
            <a:noFill/>
          </a:ln>
        </p:spPr>
        <p:txBody>
          <a:bodyPr lIns="91425" tIns="91425" rIns="91425" bIns="91425" anchor="ctr" anchorCtr="0"/>
          <a:lstStyle>
            <a:lvl1pPr algn="l" rtl="0">
              <a:lnSpc>
                <a:spcPct val="90000"/>
              </a:lnSpc>
              <a:spcBef>
                <a:spcPts val="0"/>
              </a:spcBef>
              <a:buClr>
                <a:schemeClr val="accent3"/>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1" name="Shape 31"/>
          <p:cNvSpPr txBox="1">
            <a:spLocks noGrp="1"/>
          </p:cNvSpPr>
          <p:nvPr>
            <p:ph type="body" idx="1"/>
          </p:nvPr>
        </p:nvSpPr>
        <p:spPr>
          <a:xfrm>
            <a:off x="562708" y="1556954"/>
            <a:ext cx="11066584" cy="455479"/>
          </a:xfrm>
          <a:prstGeom prst="rect">
            <a:avLst/>
          </a:prstGeom>
          <a:noFill/>
          <a:ln>
            <a:noFill/>
          </a:ln>
        </p:spPr>
        <p:txBody>
          <a:bodyPr lIns="91425" tIns="91425" rIns="91425" bIns="91425" anchor="t" anchorCtr="0"/>
          <a:lstStyle>
            <a:lvl1pPr marL="0" indent="0" algn="l" rtl="0">
              <a:lnSpc>
                <a:spcPct val="110000"/>
              </a:lnSpc>
              <a:spcBef>
                <a:spcPts val="0"/>
              </a:spcBef>
              <a:buClr>
                <a:schemeClr val="dk1"/>
              </a:buClr>
              <a:buFont typeface="Arial"/>
              <a:buNone/>
              <a:defRPr/>
            </a:lvl1pPr>
            <a:lvl2pPr marL="334116" indent="-134819" algn="l" rtl="0">
              <a:lnSpc>
                <a:spcPct val="110000"/>
              </a:lnSpc>
              <a:spcBef>
                <a:spcPts val="0"/>
              </a:spcBef>
              <a:buClr>
                <a:schemeClr val="accent3"/>
              </a:buClr>
              <a:buFont typeface="Arial"/>
              <a:buChar char="•"/>
              <a:defRPr/>
            </a:lvl2pPr>
            <a:lvl3pPr marL="577376" indent="-178781" algn="l" rtl="0">
              <a:lnSpc>
                <a:spcPct val="110000"/>
              </a:lnSpc>
              <a:spcBef>
                <a:spcPts val="0"/>
              </a:spcBef>
              <a:buClr>
                <a:srgbClr val="A9A9A9"/>
              </a:buClr>
              <a:buFont typeface="Arial"/>
              <a:buChar char="–"/>
              <a:defRPr/>
            </a:lvl3pPr>
            <a:lvl4pPr marL="820636" indent="-152404" algn="l" rtl="0">
              <a:lnSpc>
                <a:spcPct val="110000"/>
              </a:lnSpc>
              <a:spcBef>
                <a:spcPts val="0"/>
              </a:spcBef>
              <a:buClr>
                <a:srgbClr val="A9A9A9"/>
              </a:buClr>
              <a:buFont typeface="Arial"/>
              <a:buChar char="–"/>
              <a:defRPr/>
            </a:lvl4pPr>
            <a:lvl5pPr marL="1080016" indent="-177316" algn="l" rtl="0">
              <a:lnSpc>
                <a:spcPct val="110000"/>
              </a:lnSpc>
              <a:spcBef>
                <a:spcPts val="0"/>
              </a:spcBef>
              <a:buClr>
                <a:srgbClr val="A9A9A9"/>
              </a:buClr>
              <a:buFont typeface="Arial"/>
              <a:buChar char="–"/>
              <a:defRPr/>
            </a:lvl5pPr>
            <a:lvl6pPr marL="2321227" indent="-93787" algn="l" rtl="0">
              <a:spcBef>
                <a:spcPts val="369"/>
              </a:spcBef>
              <a:buClr>
                <a:schemeClr val="dk1"/>
              </a:buClr>
              <a:buFont typeface="Arial"/>
              <a:buChar char="•"/>
              <a:defRPr/>
            </a:lvl6pPr>
            <a:lvl7pPr marL="2743269" indent="-93787" algn="l" rtl="0">
              <a:spcBef>
                <a:spcPts val="369"/>
              </a:spcBef>
              <a:buClr>
                <a:schemeClr val="dk1"/>
              </a:buClr>
              <a:buFont typeface="Arial"/>
              <a:buChar char="•"/>
              <a:defRPr/>
            </a:lvl7pPr>
            <a:lvl8pPr marL="3165310" indent="-93787" algn="l" rtl="0">
              <a:spcBef>
                <a:spcPts val="369"/>
              </a:spcBef>
              <a:buClr>
                <a:schemeClr val="dk1"/>
              </a:buClr>
              <a:buFont typeface="Arial"/>
              <a:buChar char="•"/>
              <a:defRPr/>
            </a:lvl8pPr>
            <a:lvl9pPr marL="3587351" indent="-93787" algn="l" rtl="0">
              <a:spcBef>
                <a:spcPts val="369"/>
              </a:spcBef>
              <a:buClr>
                <a:schemeClr val="dk1"/>
              </a:buClr>
              <a:buFont typeface="Arial"/>
              <a:buChar char="•"/>
              <a:defRPr/>
            </a:lvl9pPr>
          </a:lstStyle>
          <a:p>
            <a:endParaRPr/>
          </a:p>
        </p:txBody>
      </p:sp>
    </p:spTree>
    <p:extLst>
      <p:ext uri="{BB962C8B-B14F-4D97-AF65-F5344CB8AC3E}">
        <p14:creationId xmlns:p14="http://schemas.microsoft.com/office/powerpoint/2010/main" val="34701100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9"/>
        <p:cNvGrpSpPr/>
        <p:nvPr/>
      </p:nvGrpSpPr>
      <p:grpSpPr>
        <a:xfrm>
          <a:off x="0" y="0"/>
          <a:ext cx="0" cy="0"/>
          <a:chOff x="0" y="0"/>
          <a:chExt cx="0" cy="0"/>
        </a:xfrm>
      </p:grpSpPr>
      <p:sp>
        <p:nvSpPr>
          <p:cNvPr id="40" name="Google Shape;40;p47"/>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2" name="Google Shape;42;p47"/>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705827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8507765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6772509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Slide (Option 2)">
    <p:spTree>
      <p:nvGrpSpPr>
        <p:cNvPr id="1" name="Shape 32"/>
        <p:cNvGrpSpPr/>
        <p:nvPr/>
      </p:nvGrpSpPr>
      <p:grpSpPr>
        <a:xfrm>
          <a:off x="0" y="0"/>
          <a:ext cx="0" cy="0"/>
          <a:chOff x="0" y="0"/>
          <a:chExt cx="0" cy="0"/>
        </a:xfrm>
      </p:grpSpPr>
      <p:pic>
        <p:nvPicPr>
          <p:cNvPr id="33" name="Google Shape;33;p46"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34" name="Google Shape;34;p46"/>
          <p:cNvSpPr/>
          <p:nvPr/>
        </p:nvSpPr>
        <p:spPr>
          <a:xfrm>
            <a:off x="536448" y="540000"/>
            <a:ext cx="6363891" cy="6318000"/>
          </a:xfrm>
          <a:prstGeom prst="rect">
            <a:avLst/>
          </a:prstGeom>
          <a:gradFill>
            <a:gsLst>
              <a:gs pos="0">
                <a:srgbClr val="062379"/>
              </a:gs>
              <a:gs pos="26000">
                <a:srgbClr val="0934B6">
                  <a:alpha val="89411"/>
                </a:srgbClr>
              </a:gs>
              <a:gs pos="64000">
                <a:srgbClr val="036DFF">
                  <a:alpha val="80000"/>
                </a:srgbClr>
              </a:gs>
              <a:gs pos="100000">
                <a:srgbClr val="43E1D3">
                  <a:alpha val="89411"/>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 name="Google Shape;35;p46"/>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46"/>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 name="Google Shape;37;p46"/>
          <p:cNvSpPr txBox="1">
            <a:spLocks noGrp="1"/>
          </p:cNvSpPr>
          <p:nvPr>
            <p:ph type="dt" idx="10"/>
          </p:nvPr>
        </p:nvSpPr>
        <p:spPr>
          <a:xfrm>
            <a:off x="902896" y="5923689"/>
            <a:ext cx="1599925"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38" name="Google Shape;38;p46"/>
          <p:cNvPicPr preferRelativeResize="0"/>
          <p:nvPr/>
        </p:nvPicPr>
        <p:blipFill rotWithShape="1">
          <a:blip r:embed="rId3">
            <a:alphaModFix/>
          </a:blip>
          <a:srcRect/>
          <a:stretch/>
        </p:blipFill>
        <p:spPr>
          <a:xfrm>
            <a:off x="902896" y="901732"/>
            <a:ext cx="2497452" cy="574280"/>
          </a:xfrm>
          <a:prstGeom prst="rect">
            <a:avLst/>
          </a:prstGeom>
          <a:noFill/>
          <a:ln>
            <a:noFill/>
          </a:ln>
        </p:spPr>
      </p:pic>
    </p:spTree>
    <p:extLst>
      <p:ext uri="{BB962C8B-B14F-4D97-AF65-F5344CB8AC3E}">
        <p14:creationId xmlns:p14="http://schemas.microsoft.com/office/powerpoint/2010/main" val="10989362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9"/>
        <p:cNvGrpSpPr/>
        <p:nvPr/>
      </p:nvGrpSpPr>
      <p:grpSpPr>
        <a:xfrm>
          <a:off x="0" y="0"/>
          <a:ext cx="0" cy="0"/>
          <a:chOff x="0" y="0"/>
          <a:chExt cx="0" cy="0"/>
        </a:xfrm>
      </p:grpSpPr>
      <p:sp>
        <p:nvSpPr>
          <p:cNvPr id="40" name="Google Shape;40;p47"/>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2" name="Google Shape;42;p47"/>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0984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Option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62275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A98921F6-A000-8F91-53FA-16D8214F86FB}"/>
              </a:ext>
            </a:extLst>
          </p:cNvPr>
          <p:cNvPicPr>
            <a:picLocks noChangeAspect="1"/>
          </p:cNvPicPr>
          <p:nvPr userDrawn="1"/>
        </p:nvPicPr>
        <p:blipFill>
          <a:blip r:embed="rId6"/>
          <a:stretch>
            <a:fillRect/>
          </a:stretch>
        </p:blipFill>
        <p:spPr>
          <a:xfrm>
            <a:off x="548640" y="548640"/>
            <a:ext cx="11094720" cy="5760720"/>
          </a:xfrm>
          <a:prstGeom prst="rect">
            <a:avLst/>
          </a:prstGeom>
        </p:spPr>
      </p:pic>
      <p:sp>
        <p:nvSpPr>
          <p:cNvPr id="5" name="Rectangle 4" hidden="1">
            <a:extLst>
              <a:ext uri="{FF2B5EF4-FFF2-40B4-BE49-F238E27FC236}">
                <a16:creationId xmlns:a16="http://schemas.microsoft.com/office/drawing/2014/main" id="{2C3BFC25-365A-4293-AFC3-06979C33ED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2" name="Rectangle 11">
            <a:extLst>
              <a:ext uri="{FF2B5EF4-FFF2-40B4-BE49-F238E27FC236}">
                <a16:creationId xmlns:a16="http://schemas.microsoft.com/office/drawing/2014/main" id="{EA92DE9B-D3C3-4D9E-909D-59D0ACABEB18}"/>
              </a:ext>
            </a:extLst>
          </p:cNvPr>
          <p:cNvSpPr/>
          <p:nvPr userDrawn="1"/>
        </p:nvSpPr>
        <p:spPr>
          <a:xfrm>
            <a:off x="1083553" y="1080000"/>
            <a:ext cx="5816186" cy="577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1631950"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425B1E3C-CBF3-4E33-9039-AA4134BA46E5}" type="datetime4">
              <a:rPr lang="en-US" smtClean="0"/>
              <a:t>July 11, 2023</a:t>
            </a:fld>
            <a:endParaRPr lang="en-IN"/>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1631951" y="3610939"/>
            <a:ext cx="4799330"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1631951" y="4892832"/>
            <a:ext cx="4799330"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pic>
        <p:nvPicPr>
          <p:cNvPr id="6" name="Graphic 5">
            <a:extLst>
              <a:ext uri="{FF2B5EF4-FFF2-40B4-BE49-F238E27FC236}">
                <a16:creationId xmlns:a16="http://schemas.microsoft.com/office/drawing/2014/main" id="{060056F6-B441-69D5-F6F9-8D2E1862D12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31954" y="1603956"/>
            <a:ext cx="2497448" cy="574280"/>
          </a:xfrm>
          <a:prstGeom prst="rect">
            <a:avLst/>
          </a:prstGeom>
        </p:spPr>
      </p:pic>
    </p:spTree>
    <p:extLst>
      <p:ext uri="{BB962C8B-B14F-4D97-AF65-F5344CB8AC3E}">
        <p14:creationId xmlns:p14="http://schemas.microsoft.com/office/powerpoint/2010/main" val="33658037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43"/>
        <p:cNvGrpSpPr/>
        <p:nvPr/>
      </p:nvGrpSpPr>
      <p:grpSpPr>
        <a:xfrm>
          <a:off x="0" y="0"/>
          <a:ext cx="0" cy="0"/>
          <a:chOff x="0" y="0"/>
          <a:chExt cx="0" cy="0"/>
        </a:xfrm>
      </p:grpSpPr>
      <p:pic>
        <p:nvPicPr>
          <p:cNvPr id="44" name="Google Shape;44;p6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 name="Google Shape;45;p68"/>
          <p:cNvSpPr/>
          <p:nvPr/>
        </p:nvSpPr>
        <p:spPr>
          <a:xfrm>
            <a:off x="0" y="0"/>
            <a:ext cx="2682587" cy="6858000"/>
          </a:xfrm>
          <a:prstGeom prst="rect">
            <a:avLst/>
          </a:prstGeom>
          <a:solidFill>
            <a:schemeClr val="lt2">
              <a:alpha val="69411"/>
            </a:scheme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8"/>
          <p:cNvSpPr/>
          <p:nvPr/>
        </p:nvSpPr>
        <p:spPr>
          <a:xfrm>
            <a:off x="0" y="3700463"/>
            <a:ext cx="9412014" cy="2414587"/>
          </a:xfrm>
          <a:prstGeom prst="rect">
            <a:avLst/>
          </a:prstGeom>
          <a:gradFill>
            <a:gsLst>
              <a:gs pos="0">
                <a:srgbClr val="062379"/>
              </a:gs>
              <a:gs pos="55000">
                <a:srgbClr val="385ED2"/>
              </a:gs>
              <a:gs pos="76000">
                <a:srgbClr val="4873F5">
                  <a:alpha val="89411"/>
                </a:srgbClr>
              </a:gs>
              <a:gs pos="100000">
                <a:srgbClr val="43E1D3">
                  <a:alpha val="89411"/>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 name="Google Shape;47;p68"/>
          <p:cNvSpPr txBox="1">
            <a:spLocks noGrp="1"/>
          </p:cNvSpPr>
          <p:nvPr>
            <p:ph type="title"/>
          </p:nvPr>
        </p:nvSpPr>
        <p:spPr>
          <a:xfrm>
            <a:off x="737591" y="4108436"/>
            <a:ext cx="8494899" cy="1569660"/>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 name="Google Shape;48;p68"/>
          <p:cNvGrpSpPr/>
          <p:nvPr/>
        </p:nvGrpSpPr>
        <p:grpSpPr>
          <a:xfrm>
            <a:off x="11998459" y="6162188"/>
            <a:ext cx="68500" cy="441925"/>
            <a:chOff x="11998459" y="6162188"/>
            <a:chExt cx="68500" cy="441925"/>
          </a:xfrm>
        </p:grpSpPr>
        <p:sp>
          <p:nvSpPr>
            <p:cNvPr id="49" name="Google Shape;49;p6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 name="Google Shape;50;p6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 name="Google Shape;51;p6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 name="Google Shape;52;p6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6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6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 name="Google Shape;55;p6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 name="Google Shape;56;p6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 name="Google Shape;57;p6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 name="Google Shape;58;p6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6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 name="Google Shape;60;p6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 name="Google Shape;61;p6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 name="Google Shape;62;p6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63" name="Google Shape;63;p6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01597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21"/>
        <p:cNvGrpSpPr/>
        <p:nvPr/>
      </p:nvGrpSpPr>
      <p:grpSpPr>
        <a:xfrm>
          <a:off x="0" y="0"/>
          <a:ext cx="0" cy="0"/>
          <a:chOff x="0" y="0"/>
          <a:chExt cx="0" cy="0"/>
        </a:xfrm>
      </p:grpSpPr>
      <p:sp>
        <p:nvSpPr>
          <p:cNvPr id="122" name="Google Shape;122;p57"/>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 name="Google Shape;123;p57"/>
          <p:cNvSpPr txBox="1"/>
          <p:nvPr/>
        </p:nvSpPr>
        <p:spPr>
          <a:xfrm>
            <a:off x="550863" y="5965461"/>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dirty="0">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dirty="0">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lt1"/>
                </a:solidFill>
                <a:latin typeface="Calibri"/>
                <a:ea typeface="Calibri"/>
                <a:cs typeface="Calibri"/>
                <a:sym typeface="Calibri"/>
              </a:rPr>
              <a:t>Infomineo Copyright © 2023. All rights reserved.</a:t>
            </a:r>
            <a:endParaRPr sz="1400" b="0" i="0" u="none" strike="noStrike" cap="none" dirty="0">
              <a:solidFill>
                <a:srgbClr val="000000"/>
              </a:solidFill>
              <a:latin typeface="Arial"/>
              <a:ea typeface="Arial"/>
              <a:cs typeface="Arial"/>
              <a:sym typeface="Arial"/>
            </a:endParaRPr>
          </a:p>
        </p:txBody>
      </p:sp>
      <p:pic>
        <p:nvPicPr>
          <p:cNvPr id="124" name="Google Shape;124;p57"/>
          <p:cNvPicPr preferRelativeResize="0"/>
          <p:nvPr/>
        </p:nvPicPr>
        <p:blipFill rotWithShape="1">
          <a:blip r:embed="rId3">
            <a:alphaModFix/>
          </a:blip>
          <a:srcRect/>
          <a:stretch/>
        </p:blipFill>
        <p:spPr>
          <a:xfrm>
            <a:off x="4256669" y="3006053"/>
            <a:ext cx="3678662" cy="845895"/>
          </a:xfrm>
          <a:prstGeom prst="rect">
            <a:avLst/>
          </a:prstGeom>
          <a:noFill/>
          <a:ln>
            <a:noFill/>
          </a:ln>
        </p:spPr>
      </p:pic>
      <p:pic>
        <p:nvPicPr>
          <p:cNvPr id="125" name="Google Shape;125;p57">
            <a:hlinkClick r:id="rId4"/>
          </p:cNvPr>
          <p:cNvPicPr preferRelativeResize="0"/>
          <p:nvPr/>
        </p:nvPicPr>
        <p:blipFill rotWithShape="1">
          <a:blip r:embed="rId5">
            <a:alphaModFix/>
          </a:blip>
          <a:srcRect/>
          <a:stretch/>
        </p:blipFill>
        <p:spPr>
          <a:xfrm>
            <a:off x="11323329" y="5965461"/>
            <a:ext cx="370332" cy="370332"/>
          </a:xfrm>
          <a:prstGeom prst="rect">
            <a:avLst/>
          </a:prstGeom>
          <a:noFill/>
          <a:ln>
            <a:noFill/>
          </a:ln>
        </p:spPr>
      </p:pic>
      <p:pic>
        <p:nvPicPr>
          <p:cNvPr id="126" name="Google Shape;126;p57">
            <a:hlinkClick r:id="rId6"/>
          </p:cNvPr>
          <p:cNvPicPr preferRelativeResize="0"/>
          <p:nvPr/>
        </p:nvPicPr>
        <p:blipFill rotWithShape="1">
          <a:blip r:embed="rId7">
            <a:alphaModFix/>
          </a:blip>
          <a:srcRect/>
          <a:stretch/>
        </p:blipFill>
        <p:spPr>
          <a:xfrm>
            <a:off x="10825964" y="5965461"/>
            <a:ext cx="368808" cy="370332"/>
          </a:xfrm>
          <a:prstGeom prst="rect">
            <a:avLst/>
          </a:prstGeom>
          <a:noFill/>
          <a:ln>
            <a:noFill/>
          </a:ln>
        </p:spPr>
      </p:pic>
      <p:pic>
        <p:nvPicPr>
          <p:cNvPr id="127" name="Google Shape;127;p57">
            <a:hlinkClick r:id="rId8"/>
          </p:cNvPr>
          <p:cNvPicPr preferRelativeResize="0"/>
          <p:nvPr/>
        </p:nvPicPr>
        <p:blipFill rotWithShape="1">
          <a:blip r:embed="rId9">
            <a:alphaModFix/>
          </a:blip>
          <a:srcRect/>
          <a:stretch/>
        </p:blipFill>
        <p:spPr>
          <a:xfrm>
            <a:off x="10328599" y="5965461"/>
            <a:ext cx="368808" cy="370332"/>
          </a:xfrm>
          <a:prstGeom prst="rect">
            <a:avLst/>
          </a:prstGeom>
          <a:noFill/>
          <a:ln>
            <a:noFill/>
          </a:ln>
        </p:spPr>
      </p:pic>
    </p:spTree>
    <p:extLst>
      <p:ext uri="{BB962C8B-B14F-4D97-AF65-F5344CB8AC3E}">
        <p14:creationId xmlns:p14="http://schemas.microsoft.com/office/powerpoint/2010/main" val="10873086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_Title only (with background)">
  <p:cSld name="1_Title only (with background)">
    <p:bg>
      <p:bgPr>
        <a:solidFill>
          <a:schemeClr val="lt2"/>
        </a:solidFill>
        <a:effectLst/>
      </p:bgPr>
    </p:bg>
    <p:spTree>
      <p:nvGrpSpPr>
        <p:cNvPr id="1" name="Shape 128"/>
        <p:cNvGrpSpPr/>
        <p:nvPr/>
      </p:nvGrpSpPr>
      <p:grpSpPr>
        <a:xfrm>
          <a:off x="0" y="0"/>
          <a:ext cx="0" cy="0"/>
          <a:chOff x="0" y="0"/>
          <a:chExt cx="0" cy="0"/>
        </a:xfrm>
      </p:grpSpPr>
      <p:sp>
        <p:nvSpPr>
          <p:cNvPr id="129" name="Google Shape;129;p5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 name="Google Shape;130;p5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 name="Google Shape;131;p50"/>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50"/>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982837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Without Title">
  <p:cSld name="Without Title">
    <p:spTree>
      <p:nvGrpSpPr>
        <p:cNvPr id="1" name="Shape 133"/>
        <p:cNvGrpSpPr/>
        <p:nvPr/>
      </p:nvGrpSpPr>
      <p:grpSpPr>
        <a:xfrm>
          <a:off x="0" y="0"/>
          <a:ext cx="0" cy="0"/>
          <a:chOff x="0" y="0"/>
          <a:chExt cx="0" cy="0"/>
        </a:xfrm>
      </p:grpSpPr>
      <p:sp>
        <p:nvSpPr>
          <p:cNvPr id="134" name="Google Shape;134;p5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135" name="Google Shape;135;p58"/>
          <p:cNvGrpSpPr/>
          <p:nvPr/>
        </p:nvGrpSpPr>
        <p:grpSpPr>
          <a:xfrm>
            <a:off x="11998459" y="6162188"/>
            <a:ext cx="68500" cy="441925"/>
            <a:chOff x="11998459" y="6162188"/>
            <a:chExt cx="68500" cy="441925"/>
          </a:xfrm>
        </p:grpSpPr>
        <p:sp>
          <p:nvSpPr>
            <p:cNvPr id="136" name="Google Shape;136;p5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7" name="Google Shape;137;p5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8" name="Google Shape;138;p5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9" name="Google Shape;139;p5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0" name="Google Shape;140;p5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1" name="Google Shape;141;p5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2" name="Google Shape;142;p5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3" name="Google Shape;143;p5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4" name="Google Shape;144;p5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5" name="Google Shape;145;p5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6" name="Google Shape;146;p5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7" name="Google Shape;147;p5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8" name="Google Shape;148;p5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149" name="Google Shape;149;p58"/>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150" name="Google Shape;150;p5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151" name="Google Shape;151;p58"/>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434881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152"/>
        <p:cNvGrpSpPr/>
        <p:nvPr/>
      </p:nvGrpSpPr>
      <p:grpSpPr>
        <a:xfrm>
          <a:off x="0" y="0"/>
          <a:ext cx="0" cy="0"/>
          <a:chOff x="0" y="0"/>
          <a:chExt cx="0" cy="0"/>
        </a:xfrm>
      </p:grpSpPr>
      <p:sp>
        <p:nvSpPr>
          <p:cNvPr id="153" name="Google Shape;153;p59"/>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 name="Google Shape;154;p5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55" name="Google Shape;155;p59"/>
          <p:cNvSpPr txBox="1">
            <a:spLocks noGrp="1"/>
          </p:cNvSpPr>
          <p:nvPr>
            <p:ph type="body" idx="1"/>
          </p:nvPr>
        </p:nvSpPr>
        <p:spPr>
          <a:xfrm>
            <a:off x="550863"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 name="Google Shape;156;p59"/>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59"/>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 name="Google Shape;158;p59"/>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59"/>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539885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160"/>
        <p:cNvGrpSpPr/>
        <p:nvPr/>
      </p:nvGrpSpPr>
      <p:grpSpPr>
        <a:xfrm>
          <a:off x="0" y="0"/>
          <a:ext cx="0" cy="0"/>
          <a:chOff x="0" y="0"/>
          <a:chExt cx="0" cy="0"/>
        </a:xfrm>
      </p:grpSpPr>
      <p:sp>
        <p:nvSpPr>
          <p:cNvPr id="161" name="Google Shape;161;p6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6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3" name="Google Shape;163;p60"/>
          <p:cNvSpPr txBox="1">
            <a:spLocks noGrp="1"/>
          </p:cNvSpPr>
          <p:nvPr>
            <p:ph type="body" idx="1"/>
          </p:nvPr>
        </p:nvSpPr>
        <p:spPr>
          <a:xfrm>
            <a:off x="550864" y="2175803"/>
            <a:ext cx="35069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 name="Google Shape;164;p60"/>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60"/>
          <p:cNvSpPr txBox="1">
            <a:spLocks noGrp="1"/>
          </p:cNvSpPr>
          <p:nvPr>
            <p:ph type="body" idx="3"/>
          </p:nvPr>
        </p:nvSpPr>
        <p:spPr>
          <a:xfrm>
            <a:off x="8135839"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 name="Google Shape;166;p60"/>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 name="Google Shape;167;p60"/>
          <p:cNvSpPr txBox="1">
            <a:spLocks noGrp="1"/>
          </p:cNvSpPr>
          <p:nvPr>
            <p:ph type="body" idx="5"/>
          </p:nvPr>
        </p:nvSpPr>
        <p:spPr>
          <a:xfrm>
            <a:off x="4344162"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60"/>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 name="Google Shape;169;p60"/>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503042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182"/>
        <p:cNvGrpSpPr/>
        <p:nvPr/>
      </p:nvGrpSpPr>
      <p:grpSpPr>
        <a:xfrm>
          <a:off x="0" y="0"/>
          <a:ext cx="0" cy="0"/>
          <a:chOff x="0" y="0"/>
          <a:chExt cx="0" cy="0"/>
        </a:xfrm>
      </p:grpSpPr>
      <p:sp>
        <p:nvSpPr>
          <p:cNvPr id="183" name="Google Shape;183;p62"/>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6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5" name="Google Shape;185;p62"/>
          <p:cNvSpPr txBox="1">
            <a:spLocks noGrp="1"/>
          </p:cNvSpPr>
          <p:nvPr>
            <p:ph type="body" idx="1"/>
          </p:nvPr>
        </p:nvSpPr>
        <p:spPr>
          <a:xfrm>
            <a:off x="550864"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 name="Google Shape;186;p62"/>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62"/>
          <p:cNvSpPr txBox="1">
            <a:spLocks noGrp="1"/>
          </p:cNvSpPr>
          <p:nvPr>
            <p:ph type="body" idx="3"/>
          </p:nvPr>
        </p:nvSpPr>
        <p:spPr>
          <a:xfrm>
            <a:off x="5104050"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 name="Google Shape;188;p62"/>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62"/>
          <p:cNvSpPr txBox="1">
            <a:spLocks noGrp="1"/>
          </p:cNvSpPr>
          <p:nvPr>
            <p:ph type="body" idx="5"/>
          </p:nvPr>
        </p:nvSpPr>
        <p:spPr>
          <a:xfrm>
            <a:off x="2827457"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 name="Google Shape;190;p62"/>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 name="Google Shape;191;p62"/>
          <p:cNvSpPr txBox="1">
            <a:spLocks noGrp="1"/>
          </p:cNvSpPr>
          <p:nvPr>
            <p:ph type="body" idx="7"/>
          </p:nvPr>
        </p:nvSpPr>
        <p:spPr>
          <a:xfrm>
            <a:off x="7380643"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62"/>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 name="Google Shape;193;p62"/>
          <p:cNvSpPr txBox="1">
            <a:spLocks noGrp="1"/>
          </p:cNvSpPr>
          <p:nvPr>
            <p:ph type="body" idx="9"/>
          </p:nvPr>
        </p:nvSpPr>
        <p:spPr>
          <a:xfrm>
            <a:off x="9660801"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62"/>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 name="Google Shape;195;p62"/>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820464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196"/>
        <p:cNvGrpSpPr/>
        <p:nvPr/>
      </p:nvGrpSpPr>
      <p:grpSpPr>
        <a:xfrm>
          <a:off x="0" y="0"/>
          <a:ext cx="0" cy="0"/>
          <a:chOff x="0" y="0"/>
          <a:chExt cx="0" cy="0"/>
        </a:xfrm>
      </p:grpSpPr>
      <p:sp>
        <p:nvSpPr>
          <p:cNvPr id="197" name="Google Shape;197;p63"/>
          <p:cNvSpPr/>
          <p:nvPr/>
        </p:nvSpPr>
        <p:spPr>
          <a:xfrm>
            <a:off x="0" y="-1"/>
            <a:ext cx="4059776"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 name="Google Shape;198;p63"/>
          <p:cNvSpPr txBox="1">
            <a:spLocks noGrp="1"/>
          </p:cNvSpPr>
          <p:nvPr>
            <p:ph type="title"/>
          </p:nvPr>
        </p:nvSpPr>
        <p:spPr>
          <a:xfrm>
            <a:off x="566141" y="2546064"/>
            <a:ext cx="3032465" cy="176586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 name="Google Shape;199;p6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0" name="Google Shape;200;p63"/>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748707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2 Blue on Left">
  <p:cSld name="1/2 Blue on Left">
    <p:spTree>
      <p:nvGrpSpPr>
        <p:cNvPr id="1" name="Shape 201"/>
        <p:cNvGrpSpPr/>
        <p:nvPr/>
      </p:nvGrpSpPr>
      <p:grpSpPr>
        <a:xfrm>
          <a:off x="0" y="0"/>
          <a:ext cx="0" cy="0"/>
          <a:chOff x="0" y="0"/>
          <a:chExt cx="0" cy="0"/>
        </a:xfrm>
      </p:grpSpPr>
      <p:sp>
        <p:nvSpPr>
          <p:cNvPr id="202" name="Google Shape;202;p64"/>
          <p:cNvSpPr/>
          <p:nvPr/>
        </p:nvSpPr>
        <p:spPr>
          <a:xfrm>
            <a:off x="0" y="-1"/>
            <a:ext cx="6098537"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p64"/>
          <p:cNvSpPr txBox="1">
            <a:spLocks noGrp="1"/>
          </p:cNvSpPr>
          <p:nvPr>
            <p:ph type="title"/>
          </p:nvPr>
        </p:nvSpPr>
        <p:spPr>
          <a:xfrm>
            <a:off x="539400" y="562840"/>
            <a:ext cx="5074328"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6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5" name="Google Shape;205;p6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06" name="Google Shape;206;p64"/>
          <p:cNvSpPr txBox="1">
            <a:spLocks noGrp="1"/>
          </p:cNvSpPr>
          <p:nvPr>
            <p:ph type="ftr" idx="11"/>
          </p:nvPr>
        </p:nvSpPr>
        <p:spPr>
          <a:xfrm>
            <a:off x="549232" y="6465614"/>
            <a:ext cx="507432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808924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207"/>
        <p:cNvGrpSpPr/>
        <p:nvPr/>
      </p:nvGrpSpPr>
      <p:grpSpPr>
        <a:xfrm>
          <a:off x="0" y="0"/>
          <a:ext cx="0" cy="0"/>
          <a:chOff x="0" y="0"/>
          <a:chExt cx="0" cy="0"/>
        </a:xfrm>
      </p:grpSpPr>
      <p:sp>
        <p:nvSpPr>
          <p:cNvPr id="208" name="Google Shape;208;p65"/>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 name="Google Shape;209;p65"/>
          <p:cNvSpPr txBox="1">
            <a:spLocks noGrp="1"/>
          </p:cNvSpPr>
          <p:nvPr>
            <p:ph type="title"/>
          </p:nvPr>
        </p:nvSpPr>
        <p:spPr>
          <a:xfrm>
            <a:off x="539400"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10" name="Google Shape;210;p6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11" name="Google Shape;211;p65"/>
          <p:cNvGrpSpPr/>
          <p:nvPr/>
        </p:nvGrpSpPr>
        <p:grpSpPr>
          <a:xfrm>
            <a:off x="11998459" y="6162188"/>
            <a:ext cx="68500" cy="441925"/>
            <a:chOff x="11998459" y="6162188"/>
            <a:chExt cx="68500" cy="441925"/>
          </a:xfrm>
        </p:grpSpPr>
        <p:sp>
          <p:nvSpPr>
            <p:cNvPr id="212" name="Google Shape;212;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3" name="Google Shape;213;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 name="Google Shape;214;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 name="Google Shape;215;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 name="Google Shape;217;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 name="Google Shape;218;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 name="Google Shape;219;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0" name="Google Shape;220;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1" name="Google Shape;221;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2" name="Google Shape;222;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 name="Google Shape;223;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4" name="Google Shape;224;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25" name="Google Shape;225;p6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26" name="Google Shape;226;p6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7" name="Google Shape;227;p6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62037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Option 4)">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22634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14727E-8174-4A53-8CD1-66A25E0EEAA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t="15627" r="-1" b="6561"/>
          <a:stretch/>
        </p:blipFill>
        <p:spPr>
          <a:xfrm>
            <a:off x="0" y="1522048"/>
            <a:ext cx="12192000" cy="5335952"/>
          </a:xfrm>
          <a:prstGeom prst="rect">
            <a:avLst/>
          </a:prstGeom>
        </p:spPr>
      </p:pic>
      <p:sp>
        <p:nvSpPr>
          <p:cNvPr id="14" name="Rectangle 13">
            <a:extLst>
              <a:ext uri="{FF2B5EF4-FFF2-40B4-BE49-F238E27FC236}">
                <a16:creationId xmlns:a16="http://schemas.microsoft.com/office/drawing/2014/main" id="{A3F336B7-5196-4F00-B83A-3DCD314992C8}"/>
              </a:ext>
            </a:extLst>
          </p:cNvPr>
          <p:cNvSpPr/>
          <p:nvPr userDrawn="1"/>
        </p:nvSpPr>
        <p:spPr>
          <a:xfrm>
            <a:off x="536448" y="0"/>
            <a:ext cx="6363291" cy="6308726"/>
          </a:xfrm>
          <a:prstGeom prst="rect">
            <a:avLst/>
          </a:prstGeom>
          <a:gradFill flip="none" rotWithShape="1">
            <a:gsLst>
              <a:gs pos="0">
                <a:schemeClr val="tx2">
                  <a:lumMod val="50000"/>
                </a:schemeClr>
              </a:gs>
              <a:gs pos="39000">
                <a:schemeClr val="tx2">
                  <a:lumMod val="75000"/>
                  <a:alpha val="95000"/>
                </a:schemeClr>
              </a:gs>
              <a:gs pos="7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478239"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5218EABF-8BCD-4101-9C44-C141C5781D21}" type="datetime4">
              <a:rPr lang="en-US" smtClean="0"/>
              <a:t>July 11, 2023</a:t>
            </a:fld>
            <a:endParaRPr lang="en-IN"/>
          </a:p>
        </p:txBody>
      </p:sp>
      <p:pic>
        <p:nvPicPr>
          <p:cNvPr id="20" name="Graphic 19">
            <a:extLst>
              <a:ext uri="{FF2B5EF4-FFF2-40B4-BE49-F238E27FC236}">
                <a16:creationId xmlns:a16="http://schemas.microsoft.com/office/drawing/2014/main" id="{ABA95242-2DBA-46CA-863F-2946BC7666A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4010" y="450470"/>
            <a:ext cx="2705350" cy="622086"/>
          </a:xfrm>
          <a:prstGeom prst="rect">
            <a:avLst/>
          </a:prstGeom>
        </p:spPr>
      </p:pic>
    </p:spTree>
    <p:extLst>
      <p:ext uri="{BB962C8B-B14F-4D97-AF65-F5344CB8AC3E}">
        <p14:creationId xmlns:p14="http://schemas.microsoft.com/office/powerpoint/2010/main" val="27456663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1_Gradient BG (with Title)">
  <p:cSld name="1_Gradient BG (with Title)">
    <p:spTree>
      <p:nvGrpSpPr>
        <p:cNvPr id="1" name="Shape 228"/>
        <p:cNvGrpSpPr/>
        <p:nvPr/>
      </p:nvGrpSpPr>
      <p:grpSpPr>
        <a:xfrm>
          <a:off x="0" y="0"/>
          <a:ext cx="0" cy="0"/>
          <a:chOff x="0" y="0"/>
          <a:chExt cx="0" cy="0"/>
        </a:xfrm>
      </p:grpSpPr>
      <p:sp>
        <p:nvSpPr>
          <p:cNvPr id="229" name="Google Shape;229;p66"/>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230" name="Google Shape;230;p66"/>
          <p:cNvGrpSpPr/>
          <p:nvPr/>
        </p:nvGrpSpPr>
        <p:grpSpPr>
          <a:xfrm>
            <a:off x="11998459" y="6162188"/>
            <a:ext cx="68500" cy="441925"/>
            <a:chOff x="11998459" y="6162188"/>
            <a:chExt cx="68500" cy="441925"/>
          </a:xfrm>
        </p:grpSpPr>
        <p:sp>
          <p:nvSpPr>
            <p:cNvPr id="231" name="Google Shape;231;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2" name="Google Shape;232;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3" name="Google Shape;233;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 name="Google Shape;234;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 name="Google Shape;235;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6" name="Google Shape;236;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7" name="Google Shape;237;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8" name="Google Shape;238;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 name="Google Shape;240;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 name="Google Shape;242;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 name="Google Shape;243;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4" name="Google Shape;244;p6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45" name="Google Shape;245;p6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46" name="Google Shape;246;p66"/>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875010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247"/>
        <p:cNvGrpSpPr/>
        <p:nvPr/>
      </p:nvGrpSpPr>
      <p:grpSpPr>
        <a:xfrm>
          <a:off x="0" y="0"/>
          <a:ext cx="0" cy="0"/>
          <a:chOff x="0" y="0"/>
          <a:chExt cx="0" cy="0"/>
        </a:xfrm>
      </p:grpSpPr>
      <p:sp>
        <p:nvSpPr>
          <p:cNvPr id="248" name="Google Shape;248;p67"/>
          <p:cNvSpPr/>
          <p:nvPr/>
        </p:nvSpPr>
        <p:spPr>
          <a:xfrm>
            <a:off x="8134763" y="-1"/>
            <a:ext cx="4059776" cy="6858001"/>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p67"/>
          <p:cNvSpPr txBox="1">
            <a:spLocks noGrp="1"/>
          </p:cNvSpPr>
          <p:nvPr>
            <p:ph type="title"/>
          </p:nvPr>
        </p:nvSpPr>
        <p:spPr>
          <a:xfrm>
            <a:off x="539400"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 name="Google Shape;250;p67"/>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67"/>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52" name="Google Shape;252;p67"/>
          <p:cNvGrpSpPr/>
          <p:nvPr/>
        </p:nvGrpSpPr>
        <p:grpSpPr>
          <a:xfrm>
            <a:off x="11998459" y="6162188"/>
            <a:ext cx="68500" cy="441925"/>
            <a:chOff x="11998459" y="6162188"/>
            <a:chExt cx="68500" cy="441925"/>
          </a:xfrm>
        </p:grpSpPr>
        <p:sp>
          <p:nvSpPr>
            <p:cNvPr id="253" name="Google Shape;253;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 name="Google Shape;254;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 name="Google Shape;255;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 name="Google Shape;256;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 name="Google Shape;257;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 name="Google Shape;259;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0" name="Google Shape;260;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1" name="Google Shape;261;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2" name="Google Shape;262;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4" name="Google Shape;264;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 name="Google Shape;265;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66" name="Google Shape;266;p67"/>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67" name="Google Shape;267;p67"/>
          <p:cNvSpPr txBox="1">
            <a:spLocks noGrp="1"/>
          </p:cNvSpPr>
          <p:nvPr>
            <p:ph type="ftr" idx="11"/>
          </p:nvPr>
        </p:nvSpPr>
        <p:spPr>
          <a:xfrm>
            <a:off x="550862" y="6465614"/>
            <a:ext cx="7276401"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724197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268"/>
        <p:cNvGrpSpPr/>
        <p:nvPr/>
      </p:nvGrpSpPr>
      <p:grpSpPr>
        <a:xfrm>
          <a:off x="0" y="0"/>
          <a:ext cx="0" cy="0"/>
          <a:chOff x="0" y="0"/>
          <a:chExt cx="0" cy="0"/>
        </a:xfrm>
      </p:grpSpPr>
      <p:pic>
        <p:nvPicPr>
          <p:cNvPr id="269" name="Google Shape;269;p6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70" name="Google Shape;270;p69"/>
          <p:cNvSpPr/>
          <p:nvPr/>
        </p:nvSpPr>
        <p:spPr>
          <a:xfrm>
            <a:off x="0" y="0"/>
            <a:ext cx="12192000" cy="6858000"/>
          </a:xfrm>
          <a:prstGeom prst="rect">
            <a:avLst/>
          </a:prstGeom>
          <a:gradFill>
            <a:gsLst>
              <a:gs pos="0">
                <a:srgbClr val="062379"/>
              </a:gs>
              <a:gs pos="16000">
                <a:srgbClr val="062379"/>
              </a:gs>
              <a:gs pos="55000">
                <a:srgbClr val="0934B6">
                  <a:alpha val="89411"/>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 name="Google Shape;271;p69"/>
          <p:cNvSpPr txBox="1">
            <a:spLocks noGrp="1"/>
          </p:cNvSpPr>
          <p:nvPr>
            <p:ph type="title"/>
          </p:nvPr>
        </p:nvSpPr>
        <p:spPr>
          <a:xfrm>
            <a:off x="992390" y="4026897"/>
            <a:ext cx="6785798" cy="1569660"/>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2" name="Google Shape;272;p69"/>
          <p:cNvGrpSpPr/>
          <p:nvPr/>
        </p:nvGrpSpPr>
        <p:grpSpPr>
          <a:xfrm>
            <a:off x="11998459" y="6162188"/>
            <a:ext cx="68500" cy="441925"/>
            <a:chOff x="11998459" y="6162188"/>
            <a:chExt cx="68500" cy="441925"/>
          </a:xfrm>
        </p:grpSpPr>
        <p:sp>
          <p:nvSpPr>
            <p:cNvPr id="273" name="Google Shape;273;p6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5" name="Google Shape;275;p6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6" name="Google Shape;276;p6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7" name="Google Shape;277;p6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 name="Google Shape;278;p6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 name="Google Shape;281;p6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 name="Google Shape;282;p6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 name="Google Shape;283;p6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4" name="Google Shape;284;p6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 name="Google Shape;285;p6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6" name="Google Shape;286;p69"/>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87" name="Google Shape;287;p6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8" name="Google Shape;288;p6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2293333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9"/>
        <p:cNvGrpSpPr/>
        <p:nvPr/>
      </p:nvGrpSpPr>
      <p:grpSpPr>
        <a:xfrm>
          <a:off x="0" y="0"/>
          <a:ext cx="0" cy="0"/>
          <a:chOff x="0" y="0"/>
          <a:chExt cx="0" cy="0"/>
        </a:xfrm>
      </p:grpSpPr>
      <p:sp>
        <p:nvSpPr>
          <p:cNvPr id="290" name="Google Shape;290;p70"/>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31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91" name="Google Shape;291;p70"/>
          <p:cNvGrpSpPr/>
          <p:nvPr/>
        </p:nvGrpSpPr>
        <p:grpSpPr>
          <a:xfrm>
            <a:off x="-600" y="549275"/>
            <a:ext cx="12193201" cy="5759450"/>
            <a:chOff x="-600" y="549275"/>
            <a:chExt cx="12193201" cy="5759450"/>
          </a:xfrm>
        </p:grpSpPr>
        <p:cxnSp>
          <p:nvCxnSpPr>
            <p:cNvPr id="292" name="Google Shape;292;p70"/>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70"/>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70"/>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70"/>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70"/>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70"/>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70"/>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70"/>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70"/>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70"/>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70"/>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70"/>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70"/>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70"/>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70"/>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70"/>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70"/>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70"/>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70"/>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70"/>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70"/>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70"/>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4" name="Google Shape;314;p70"/>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5" name="Google Shape;315;p70"/>
          <p:cNvSpPr/>
          <p:nvPr/>
        </p:nvSpPr>
        <p:spPr>
          <a:xfrm>
            <a:off x="550263" y="6308721"/>
            <a:ext cx="11090873" cy="261799"/>
          </a:xfrm>
          <a:prstGeom prst="rect">
            <a:avLst/>
          </a:prstGeom>
          <a:solidFill>
            <a:srgbClr val="FF0000">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6" name="Google Shape;316;p70"/>
          <p:cNvSpPr/>
          <p:nvPr/>
        </p:nvSpPr>
        <p:spPr>
          <a:xfrm>
            <a:off x="550864" y="1348221"/>
            <a:ext cx="11105556" cy="509202"/>
          </a:xfrm>
          <a:prstGeom prst="rect">
            <a:avLst/>
          </a:prstGeom>
          <a:solidFill>
            <a:srgbClr val="FF0000">
              <a:alpha val="431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70"/>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509"/>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318" name="Google Shape;318;p70"/>
          <p:cNvGrpSpPr/>
          <p:nvPr/>
        </p:nvGrpSpPr>
        <p:grpSpPr>
          <a:xfrm>
            <a:off x="1215339" y="1857423"/>
            <a:ext cx="9763000" cy="4458091"/>
            <a:chOff x="1215339" y="549274"/>
            <a:chExt cx="9763000" cy="5759450"/>
          </a:xfrm>
        </p:grpSpPr>
        <p:sp>
          <p:nvSpPr>
            <p:cNvPr id="319" name="Google Shape;319;p70"/>
            <p:cNvSpPr/>
            <p:nvPr/>
          </p:nvSpPr>
          <p:spPr>
            <a:xfrm>
              <a:off x="690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 name="Google Shape;320;p70"/>
            <p:cNvSpPr/>
            <p:nvPr/>
          </p:nvSpPr>
          <p:spPr>
            <a:xfrm>
              <a:off x="879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1" name="Google Shape;321;p70"/>
            <p:cNvSpPr/>
            <p:nvPr/>
          </p:nvSpPr>
          <p:spPr>
            <a:xfrm>
              <a:off x="784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2" name="Google Shape;322;p70"/>
            <p:cNvSpPr/>
            <p:nvPr/>
          </p:nvSpPr>
          <p:spPr>
            <a:xfrm>
              <a:off x="974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 name="Google Shape;323;p70"/>
            <p:cNvSpPr/>
            <p:nvPr/>
          </p:nvSpPr>
          <p:spPr>
            <a:xfrm>
              <a:off x="1069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 name="Google Shape;324;p70"/>
            <p:cNvSpPr/>
            <p:nvPr/>
          </p:nvSpPr>
          <p:spPr>
            <a:xfrm>
              <a:off x="5952839" y="549274"/>
              <a:ext cx="288000" cy="5759450"/>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70"/>
            <p:cNvSpPr/>
            <p:nvPr/>
          </p:nvSpPr>
          <p:spPr>
            <a:xfrm>
              <a:off x="121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6" name="Google Shape;326;p70"/>
            <p:cNvSpPr/>
            <p:nvPr/>
          </p:nvSpPr>
          <p:spPr>
            <a:xfrm>
              <a:off x="216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7" name="Google Shape;327;p70"/>
            <p:cNvSpPr/>
            <p:nvPr/>
          </p:nvSpPr>
          <p:spPr>
            <a:xfrm>
              <a:off x="311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8" name="Google Shape;328;p70"/>
            <p:cNvSpPr/>
            <p:nvPr/>
          </p:nvSpPr>
          <p:spPr>
            <a:xfrm>
              <a:off x="405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9" name="Google Shape;329;p70"/>
            <p:cNvSpPr/>
            <p:nvPr/>
          </p:nvSpPr>
          <p:spPr>
            <a:xfrm>
              <a:off x="500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0" name="Google Shape;330;p70"/>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331" name="Google Shape;331;p70"/>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32" name="Google Shape;332;p7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3" name="Google Shape;333;p70"/>
          <p:cNvGrpSpPr/>
          <p:nvPr/>
        </p:nvGrpSpPr>
        <p:grpSpPr>
          <a:xfrm>
            <a:off x="550864" y="6156603"/>
            <a:ext cx="11089971" cy="55199"/>
            <a:chOff x="550864" y="6156603"/>
            <a:chExt cx="11089971" cy="55199"/>
          </a:xfrm>
        </p:grpSpPr>
        <p:sp>
          <p:nvSpPr>
            <p:cNvPr id="334" name="Google Shape;334;p70"/>
            <p:cNvSpPr/>
            <p:nvPr/>
          </p:nvSpPr>
          <p:spPr>
            <a:xfrm>
              <a:off x="550864"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5" name="Google Shape;335;p70"/>
            <p:cNvSpPr/>
            <p:nvPr/>
          </p:nvSpPr>
          <p:spPr>
            <a:xfrm>
              <a:off x="5104050"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6" name="Google Shape;336;p70"/>
            <p:cNvSpPr/>
            <p:nvPr/>
          </p:nvSpPr>
          <p:spPr>
            <a:xfrm>
              <a:off x="7380643"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0"/>
            <p:cNvSpPr/>
            <p:nvPr/>
          </p:nvSpPr>
          <p:spPr>
            <a:xfrm>
              <a:off x="9657235"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8" name="Google Shape;338;p70"/>
            <p:cNvSpPr/>
            <p:nvPr/>
          </p:nvSpPr>
          <p:spPr>
            <a:xfrm>
              <a:off x="2827457"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7554037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5_Full-width Page">
  <p:cSld name="5_Full-width Page">
    <p:spTree>
      <p:nvGrpSpPr>
        <p:cNvPr id="1" name="Shape 33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B3274E-F45F-3FF5-DFA6-4C4852FA3CA3}"/>
              </a:ext>
            </a:extLst>
          </p:cNvPr>
          <p:cNvGraphicFramePr>
            <a:graphicFrameLocks noChangeAspect="1"/>
          </p:cNvGraphicFramePr>
          <p:nvPr userDrawn="1">
            <p:custDataLst>
              <p:tags r:id="rId1"/>
            </p:custDataLst>
            <p:extLst>
              <p:ext uri="{D42A27DB-BD31-4B8C-83A1-F6EECF244321}">
                <p14:modId xmlns:p14="http://schemas.microsoft.com/office/powerpoint/2010/main" val="272567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0" name="Google Shape;340;p71"/>
          <p:cNvPicPr preferRelativeResize="0"/>
          <p:nvPr/>
        </p:nvPicPr>
        <p:blipFill rotWithShape="1">
          <a:blip r:embed="rId5">
            <a:alphaModFix/>
          </a:blip>
          <a:srcRect/>
          <a:stretch/>
        </p:blipFill>
        <p:spPr>
          <a:xfrm>
            <a:off x="2" y="0"/>
            <a:ext cx="3492498" cy="6858000"/>
          </a:xfrm>
          <a:prstGeom prst="rect">
            <a:avLst/>
          </a:prstGeom>
          <a:noFill/>
          <a:ln>
            <a:noFill/>
          </a:ln>
        </p:spPr>
      </p:pic>
      <p:sp>
        <p:nvSpPr>
          <p:cNvPr id="341" name="Google Shape;341;p71"/>
          <p:cNvSpPr/>
          <p:nvPr/>
        </p:nvSpPr>
        <p:spPr>
          <a:xfrm>
            <a:off x="0" y="-1"/>
            <a:ext cx="3492497" cy="6857999"/>
          </a:xfrm>
          <a:prstGeom prst="rect">
            <a:avLst/>
          </a:prstGeom>
          <a:gradFill>
            <a:gsLst>
              <a:gs pos="0">
                <a:schemeClr val="dk2"/>
              </a:gs>
              <a:gs pos="76000">
                <a:srgbClr val="4873F5">
                  <a:alpha val="84313"/>
                </a:srgbClr>
              </a:gs>
              <a:gs pos="100000">
                <a:srgbClr val="00B9FF">
                  <a:alpha val="80000"/>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2" name="Google Shape;342;p71"/>
          <p:cNvSpPr txBox="1">
            <a:spLocks noGrp="1"/>
          </p:cNvSpPr>
          <p:nvPr>
            <p:ph type="title"/>
          </p:nvPr>
        </p:nvSpPr>
        <p:spPr>
          <a:xfrm>
            <a:off x="376385" y="3013500"/>
            <a:ext cx="3023598" cy="830997"/>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cxnSp>
        <p:nvCxnSpPr>
          <p:cNvPr id="343" name="Google Shape;343;p71"/>
          <p:cNvCxnSpPr>
            <a:cxnSpLocks/>
          </p:cNvCxnSpPr>
          <p:nvPr/>
        </p:nvCxnSpPr>
        <p:spPr>
          <a:xfrm>
            <a:off x="362847" y="2738541"/>
            <a:ext cx="540000"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26406056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2650357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4327759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ub-Section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B52237-4F8A-4F28-B2AF-5014C898F7F8}"/>
              </a:ext>
            </a:extLst>
          </p:cNvPr>
          <p:cNvSpPr/>
          <p:nvPr userDrawn="1"/>
        </p:nvSpPr>
        <p:spPr>
          <a:xfrm>
            <a:off x="0" y="1"/>
            <a:ext cx="12192000" cy="6924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3" name="Rectangle 2">
            <a:extLst>
              <a:ext uri="{FF2B5EF4-FFF2-40B4-BE49-F238E27FC236}">
                <a16:creationId xmlns:a16="http://schemas.microsoft.com/office/drawing/2014/main" id="{06C46470-6B85-42AC-858F-07BE622DF338}"/>
              </a:ext>
            </a:extLst>
          </p:cNvPr>
          <p:cNvSpPr/>
          <p:nvPr userDrawn="1"/>
        </p:nvSpPr>
        <p:spPr>
          <a:xfrm>
            <a:off x="0" y="2600325"/>
            <a:ext cx="12192000" cy="34861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13" name="Text Placeholder 1">
            <a:extLst>
              <a:ext uri="{FF2B5EF4-FFF2-40B4-BE49-F238E27FC236}">
                <a16:creationId xmlns:a16="http://schemas.microsoft.com/office/drawing/2014/main" id="{9EE6E236-101E-42EB-81FB-302691A30ACD}"/>
              </a:ext>
            </a:extLst>
          </p:cNvPr>
          <p:cNvSpPr>
            <a:spLocks noGrp="1"/>
          </p:cNvSpPr>
          <p:nvPr>
            <p:ph type="body" sz="quarter" idx="10" hasCustomPrompt="1"/>
          </p:nvPr>
        </p:nvSpPr>
        <p:spPr>
          <a:xfrm>
            <a:off x="568801" y="4090490"/>
            <a:ext cx="6467475" cy="435247"/>
          </a:xfrm>
          <a:prstGeom prst="rect">
            <a:avLst/>
          </a:prstGeom>
        </p:spPr>
        <p:txBody>
          <a:bodyPr/>
          <a:lstStyle>
            <a:lvl1pPr>
              <a:defRPr sz="2100">
                <a:solidFill>
                  <a:schemeClr val="bg1"/>
                </a:solidFill>
                <a:latin typeface="+mj-lt"/>
              </a:defRPr>
            </a:lvl1pPr>
          </a:lstStyle>
          <a:p>
            <a:r>
              <a:rPr lang="en-US" dirty="0"/>
              <a:t>Sub-Section in Report Title</a:t>
            </a:r>
          </a:p>
        </p:txBody>
      </p:sp>
      <p:sp>
        <p:nvSpPr>
          <p:cNvPr id="14" name="Text Placeholder 2">
            <a:extLst>
              <a:ext uri="{FF2B5EF4-FFF2-40B4-BE49-F238E27FC236}">
                <a16:creationId xmlns:a16="http://schemas.microsoft.com/office/drawing/2014/main" id="{F8AB815C-183A-4AED-B7E8-6684B137AD19}"/>
              </a:ext>
            </a:extLst>
          </p:cNvPr>
          <p:cNvSpPr>
            <a:spLocks noGrp="1"/>
          </p:cNvSpPr>
          <p:nvPr>
            <p:ph type="body" sz="quarter" idx="11" hasCustomPrompt="1"/>
          </p:nvPr>
        </p:nvSpPr>
        <p:spPr>
          <a:xfrm>
            <a:off x="568801" y="4841549"/>
            <a:ext cx="6467475" cy="362150"/>
          </a:xfrm>
          <a:prstGeom prst="rect">
            <a:avLst/>
          </a:prstGeom>
        </p:spPr>
        <p:txBody>
          <a:bodyPr/>
          <a:lstStyle>
            <a:lvl1pPr>
              <a:defRPr>
                <a:solidFill>
                  <a:schemeClr val="bg1"/>
                </a:solidFill>
                <a:latin typeface="+mj-lt"/>
              </a:defRPr>
            </a:lvl1pPr>
          </a:lstStyle>
          <a:p>
            <a:r>
              <a:rPr lang="en-US" dirty="0"/>
              <a:t>Add Text Here</a:t>
            </a:r>
          </a:p>
        </p:txBody>
      </p:sp>
    </p:spTree>
    <p:extLst>
      <p:ext uri="{BB962C8B-B14F-4D97-AF65-F5344CB8AC3E}">
        <p14:creationId xmlns:p14="http://schemas.microsoft.com/office/powerpoint/2010/main" val="201187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562708" y="130584"/>
            <a:ext cx="11066584" cy="627834"/>
          </a:xfrm>
          <a:prstGeom prst="rect">
            <a:avLst/>
          </a:prstGeom>
          <a:noFill/>
          <a:ln>
            <a:noFill/>
          </a:ln>
        </p:spPr>
        <p:txBody>
          <a:bodyPr lIns="91425" tIns="91425" rIns="91425" bIns="91425" anchor="ctr" anchorCtr="0"/>
          <a:lstStyle>
            <a:lvl1pPr algn="l" rtl="0">
              <a:lnSpc>
                <a:spcPct val="90000"/>
              </a:lnSpc>
              <a:spcBef>
                <a:spcPts val="0"/>
              </a:spcBef>
              <a:buClr>
                <a:schemeClr val="accent3"/>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1" name="Shape 31"/>
          <p:cNvSpPr txBox="1">
            <a:spLocks noGrp="1"/>
          </p:cNvSpPr>
          <p:nvPr>
            <p:ph type="body" idx="1"/>
          </p:nvPr>
        </p:nvSpPr>
        <p:spPr>
          <a:xfrm>
            <a:off x="562708" y="1556954"/>
            <a:ext cx="11066584" cy="455479"/>
          </a:xfrm>
          <a:prstGeom prst="rect">
            <a:avLst/>
          </a:prstGeom>
          <a:noFill/>
          <a:ln>
            <a:noFill/>
          </a:ln>
        </p:spPr>
        <p:txBody>
          <a:bodyPr lIns="91425" tIns="91425" rIns="91425" bIns="91425" anchor="t" anchorCtr="0"/>
          <a:lstStyle>
            <a:lvl1pPr marL="0" indent="0" algn="l" rtl="0">
              <a:lnSpc>
                <a:spcPct val="110000"/>
              </a:lnSpc>
              <a:spcBef>
                <a:spcPts val="0"/>
              </a:spcBef>
              <a:buClr>
                <a:schemeClr val="dk1"/>
              </a:buClr>
              <a:buFont typeface="Arial"/>
              <a:buNone/>
              <a:defRPr/>
            </a:lvl1pPr>
            <a:lvl2pPr marL="334116" indent="-134819" algn="l" rtl="0">
              <a:lnSpc>
                <a:spcPct val="110000"/>
              </a:lnSpc>
              <a:spcBef>
                <a:spcPts val="0"/>
              </a:spcBef>
              <a:buClr>
                <a:schemeClr val="accent3"/>
              </a:buClr>
              <a:buFont typeface="Arial"/>
              <a:buChar char="•"/>
              <a:defRPr/>
            </a:lvl2pPr>
            <a:lvl3pPr marL="577376" indent="-178781" algn="l" rtl="0">
              <a:lnSpc>
                <a:spcPct val="110000"/>
              </a:lnSpc>
              <a:spcBef>
                <a:spcPts val="0"/>
              </a:spcBef>
              <a:buClr>
                <a:srgbClr val="A9A9A9"/>
              </a:buClr>
              <a:buFont typeface="Arial"/>
              <a:buChar char="–"/>
              <a:defRPr/>
            </a:lvl3pPr>
            <a:lvl4pPr marL="820636" indent="-152404" algn="l" rtl="0">
              <a:lnSpc>
                <a:spcPct val="110000"/>
              </a:lnSpc>
              <a:spcBef>
                <a:spcPts val="0"/>
              </a:spcBef>
              <a:buClr>
                <a:srgbClr val="A9A9A9"/>
              </a:buClr>
              <a:buFont typeface="Arial"/>
              <a:buChar char="–"/>
              <a:defRPr/>
            </a:lvl4pPr>
            <a:lvl5pPr marL="1080016" indent="-177316" algn="l" rtl="0">
              <a:lnSpc>
                <a:spcPct val="110000"/>
              </a:lnSpc>
              <a:spcBef>
                <a:spcPts val="0"/>
              </a:spcBef>
              <a:buClr>
                <a:srgbClr val="A9A9A9"/>
              </a:buClr>
              <a:buFont typeface="Arial"/>
              <a:buChar char="–"/>
              <a:defRPr/>
            </a:lvl5pPr>
            <a:lvl6pPr marL="2321227" indent="-93787" algn="l" rtl="0">
              <a:spcBef>
                <a:spcPts val="369"/>
              </a:spcBef>
              <a:buClr>
                <a:schemeClr val="dk1"/>
              </a:buClr>
              <a:buFont typeface="Arial"/>
              <a:buChar char="•"/>
              <a:defRPr/>
            </a:lvl6pPr>
            <a:lvl7pPr marL="2743269" indent="-93787" algn="l" rtl="0">
              <a:spcBef>
                <a:spcPts val="369"/>
              </a:spcBef>
              <a:buClr>
                <a:schemeClr val="dk1"/>
              </a:buClr>
              <a:buFont typeface="Arial"/>
              <a:buChar char="•"/>
              <a:defRPr/>
            </a:lvl7pPr>
            <a:lvl8pPr marL="3165310" indent="-93787" algn="l" rtl="0">
              <a:spcBef>
                <a:spcPts val="369"/>
              </a:spcBef>
              <a:buClr>
                <a:schemeClr val="dk1"/>
              </a:buClr>
              <a:buFont typeface="Arial"/>
              <a:buChar char="•"/>
              <a:defRPr/>
            </a:lvl8pPr>
            <a:lvl9pPr marL="3587351" indent="-93787" algn="l" rtl="0">
              <a:spcBef>
                <a:spcPts val="369"/>
              </a:spcBef>
              <a:buClr>
                <a:schemeClr val="dk1"/>
              </a:buClr>
              <a:buFont typeface="Arial"/>
              <a:buChar char="•"/>
              <a:defRPr/>
            </a:lvl9pPr>
          </a:lstStyle>
          <a:p>
            <a:endParaRPr/>
          </a:p>
        </p:txBody>
      </p:sp>
    </p:spTree>
    <p:extLst>
      <p:ext uri="{BB962C8B-B14F-4D97-AF65-F5344CB8AC3E}">
        <p14:creationId xmlns:p14="http://schemas.microsoft.com/office/powerpoint/2010/main" val="19691557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750450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529006" y="448574"/>
            <a:ext cx="11133991" cy="276999"/>
          </a:xfrm>
          <a:prstGeom prst="rect">
            <a:avLst/>
          </a:prstGeom>
        </p:spPr>
        <p:txBody>
          <a:bodyPr lIns="0" rIns="0"/>
          <a:lstStyle>
            <a:lvl1pPr>
              <a:defRPr sz="2000">
                <a:solidFill>
                  <a:schemeClr val="accent1"/>
                </a:solidFill>
              </a:defRPr>
            </a:lvl1pPr>
          </a:lstStyle>
          <a:p>
            <a:r>
              <a:rPr lang="en-US" dirty="0"/>
              <a:t>Click to edit Master title style</a:t>
            </a:r>
          </a:p>
        </p:txBody>
      </p:sp>
      <p:sp>
        <p:nvSpPr>
          <p:cNvPr id="3" name="Content Placeholder 2"/>
          <p:cNvSpPr>
            <a:spLocks noGrp="1"/>
          </p:cNvSpPr>
          <p:nvPr>
            <p:ph idx="1" hasCustomPrompt="1"/>
          </p:nvPr>
        </p:nvSpPr>
        <p:spPr>
          <a:xfrm>
            <a:off x="529006" y="1628781"/>
            <a:ext cx="11133991" cy="932563"/>
          </a:xfrm>
          <a:prstGeom prst="rect">
            <a:avLst/>
          </a:prstGeom>
        </p:spPr>
        <p:txBody>
          <a:bodyPr lIns="0" rIns="0"/>
          <a:lstStyle>
            <a:lvl1pPr>
              <a:defRPr sz="1600">
                <a:solidFill>
                  <a:schemeClr val="tx1"/>
                </a:solidFill>
              </a:defRPr>
            </a:lvl1pPr>
            <a:lvl2pPr marL="304800" indent="-209550">
              <a:buClr>
                <a:schemeClr val="accent3"/>
              </a:buClr>
              <a:buFont typeface="Wingdings 2" panose="05020102010507070707" pitchFamily="18" charset="2"/>
              <a:buChar char=""/>
              <a:defRPr sz="1600">
                <a:solidFill>
                  <a:schemeClr val="tx1"/>
                </a:solidFill>
              </a:defRPr>
            </a:lvl2pPr>
            <a:lvl3pPr marL="647700" indent="-203200">
              <a:buClr>
                <a:schemeClr val="bg1">
                  <a:lumMod val="50000"/>
                </a:schemeClr>
              </a:buClr>
              <a:buFont typeface="Arial" panose="020B0604020202020204" pitchFamily="34" charset="0"/>
              <a:buChar cha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063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968580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Subtitle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305230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A374107-D284-43FC-B1C8-16D4730570E9}"/>
              </a:ext>
            </a:extLst>
          </p:cNvPr>
          <p:cNvSpPr>
            <a:spLocks noGrp="1"/>
          </p:cNvSpPr>
          <p:nvPr>
            <p:ph type="ftr" sz="quarter" idx="11"/>
          </p:nvPr>
        </p:nvSpPr>
        <p:spPr>
          <a:xfrm>
            <a:off x="550862" y="6465614"/>
            <a:ext cx="955390" cy="138499"/>
          </a:xfrm>
          <a:noFill/>
        </p:spPr>
        <p:txBody>
          <a:bodyPr wrap="none" lIns="0" tIns="0" rIns="0" bIns="0" rtlCol="0" anchor="b">
            <a:spAutoFit/>
          </a:bodyPr>
          <a:lstStyle>
            <a:lvl1pPr>
              <a:defRPr lang="en-US" smtClean="0">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
        <p:nvSpPr>
          <p:cNvPr id="5" name="Slide Number Placeholder 4">
            <a:extLst>
              <a:ext uri="{FF2B5EF4-FFF2-40B4-BE49-F238E27FC236}">
                <a16:creationId xmlns:a16="http://schemas.microsoft.com/office/drawing/2014/main" id="{1A089CAE-6B9C-4764-B552-4C492F022EB6}"/>
              </a:ext>
            </a:extLst>
          </p:cNvPr>
          <p:cNvSpPr>
            <a:spLocks noGrp="1"/>
          </p:cNvSpPr>
          <p:nvPr>
            <p:ph type="sldNum" sz="quarter" idx="12"/>
          </p:nvPr>
        </p:nvSpPr>
        <p:spPr>
          <a:xfrm>
            <a:off x="11490153" y="6450225"/>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a:t>
            </a:fld>
            <a:endParaRPr lang="en-IN"/>
          </a:p>
        </p:txBody>
      </p:sp>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p:txBody>
          <a:bodyPr vert="horz" wrap="square" lIns="0" tIns="0" rIns="0" bIns="0" rtlCol="0" anchor="t">
            <a:spAutoFit/>
          </a:bodyPr>
          <a:lstStyle>
            <a:lvl1pPr>
              <a:defRPr lang="en-IN" dirty="0">
                <a:latin typeface="Franklin Gothic Demi" panose="020B0703020102020204" pitchFamily="34" charset="0"/>
                <a:cs typeface="Calibri" panose="020F0502020204030204" pitchFamily="34" charset="0"/>
                <a:sym typeface="Calibri" panose="020F0502020204030204" pitchFamily="34" charset="0"/>
              </a:defRPr>
            </a:lvl1pPr>
          </a:lstStyle>
          <a:p>
            <a:pPr lvl="0">
              <a:lnSpc>
                <a:spcPct val="85000"/>
              </a:lnSpc>
            </a:pPr>
            <a:r>
              <a:rPr lang="en-US" dirty="0"/>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50862" y="1028324"/>
            <a:ext cx="11089972" cy="292388"/>
          </a:xfrm>
        </p:spPr>
        <p:txBody>
          <a:bodyPr>
            <a:spAutoFit/>
          </a:bodyPr>
          <a:lstStyle>
            <a:lvl1pPr>
              <a:defRPr sz="2000">
                <a:solidFill>
                  <a:schemeClr val="tx2">
                    <a:lumMod val="60000"/>
                    <a:lumOff val="40000"/>
                  </a:schemeClr>
                </a:solidFill>
                <a:latin typeface="Franklin Gothic Book" panose="020B0503020102020204" pitchFamily="34" charset="0"/>
                <a:cs typeface="Calibri" panose="020F0502020204030204" pitchFamily="34" charset="0"/>
                <a:sym typeface="Calibri" panose="020F0502020204030204" pitchFamily="34" charset="0"/>
              </a:defRPr>
            </a:lvl1pPr>
          </a:lstStyle>
          <a:p>
            <a:pPr lvl="0"/>
            <a:r>
              <a:rPr lang="en-US" dirty="0"/>
              <a:t>Click to edit Master text styles</a:t>
            </a:r>
          </a:p>
        </p:txBody>
      </p:sp>
    </p:spTree>
    <p:extLst>
      <p:ext uri="{BB962C8B-B14F-4D97-AF65-F5344CB8AC3E}">
        <p14:creationId xmlns:p14="http://schemas.microsoft.com/office/powerpoint/2010/main" val="39219480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4255198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6430235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6264556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521551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4"/>
            <a:ext cx="5400675"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4"/>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299803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Slide (Option 2)">
    <p:spTree>
      <p:nvGrpSpPr>
        <p:cNvPr id="1" name="Shape 32"/>
        <p:cNvGrpSpPr/>
        <p:nvPr/>
      </p:nvGrpSpPr>
      <p:grpSpPr>
        <a:xfrm>
          <a:off x="0" y="0"/>
          <a:ext cx="0" cy="0"/>
          <a:chOff x="0" y="0"/>
          <a:chExt cx="0" cy="0"/>
        </a:xfrm>
      </p:grpSpPr>
      <p:pic>
        <p:nvPicPr>
          <p:cNvPr id="33" name="Google Shape;33;p46"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34" name="Google Shape;34;p46"/>
          <p:cNvSpPr/>
          <p:nvPr/>
        </p:nvSpPr>
        <p:spPr>
          <a:xfrm>
            <a:off x="536448" y="540000"/>
            <a:ext cx="6363891" cy="6318000"/>
          </a:xfrm>
          <a:prstGeom prst="rect">
            <a:avLst/>
          </a:prstGeom>
          <a:gradFill>
            <a:gsLst>
              <a:gs pos="0">
                <a:srgbClr val="062379"/>
              </a:gs>
              <a:gs pos="26000">
                <a:srgbClr val="0934B6">
                  <a:alpha val="89411"/>
                </a:srgbClr>
              </a:gs>
              <a:gs pos="64000">
                <a:srgbClr val="036DFF">
                  <a:alpha val="80000"/>
                </a:srgbClr>
              </a:gs>
              <a:gs pos="100000">
                <a:srgbClr val="43E1D3">
                  <a:alpha val="89411"/>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 name="Google Shape;35;p46"/>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46"/>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 name="Google Shape;37;p46"/>
          <p:cNvSpPr txBox="1">
            <a:spLocks noGrp="1"/>
          </p:cNvSpPr>
          <p:nvPr>
            <p:ph type="dt" idx="10"/>
          </p:nvPr>
        </p:nvSpPr>
        <p:spPr>
          <a:xfrm>
            <a:off x="902896" y="5923689"/>
            <a:ext cx="1599925"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38" name="Google Shape;38;p46"/>
          <p:cNvPicPr preferRelativeResize="0"/>
          <p:nvPr/>
        </p:nvPicPr>
        <p:blipFill rotWithShape="1">
          <a:blip r:embed="rId3">
            <a:alphaModFix/>
          </a:blip>
          <a:srcRect/>
          <a:stretch/>
        </p:blipFill>
        <p:spPr>
          <a:xfrm>
            <a:off x="902896" y="901732"/>
            <a:ext cx="2497452" cy="574280"/>
          </a:xfrm>
          <a:prstGeom prst="rect">
            <a:avLst/>
          </a:prstGeom>
          <a:noFill/>
          <a:ln>
            <a:noFill/>
          </a:ln>
        </p:spPr>
      </p:pic>
    </p:spTree>
    <p:extLst>
      <p:ext uri="{BB962C8B-B14F-4D97-AF65-F5344CB8AC3E}">
        <p14:creationId xmlns:p14="http://schemas.microsoft.com/office/powerpoint/2010/main" val="35448068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43"/>
        <p:cNvGrpSpPr/>
        <p:nvPr/>
      </p:nvGrpSpPr>
      <p:grpSpPr>
        <a:xfrm>
          <a:off x="0" y="0"/>
          <a:ext cx="0" cy="0"/>
          <a:chOff x="0" y="0"/>
          <a:chExt cx="0" cy="0"/>
        </a:xfrm>
      </p:grpSpPr>
      <p:pic>
        <p:nvPicPr>
          <p:cNvPr id="44" name="Google Shape;44;p6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 name="Google Shape;45;p68"/>
          <p:cNvSpPr/>
          <p:nvPr/>
        </p:nvSpPr>
        <p:spPr>
          <a:xfrm>
            <a:off x="0" y="0"/>
            <a:ext cx="2682587" cy="6858000"/>
          </a:xfrm>
          <a:prstGeom prst="rect">
            <a:avLst/>
          </a:prstGeom>
          <a:solidFill>
            <a:schemeClr val="lt2">
              <a:alpha val="69411"/>
            </a:scheme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8"/>
          <p:cNvSpPr/>
          <p:nvPr/>
        </p:nvSpPr>
        <p:spPr>
          <a:xfrm>
            <a:off x="0" y="3700463"/>
            <a:ext cx="9412014" cy="2414587"/>
          </a:xfrm>
          <a:prstGeom prst="rect">
            <a:avLst/>
          </a:prstGeom>
          <a:gradFill>
            <a:gsLst>
              <a:gs pos="0">
                <a:srgbClr val="062379"/>
              </a:gs>
              <a:gs pos="55000">
                <a:srgbClr val="385ED2"/>
              </a:gs>
              <a:gs pos="76000">
                <a:srgbClr val="4873F5">
                  <a:alpha val="89411"/>
                </a:srgbClr>
              </a:gs>
              <a:gs pos="100000">
                <a:srgbClr val="43E1D3">
                  <a:alpha val="89411"/>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 name="Google Shape;47;p68"/>
          <p:cNvSpPr txBox="1">
            <a:spLocks noGrp="1"/>
          </p:cNvSpPr>
          <p:nvPr>
            <p:ph type="title"/>
          </p:nvPr>
        </p:nvSpPr>
        <p:spPr>
          <a:xfrm>
            <a:off x="737591" y="4108436"/>
            <a:ext cx="8494899" cy="1569660"/>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 name="Google Shape;48;p68"/>
          <p:cNvGrpSpPr/>
          <p:nvPr/>
        </p:nvGrpSpPr>
        <p:grpSpPr>
          <a:xfrm>
            <a:off x="11998459" y="6162188"/>
            <a:ext cx="68500" cy="441925"/>
            <a:chOff x="11998459" y="6162188"/>
            <a:chExt cx="68500" cy="441925"/>
          </a:xfrm>
        </p:grpSpPr>
        <p:sp>
          <p:nvSpPr>
            <p:cNvPr id="49" name="Google Shape;49;p6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 name="Google Shape;50;p6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 name="Google Shape;51;p6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 name="Google Shape;52;p6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6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6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 name="Google Shape;55;p6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 name="Google Shape;56;p6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 name="Google Shape;57;p6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 name="Google Shape;58;p6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6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 name="Google Shape;60;p6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 name="Google Shape;61;p6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 name="Google Shape;62;p6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63" name="Google Shape;63;p6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93800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21"/>
        <p:cNvGrpSpPr/>
        <p:nvPr/>
      </p:nvGrpSpPr>
      <p:grpSpPr>
        <a:xfrm>
          <a:off x="0" y="0"/>
          <a:ext cx="0" cy="0"/>
          <a:chOff x="0" y="0"/>
          <a:chExt cx="0" cy="0"/>
        </a:xfrm>
      </p:grpSpPr>
      <p:sp>
        <p:nvSpPr>
          <p:cNvPr id="122" name="Google Shape;122;p57"/>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 name="Google Shape;123;p57"/>
          <p:cNvSpPr txBox="1"/>
          <p:nvPr/>
        </p:nvSpPr>
        <p:spPr>
          <a:xfrm>
            <a:off x="550863" y="5965461"/>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dirty="0">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dirty="0">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lt1"/>
                </a:solidFill>
                <a:latin typeface="Calibri"/>
                <a:ea typeface="Calibri"/>
                <a:cs typeface="Calibri"/>
                <a:sym typeface="Calibri"/>
              </a:rPr>
              <a:t>Infomineo Copyright © 2023. All rights reserved.</a:t>
            </a:r>
            <a:endParaRPr sz="1400" b="0" i="0" u="none" strike="noStrike" cap="none" dirty="0">
              <a:solidFill>
                <a:srgbClr val="000000"/>
              </a:solidFill>
              <a:latin typeface="Arial"/>
              <a:ea typeface="Arial"/>
              <a:cs typeface="Arial"/>
              <a:sym typeface="Arial"/>
            </a:endParaRPr>
          </a:p>
        </p:txBody>
      </p:sp>
      <p:pic>
        <p:nvPicPr>
          <p:cNvPr id="125" name="Google Shape;125;p57">
            <a:hlinkClick r:id="rId3"/>
          </p:cNvPr>
          <p:cNvPicPr preferRelativeResize="0"/>
          <p:nvPr/>
        </p:nvPicPr>
        <p:blipFill rotWithShape="1">
          <a:blip r:embed="rId4">
            <a:alphaModFix/>
          </a:blip>
          <a:srcRect/>
          <a:stretch/>
        </p:blipFill>
        <p:spPr>
          <a:xfrm>
            <a:off x="11323329" y="5965461"/>
            <a:ext cx="370332" cy="370332"/>
          </a:xfrm>
          <a:prstGeom prst="rect">
            <a:avLst/>
          </a:prstGeom>
          <a:noFill/>
          <a:ln>
            <a:noFill/>
          </a:ln>
        </p:spPr>
      </p:pic>
      <p:pic>
        <p:nvPicPr>
          <p:cNvPr id="126" name="Google Shape;126;p57">
            <a:hlinkClick r:id="rId5"/>
          </p:cNvPr>
          <p:cNvPicPr preferRelativeResize="0"/>
          <p:nvPr/>
        </p:nvPicPr>
        <p:blipFill rotWithShape="1">
          <a:blip r:embed="rId6">
            <a:alphaModFix/>
          </a:blip>
          <a:srcRect/>
          <a:stretch/>
        </p:blipFill>
        <p:spPr>
          <a:xfrm>
            <a:off x="10825964" y="5965461"/>
            <a:ext cx="368808" cy="370332"/>
          </a:xfrm>
          <a:prstGeom prst="rect">
            <a:avLst/>
          </a:prstGeom>
          <a:noFill/>
          <a:ln>
            <a:noFill/>
          </a:ln>
        </p:spPr>
      </p:pic>
      <p:pic>
        <p:nvPicPr>
          <p:cNvPr id="127" name="Google Shape;127;p57">
            <a:hlinkClick r:id="rId7"/>
          </p:cNvPr>
          <p:cNvPicPr preferRelativeResize="0"/>
          <p:nvPr/>
        </p:nvPicPr>
        <p:blipFill rotWithShape="1">
          <a:blip r:embed="rId8">
            <a:alphaModFix/>
          </a:blip>
          <a:srcRect/>
          <a:stretch/>
        </p:blipFill>
        <p:spPr>
          <a:xfrm>
            <a:off x="10328599" y="5965461"/>
            <a:ext cx="368808" cy="370332"/>
          </a:xfrm>
          <a:prstGeom prst="rect">
            <a:avLst/>
          </a:prstGeom>
          <a:noFill/>
          <a:ln>
            <a:noFill/>
          </a:ln>
        </p:spPr>
      </p:pic>
      <p:pic>
        <p:nvPicPr>
          <p:cNvPr id="3" name="Graphic 2">
            <a:extLst>
              <a:ext uri="{FF2B5EF4-FFF2-40B4-BE49-F238E27FC236}">
                <a16:creationId xmlns:a16="http://schemas.microsoft.com/office/drawing/2014/main" id="{DF8AFA88-E070-4A62-79C5-7BEF7D72687C}"/>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28242" y="2976520"/>
            <a:ext cx="3935516" cy="904960"/>
          </a:xfrm>
          <a:prstGeom prst="rect">
            <a:avLst/>
          </a:prstGeom>
        </p:spPr>
      </p:pic>
    </p:spTree>
    <p:extLst>
      <p:ext uri="{BB962C8B-B14F-4D97-AF65-F5344CB8AC3E}">
        <p14:creationId xmlns:p14="http://schemas.microsoft.com/office/powerpoint/2010/main" val="2400519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160"/>
        <p:cNvGrpSpPr/>
        <p:nvPr/>
      </p:nvGrpSpPr>
      <p:grpSpPr>
        <a:xfrm>
          <a:off x="0" y="0"/>
          <a:ext cx="0" cy="0"/>
          <a:chOff x="0" y="0"/>
          <a:chExt cx="0" cy="0"/>
        </a:xfrm>
      </p:grpSpPr>
      <p:sp>
        <p:nvSpPr>
          <p:cNvPr id="161" name="Google Shape;161;p6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6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3" name="Google Shape;163;p60"/>
          <p:cNvSpPr txBox="1">
            <a:spLocks noGrp="1"/>
          </p:cNvSpPr>
          <p:nvPr>
            <p:ph type="body" idx="1"/>
          </p:nvPr>
        </p:nvSpPr>
        <p:spPr>
          <a:xfrm>
            <a:off x="550864" y="2175803"/>
            <a:ext cx="35069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 name="Google Shape;164;p60"/>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60"/>
          <p:cNvSpPr txBox="1">
            <a:spLocks noGrp="1"/>
          </p:cNvSpPr>
          <p:nvPr>
            <p:ph type="body" idx="3"/>
          </p:nvPr>
        </p:nvSpPr>
        <p:spPr>
          <a:xfrm>
            <a:off x="8135839"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 name="Google Shape;166;p60"/>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 name="Google Shape;167;p60"/>
          <p:cNvSpPr txBox="1">
            <a:spLocks noGrp="1"/>
          </p:cNvSpPr>
          <p:nvPr>
            <p:ph type="body" idx="5"/>
          </p:nvPr>
        </p:nvSpPr>
        <p:spPr>
          <a:xfrm>
            <a:off x="4344162"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60"/>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 name="Google Shape;169;p60"/>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010251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182"/>
        <p:cNvGrpSpPr/>
        <p:nvPr/>
      </p:nvGrpSpPr>
      <p:grpSpPr>
        <a:xfrm>
          <a:off x="0" y="0"/>
          <a:ext cx="0" cy="0"/>
          <a:chOff x="0" y="0"/>
          <a:chExt cx="0" cy="0"/>
        </a:xfrm>
      </p:grpSpPr>
      <p:sp>
        <p:nvSpPr>
          <p:cNvPr id="183" name="Google Shape;183;p62"/>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6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5" name="Google Shape;185;p62"/>
          <p:cNvSpPr txBox="1">
            <a:spLocks noGrp="1"/>
          </p:cNvSpPr>
          <p:nvPr>
            <p:ph type="body" idx="1"/>
          </p:nvPr>
        </p:nvSpPr>
        <p:spPr>
          <a:xfrm>
            <a:off x="550864"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 name="Google Shape;186;p62"/>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62"/>
          <p:cNvSpPr txBox="1">
            <a:spLocks noGrp="1"/>
          </p:cNvSpPr>
          <p:nvPr>
            <p:ph type="body" idx="3"/>
          </p:nvPr>
        </p:nvSpPr>
        <p:spPr>
          <a:xfrm>
            <a:off x="5104050"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 name="Google Shape;188;p62"/>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62"/>
          <p:cNvSpPr txBox="1">
            <a:spLocks noGrp="1"/>
          </p:cNvSpPr>
          <p:nvPr>
            <p:ph type="body" idx="5"/>
          </p:nvPr>
        </p:nvSpPr>
        <p:spPr>
          <a:xfrm>
            <a:off x="2827457"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 name="Google Shape;190;p62"/>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 name="Google Shape;191;p62"/>
          <p:cNvSpPr txBox="1">
            <a:spLocks noGrp="1"/>
          </p:cNvSpPr>
          <p:nvPr>
            <p:ph type="body" idx="7"/>
          </p:nvPr>
        </p:nvSpPr>
        <p:spPr>
          <a:xfrm>
            <a:off x="7380643"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62"/>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 name="Google Shape;193;p62"/>
          <p:cNvSpPr txBox="1">
            <a:spLocks noGrp="1"/>
          </p:cNvSpPr>
          <p:nvPr>
            <p:ph type="body" idx="9"/>
          </p:nvPr>
        </p:nvSpPr>
        <p:spPr>
          <a:xfrm>
            <a:off x="9660801"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62"/>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 name="Google Shape;195;p62"/>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30990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39779787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196"/>
        <p:cNvGrpSpPr/>
        <p:nvPr/>
      </p:nvGrpSpPr>
      <p:grpSpPr>
        <a:xfrm>
          <a:off x="0" y="0"/>
          <a:ext cx="0" cy="0"/>
          <a:chOff x="0" y="0"/>
          <a:chExt cx="0" cy="0"/>
        </a:xfrm>
      </p:grpSpPr>
      <p:sp>
        <p:nvSpPr>
          <p:cNvPr id="197" name="Google Shape;197;p63"/>
          <p:cNvSpPr/>
          <p:nvPr/>
        </p:nvSpPr>
        <p:spPr>
          <a:xfrm>
            <a:off x="0" y="-1"/>
            <a:ext cx="4059776"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 name="Google Shape;198;p63"/>
          <p:cNvSpPr txBox="1">
            <a:spLocks noGrp="1"/>
          </p:cNvSpPr>
          <p:nvPr>
            <p:ph type="title"/>
          </p:nvPr>
        </p:nvSpPr>
        <p:spPr>
          <a:xfrm>
            <a:off x="566141" y="2546064"/>
            <a:ext cx="3032465" cy="176586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 name="Google Shape;199;p6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0" name="Google Shape;200;p63"/>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491996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1/2 Blue on Left" preserve="1">
  <p:cSld name="1_1/2 Blue on Left">
    <p:spTree>
      <p:nvGrpSpPr>
        <p:cNvPr id="1" name="Shape 20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3A63B7-15A9-1F85-F50C-541B6FB358BD}"/>
              </a:ext>
            </a:extLst>
          </p:cNvPr>
          <p:cNvGraphicFramePr>
            <a:graphicFrameLocks noChangeAspect="1"/>
          </p:cNvGraphicFramePr>
          <p:nvPr userDrawn="1">
            <p:custDataLst>
              <p:tags r:id="rId1"/>
            </p:custDataLst>
            <p:extLst>
              <p:ext uri="{D42A27DB-BD31-4B8C-83A1-F6EECF244321}">
                <p14:modId xmlns:p14="http://schemas.microsoft.com/office/powerpoint/2010/main" val="1829322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E53A63B7-15A9-1F85-F50C-541B6FB35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3" name="Google Shape;203;p64"/>
          <p:cNvSpPr txBox="1">
            <a:spLocks noGrp="1"/>
          </p:cNvSpPr>
          <p:nvPr>
            <p:ph type="title"/>
          </p:nvPr>
        </p:nvSpPr>
        <p:spPr>
          <a:xfrm>
            <a:off x="539400" y="562840"/>
            <a:ext cx="5074328"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bg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04" name="Google Shape;204;p6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5" name="Google Shape;205;p64"/>
          <p:cNvCxnSpPr/>
          <p:nvPr/>
        </p:nvCxnSpPr>
        <p:spPr>
          <a:xfrm>
            <a:off x="539400" y="484910"/>
            <a:ext cx="540000" cy="0"/>
          </a:xfrm>
          <a:prstGeom prst="straightConnector1">
            <a:avLst/>
          </a:prstGeom>
          <a:noFill/>
          <a:ln w="38100" cap="flat" cmpd="sng">
            <a:solidFill>
              <a:schemeClr val="bg2"/>
            </a:solidFill>
            <a:prstDash val="solid"/>
            <a:miter lim="800000"/>
            <a:headEnd type="none" w="sm" len="sm"/>
            <a:tailEnd type="none" w="sm" len="sm"/>
          </a:ln>
        </p:spPr>
      </p:cxnSp>
      <p:sp>
        <p:nvSpPr>
          <p:cNvPr id="206" name="Google Shape;206;p64"/>
          <p:cNvSpPr txBox="1">
            <a:spLocks noGrp="1"/>
          </p:cNvSpPr>
          <p:nvPr>
            <p:ph type="ftr" idx="11"/>
          </p:nvPr>
        </p:nvSpPr>
        <p:spPr>
          <a:xfrm>
            <a:off x="549232" y="6465614"/>
            <a:ext cx="507432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 name="Rectangle 3">
            <a:extLst>
              <a:ext uri="{FF2B5EF4-FFF2-40B4-BE49-F238E27FC236}">
                <a16:creationId xmlns:a16="http://schemas.microsoft.com/office/drawing/2014/main" id="{331392CD-3C67-7D44-8107-EDDAFC8982CB}"/>
              </a:ext>
            </a:extLst>
          </p:cNvPr>
          <p:cNvSpPr>
            <a:spLocks/>
          </p:cNvSpPr>
          <p:nvPr userDrawn="1"/>
        </p:nvSpPr>
        <p:spPr>
          <a:xfrm>
            <a:off x="6093463" y="-1"/>
            <a:ext cx="6098537" cy="6857999"/>
          </a:xfrm>
          <a:prstGeom prst="rect">
            <a:avLst/>
          </a:prstGeom>
          <a:solidFill>
            <a:srgbClr val="E6EB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21192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207"/>
        <p:cNvGrpSpPr/>
        <p:nvPr/>
      </p:nvGrpSpPr>
      <p:grpSpPr>
        <a:xfrm>
          <a:off x="0" y="0"/>
          <a:ext cx="0" cy="0"/>
          <a:chOff x="0" y="0"/>
          <a:chExt cx="0" cy="0"/>
        </a:xfrm>
      </p:grpSpPr>
      <p:sp>
        <p:nvSpPr>
          <p:cNvPr id="208" name="Google Shape;208;p65"/>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 name="Google Shape;209;p65"/>
          <p:cNvSpPr txBox="1">
            <a:spLocks noGrp="1"/>
          </p:cNvSpPr>
          <p:nvPr>
            <p:ph type="title"/>
          </p:nvPr>
        </p:nvSpPr>
        <p:spPr>
          <a:xfrm>
            <a:off x="539400"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10" name="Google Shape;210;p6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11" name="Google Shape;211;p65"/>
          <p:cNvGrpSpPr/>
          <p:nvPr/>
        </p:nvGrpSpPr>
        <p:grpSpPr>
          <a:xfrm>
            <a:off x="11998459" y="6162188"/>
            <a:ext cx="68500" cy="441925"/>
            <a:chOff x="11998459" y="6162188"/>
            <a:chExt cx="68500" cy="441925"/>
          </a:xfrm>
        </p:grpSpPr>
        <p:sp>
          <p:nvSpPr>
            <p:cNvPr id="212" name="Google Shape;212;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3" name="Google Shape;213;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 name="Google Shape;214;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 name="Google Shape;215;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 name="Google Shape;217;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 name="Google Shape;218;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 name="Google Shape;219;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0" name="Google Shape;220;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1" name="Google Shape;221;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2" name="Google Shape;222;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 name="Google Shape;223;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4" name="Google Shape;224;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25" name="Google Shape;225;p6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26" name="Google Shape;226;p6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7" name="Google Shape;227;p6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091029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1_Gradient BG (with Title)">
  <p:cSld name="1_Gradient BG (with Title)">
    <p:spTree>
      <p:nvGrpSpPr>
        <p:cNvPr id="1" name="Shape 228"/>
        <p:cNvGrpSpPr/>
        <p:nvPr/>
      </p:nvGrpSpPr>
      <p:grpSpPr>
        <a:xfrm>
          <a:off x="0" y="0"/>
          <a:ext cx="0" cy="0"/>
          <a:chOff x="0" y="0"/>
          <a:chExt cx="0" cy="0"/>
        </a:xfrm>
      </p:grpSpPr>
      <p:sp>
        <p:nvSpPr>
          <p:cNvPr id="229" name="Google Shape;229;p66"/>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230" name="Google Shape;230;p66"/>
          <p:cNvGrpSpPr/>
          <p:nvPr/>
        </p:nvGrpSpPr>
        <p:grpSpPr>
          <a:xfrm>
            <a:off x="11998459" y="6162188"/>
            <a:ext cx="68500" cy="441925"/>
            <a:chOff x="11998459" y="6162188"/>
            <a:chExt cx="68500" cy="441925"/>
          </a:xfrm>
        </p:grpSpPr>
        <p:sp>
          <p:nvSpPr>
            <p:cNvPr id="231" name="Google Shape;231;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2" name="Google Shape;232;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3" name="Google Shape;233;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 name="Google Shape;234;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 name="Google Shape;235;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6" name="Google Shape;236;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7" name="Google Shape;237;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8" name="Google Shape;238;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 name="Google Shape;240;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 name="Google Shape;242;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 name="Google Shape;243;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4" name="Google Shape;244;p6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45" name="Google Shape;245;p6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46" name="Google Shape;246;p66"/>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301871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247"/>
        <p:cNvGrpSpPr/>
        <p:nvPr/>
      </p:nvGrpSpPr>
      <p:grpSpPr>
        <a:xfrm>
          <a:off x="0" y="0"/>
          <a:ext cx="0" cy="0"/>
          <a:chOff x="0" y="0"/>
          <a:chExt cx="0" cy="0"/>
        </a:xfrm>
      </p:grpSpPr>
      <p:sp>
        <p:nvSpPr>
          <p:cNvPr id="248" name="Google Shape;248;p67"/>
          <p:cNvSpPr/>
          <p:nvPr/>
        </p:nvSpPr>
        <p:spPr>
          <a:xfrm>
            <a:off x="8134763" y="-1"/>
            <a:ext cx="4059776" cy="6858001"/>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p67"/>
          <p:cNvSpPr txBox="1">
            <a:spLocks noGrp="1"/>
          </p:cNvSpPr>
          <p:nvPr>
            <p:ph type="title"/>
          </p:nvPr>
        </p:nvSpPr>
        <p:spPr>
          <a:xfrm>
            <a:off x="539400"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 name="Google Shape;250;p67"/>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67"/>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52" name="Google Shape;252;p67"/>
          <p:cNvGrpSpPr/>
          <p:nvPr/>
        </p:nvGrpSpPr>
        <p:grpSpPr>
          <a:xfrm>
            <a:off x="11998459" y="6162188"/>
            <a:ext cx="68500" cy="441925"/>
            <a:chOff x="11998459" y="6162188"/>
            <a:chExt cx="68500" cy="441925"/>
          </a:xfrm>
        </p:grpSpPr>
        <p:sp>
          <p:nvSpPr>
            <p:cNvPr id="253" name="Google Shape;253;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 name="Google Shape;254;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 name="Google Shape;255;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 name="Google Shape;256;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 name="Google Shape;257;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 name="Google Shape;259;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0" name="Google Shape;260;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1" name="Google Shape;261;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2" name="Google Shape;262;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4" name="Google Shape;264;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 name="Google Shape;265;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66" name="Google Shape;266;p67"/>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67" name="Google Shape;267;p67"/>
          <p:cNvSpPr txBox="1">
            <a:spLocks noGrp="1"/>
          </p:cNvSpPr>
          <p:nvPr>
            <p:ph type="ftr" idx="11"/>
          </p:nvPr>
        </p:nvSpPr>
        <p:spPr>
          <a:xfrm>
            <a:off x="550862" y="6465614"/>
            <a:ext cx="7276401"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878373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268"/>
        <p:cNvGrpSpPr/>
        <p:nvPr/>
      </p:nvGrpSpPr>
      <p:grpSpPr>
        <a:xfrm>
          <a:off x="0" y="0"/>
          <a:ext cx="0" cy="0"/>
          <a:chOff x="0" y="0"/>
          <a:chExt cx="0" cy="0"/>
        </a:xfrm>
      </p:grpSpPr>
      <p:pic>
        <p:nvPicPr>
          <p:cNvPr id="269" name="Google Shape;269;p6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70" name="Google Shape;270;p69"/>
          <p:cNvSpPr/>
          <p:nvPr/>
        </p:nvSpPr>
        <p:spPr>
          <a:xfrm>
            <a:off x="0" y="0"/>
            <a:ext cx="12192000" cy="6858000"/>
          </a:xfrm>
          <a:prstGeom prst="rect">
            <a:avLst/>
          </a:prstGeom>
          <a:gradFill>
            <a:gsLst>
              <a:gs pos="0">
                <a:srgbClr val="062379"/>
              </a:gs>
              <a:gs pos="16000">
                <a:srgbClr val="062379"/>
              </a:gs>
              <a:gs pos="55000">
                <a:srgbClr val="0934B6">
                  <a:alpha val="89411"/>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 name="Google Shape;271;p69"/>
          <p:cNvSpPr txBox="1">
            <a:spLocks noGrp="1"/>
          </p:cNvSpPr>
          <p:nvPr>
            <p:ph type="title"/>
          </p:nvPr>
        </p:nvSpPr>
        <p:spPr>
          <a:xfrm>
            <a:off x="992390" y="4026897"/>
            <a:ext cx="6785798" cy="1569660"/>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2" name="Google Shape;272;p69"/>
          <p:cNvGrpSpPr/>
          <p:nvPr/>
        </p:nvGrpSpPr>
        <p:grpSpPr>
          <a:xfrm>
            <a:off x="11998459" y="6162188"/>
            <a:ext cx="68500" cy="441925"/>
            <a:chOff x="11998459" y="6162188"/>
            <a:chExt cx="68500" cy="441925"/>
          </a:xfrm>
        </p:grpSpPr>
        <p:sp>
          <p:nvSpPr>
            <p:cNvPr id="273" name="Google Shape;273;p6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5" name="Google Shape;275;p6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6" name="Google Shape;276;p6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7" name="Google Shape;277;p6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 name="Google Shape;278;p6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 name="Google Shape;281;p6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 name="Google Shape;282;p6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 name="Google Shape;283;p6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4" name="Google Shape;284;p6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 name="Google Shape;285;p6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6" name="Google Shape;286;p69"/>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87" name="Google Shape;287;p6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8" name="Google Shape;288;p6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343089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9"/>
        <p:cNvGrpSpPr/>
        <p:nvPr/>
      </p:nvGrpSpPr>
      <p:grpSpPr>
        <a:xfrm>
          <a:off x="0" y="0"/>
          <a:ext cx="0" cy="0"/>
          <a:chOff x="0" y="0"/>
          <a:chExt cx="0" cy="0"/>
        </a:xfrm>
      </p:grpSpPr>
      <p:sp>
        <p:nvSpPr>
          <p:cNvPr id="290" name="Google Shape;290;p70"/>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31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91" name="Google Shape;291;p70"/>
          <p:cNvGrpSpPr/>
          <p:nvPr/>
        </p:nvGrpSpPr>
        <p:grpSpPr>
          <a:xfrm>
            <a:off x="-600" y="549275"/>
            <a:ext cx="12193201" cy="5759450"/>
            <a:chOff x="-600" y="549275"/>
            <a:chExt cx="12193201" cy="5759450"/>
          </a:xfrm>
        </p:grpSpPr>
        <p:cxnSp>
          <p:nvCxnSpPr>
            <p:cNvPr id="292" name="Google Shape;292;p70"/>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70"/>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70"/>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70"/>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70"/>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70"/>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70"/>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70"/>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70"/>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70"/>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70"/>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70"/>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70"/>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70"/>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70"/>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70"/>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70"/>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70"/>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70"/>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70"/>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70"/>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70"/>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4" name="Google Shape;314;p70"/>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5" name="Google Shape;315;p70"/>
          <p:cNvSpPr/>
          <p:nvPr/>
        </p:nvSpPr>
        <p:spPr>
          <a:xfrm>
            <a:off x="550263" y="6308721"/>
            <a:ext cx="11090873" cy="261799"/>
          </a:xfrm>
          <a:prstGeom prst="rect">
            <a:avLst/>
          </a:prstGeom>
          <a:solidFill>
            <a:srgbClr val="FF0000">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6" name="Google Shape;316;p70"/>
          <p:cNvSpPr/>
          <p:nvPr/>
        </p:nvSpPr>
        <p:spPr>
          <a:xfrm>
            <a:off x="550864" y="1348221"/>
            <a:ext cx="11105556" cy="509202"/>
          </a:xfrm>
          <a:prstGeom prst="rect">
            <a:avLst/>
          </a:prstGeom>
          <a:solidFill>
            <a:srgbClr val="FF0000">
              <a:alpha val="431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70"/>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509"/>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318" name="Google Shape;318;p70"/>
          <p:cNvGrpSpPr/>
          <p:nvPr/>
        </p:nvGrpSpPr>
        <p:grpSpPr>
          <a:xfrm>
            <a:off x="1215339" y="1857423"/>
            <a:ext cx="9763000" cy="4458091"/>
            <a:chOff x="1215339" y="549274"/>
            <a:chExt cx="9763000" cy="5759450"/>
          </a:xfrm>
        </p:grpSpPr>
        <p:sp>
          <p:nvSpPr>
            <p:cNvPr id="319" name="Google Shape;319;p70"/>
            <p:cNvSpPr/>
            <p:nvPr/>
          </p:nvSpPr>
          <p:spPr>
            <a:xfrm>
              <a:off x="690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 name="Google Shape;320;p70"/>
            <p:cNvSpPr/>
            <p:nvPr/>
          </p:nvSpPr>
          <p:spPr>
            <a:xfrm>
              <a:off x="879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1" name="Google Shape;321;p70"/>
            <p:cNvSpPr/>
            <p:nvPr/>
          </p:nvSpPr>
          <p:spPr>
            <a:xfrm>
              <a:off x="784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2" name="Google Shape;322;p70"/>
            <p:cNvSpPr/>
            <p:nvPr/>
          </p:nvSpPr>
          <p:spPr>
            <a:xfrm>
              <a:off x="974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 name="Google Shape;323;p70"/>
            <p:cNvSpPr/>
            <p:nvPr/>
          </p:nvSpPr>
          <p:spPr>
            <a:xfrm>
              <a:off x="1069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 name="Google Shape;324;p70"/>
            <p:cNvSpPr/>
            <p:nvPr/>
          </p:nvSpPr>
          <p:spPr>
            <a:xfrm>
              <a:off x="5952839" y="549274"/>
              <a:ext cx="288000" cy="5759450"/>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70"/>
            <p:cNvSpPr/>
            <p:nvPr/>
          </p:nvSpPr>
          <p:spPr>
            <a:xfrm>
              <a:off x="121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6" name="Google Shape;326;p70"/>
            <p:cNvSpPr/>
            <p:nvPr/>
          </p:nvSpPr>
          <p:spPr>
            <a:xfrm>
              <a:off x="216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7" name="Google Shape;327;p70"/>
            <p:cNvSpPr/>
            <p:nvPr/>
          </p:nvSpPr>
          <p:spPr>
            <a:xfrm>
              <a:off x="311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8" name="Google Shape;328;p70"/>
            <p:cNvSpPr/>
            <p:nvPr/>
          </p:nvSpPr>
          <p:spPr>
            <a:xfrm>
              <a:off x="405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9" name="Google Shape;329;p70"/>
            <p:cNvSpPr/>
            <p:nvPr/>
          </p:nvSpPr>
          <p:spPr>
            <a:xfrm>
              <a:off x="500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0" name="Google Shape;330;p70"/>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331" name="Google Shape;331;p70"/>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32" name="Google Shape;332;p7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3" name="Google Shape;333;p70"/>
          <p:cNvGrpSpPr/>
          <p:nvPr/>
        </p:nvGrpSpPr>
        <p:grpSpPr>
          <a:xfrm>
            <a:off x="550864" y="6156603"/>
            <a:ext cx="11089971" cy="55199"/>
            <a:chOff x="550864" y="6156603"/>
            <a:chExt cx="11089971" cy="55199"/>
          </a:xfrm>
        </p:grpSpPr>
        <p:sp>
          <p:nvSpPr>
            <p:cNvPr id="334" name="Google Shape;334;p70"/>
            <p:cNvSpPr/>
            <p:nvPr/>
          </p:nvSpPr>
          <p:spPr>
            <a:xfrm>
              <a:off x="550864"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5" name="Google Shape;335;p70"/>
            <p:cNvSpPr/>
            <p:nvPr/>
          </p:nvSpPr>
          <p:spPr>
            <a:xfrm>
              <a:off x="5104050"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6" name="Google Shape;336;p70"/>
            <p:cNvSpPr/>
            <p:nvPr/>
          </p:nvSpPr>
          <p:spPr>
            <a:xfrm>
              <a:off x="7380643"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0"/>
            <p:cNvSpPr/>
            <p:nvPr/>
          </p:nvSpPr>
          <p:spPr>
            <a:xfrm>
              <a:off x="9657235"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8" name="Google Shape;338;p70"/>
            <p:cNvSpPr/>
            <p:nvPr/>
          </p:nvSpPr>
          <p:spPr>
            <a:xfrm>
              <a:off x="2827457"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22854257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5_Full-width Page">
  <p:cSld name="5_Full-width Page">
    <p:spTree>
      <p:nvGrpSpPr>
        <p:cNvPr id="1" name="Shape 339"/>
        <p:cNvGrpSpPr/>
        <p:nvPr/>
      </p:nvGrpSpPr>
      <p:grpSpPr>
        <a:xfrm>
          <a:off x="0" y="0"/>
          <a:ext cx="0" cy="0"/>
          <a:chOff x="0" y="0"/>
          <a:chExt cx="0" cy="0"/>
        </a:xfrm>
      </p:grpSpPr>
      <p:pic>
        <p:nvPicPr>
          <p:cNvPr id="340" name="Google Shape;340;p71"/>
          <p:cNvPicPr preferRelativeResize="0"/>
          <p:nvPr/>
        </p:nvPicPr>
        <p:blipFill rotWithShape="1">
          <a:blip r:embed="rId2">
            <a:alphaModFix/>
          </a:blip>
          <a:srcRect/>
          <a:stretch/>
        </p:blipFill>
        <p:spPr>
          <a:xfrm>
            <a:off x="2" y="0"/>
            <a:ext cx="3492498" cy="6858000"/>
          </a:xfrm>
          <a:prstGeom prst="rect">
            <a:avLst/>
          </a:prstGeom>
          <a:noFill/>
          <a:ln>
            <a:noFill/>
          </a:ln>
        </p:spPr>
      </p:pic>
      <p:sp>
        <p:nvSpPr>
          <p:cNvPr id="341" name="Google Shape;341;p71"/>
          <p:cNvSpPr/>
          <p:nvPr/>
        </p:nvSpPr>
        <p:spPr>
          <a:xfrm>
            <a:off x="0" y="-1"/>
            <a:ext cx="3492497" cy="6857999"/>
          </a:xfrm>
          <a:prstGeom prst="rect">
            <a:avLst/>
          </a:prstGeom>
          <a:gradFill>
            <a:gsLst>
              <a:gs pos="0">
                <a:schemeClr val="dk2"/>
              </a:gs>
              <a:gs pos="76000">
                <a:srgbClr val="4873F5">
                  <a:alpha val="84313"/>
                </a:srgbClr>
              </a:gs>
              <a:gs pos="100000">
                <a:srgbClr val="00B9FF">
                  <a:alpha val="80000"/>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2" name="Google Shape;342;p71"/>
          <p:cNvSpPr txBox="1">
            <a:spLocks noGrp="1"/>
          </p:cNvSpPr>
          <p:nvPr>
            <p:ph type="title"/>
          </p:nvPr>
        </p:nvSpPr>
        <p:spPr>
          <a:xfrm>
            <a:off x="376385" y="410423"/>
            <a:ext cx="3023598" cy="830997"/>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343" name="Google Shape;343;p71"/>
          <p:cNvCxnSpPr/>
          <p:nvPr/>
        </p:nvCxnSpPr>
        <p:spPr>
          <a:xfrm>
            <a:off x="362847" y="361101"/>
            <a:ext cx="540000"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23010840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0050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6070040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Sub-Section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B52237-4F8A-4F28-B2AF-5014C898F7F8}"/>
              </a:ext>
            </a:extLst>
          </p:cNvPr>
          <p:cNvSpPr/>
          <p:nvPr userDrawn="1"/>
        </p:nvSpPr>
        <p:spPr>
          <a:xfrm>
            <a:off x="0" y="1"/>
            <a:ext cx="12192000" cy="6924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3" name="Rectangle 2">
            <a:extLst>
              <a:ext uri="{FF2B5EF4-FFF2-40B4-BE49-F238E27FC236}">
                <a16:creationId xmlns:a16="http://schemas.microsoft.com/office/drawing/2014/main" id="{06C46470-6B85-42AC-858F-07BE622DF338}"/>
              </a:ext>
            </a:extLst>
          </p:cNvPr>
          <p:cNvSpPr/>
          <p:nvPr userDrawn="1"/>
        </p:nvSpPr>
        <p:spPr>
          <a:xfrm>
            <a:off x="0" y="2600325"/>
            <a:ext cx="12192000" cy="34861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13" name="Text Placeholder 1">
            <a:extLst>
              <a:ext uri="{FF2B5EF4-FFF2-40B4-BE49-F238E27FC236}">
                <a16:creationId xmlns:a16="http://schemas.microsoft.com/office/drawing/2014/main" id="{9EE6E236-101E-42EB-81FB-302691A30ACD}"/>
              </a:ext>
            </a:extLst>
          </p:cNvPr>
          <p:cNvSpPr>
            <a:spLocks noGrp="1"/>
          </p:cNvSpPr>
          <p:nvPr>
            <p:ph type="body" sz="quarter" idx="10" hasCustomPrompt="1"/>
          </p:nvPr>
        </p:nvSpPr>
        <p:spPr>
          <a:xfrm>
            <a:off x="568801" y="4090490"/>
            <a:ext cx="6467475" cy="435247"/>
          </a:xfrm>
          <a:prstGeom prst="rect">
            <a:avLst/>
          </a:prstGeom>
        </p:spPr>
        <p:txBody>
          <a:bodyPr/>
          <a:lstStyle>
            <a:lvl1pPr>
              <a:defRPr sz="2100">
                <a:solidFill>
                  <a:schemeClr val="bg1"/>
                </a:solidFill>
                <a:latin typeface="+mj-lt"/>
              </a:defRPr>
            </a:lvl1pPr>
          </a:lstStyle>
          <a:p>
            <a:r>
              <a:rPr lang="en-US" dirty="0"/>
              <a:t>Sub-Section in Report Title</a:t>
            </a:r>
          </a:p>
        </p:txBody>
      </p:sp>
      <p:sp>
        <p:nvSpPr>
          <p:cNvPr id="14" name="Text Placeholder 2">
            <a:extLst>
              <a:ext uri="{FF2B5EF4-FFF2-40B4-BE49-F238E27FC236}">
                <a16:creationId xmlns:a16="http://schemas.microsoft.com/office/drawing/2014/main" id="{F8AB815C-183A-4AED-B7E8-6684B137AD19}"/>
              </a:ext>
            </a:extLst>
          </p:cNvPr>
          <p:cNvSpPr>
            <a:spLocks noGrp="1"/>
          </p:cNvSpPr>
          <p:nvPr>
            <p:ph type="body" sz="quarter" idx="11" hasCustomPrompt="1"/>
          </p:nvPr>
        </p:nvSpPr>
        <p:spPr>
          <a:xfrm>
            <a:off x="568801" y="4841549"/>
            <a:ext cx="6467475" cy="362150"/>
          </a:xfrm>
          <a:prstGeom prst="rect">
            <a:avLst/>
          </a:prstGeom>
        </p:spPr>
        <p:txBody>
          <a:bodyPr/>
          <a:lstStyle>
            <a:lvl1pPr>
              <a:defRPr>
                <a:solidFill>
                  <a:schemeClr val="bg1"/>
                </a:solidFill>
                <a:latin typeface="+mj-lt"/>
              </a:defRPr>
            </a:lvl1pPr>
          </a:lstStyle>
          <a:p>
            <a:r>
              <a:rPr lang="en-US" dirty="0"/>
              <a:t>Add Text Here</a:t>
            </a:r>
          </a:p>
        </p:txBody>
      </p:sp>
    </p:spTree>
    <p:extLst>
      <p:ext uri="{BB962C8B-B14F-4D97-AF65-F5344CB8AC3E}">
        <p14:creationId xmlns:p14="http://schemas.microsoft.com/office/powerpoint/2010/main" val="201091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6890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grpSp>
        <p:nvGrpSpPr>
          <p:cNvPr id="7" name="Group 6">
            <a:extLst>
              <a:ext uri="{FF2B5EF4-FFF2-40B4-BE49-F238E27FC236}">
                <a16:creationId xmlns:a16="http://schemas.microsoft.com/office/drawing/2014/main" id="{2387B447-A450-42C7-A9DD-4D0312465071}"/>
              </a:ext>
            </a:extLst>
          </p:cNvPr>
          <p:cNvGrpSpPr/>
          <p:nvPr userDrawn="1"/>
        </p:nvGrpSpPr>
        <p:grpSpPr>
          <a:xfrm>
            <a:off x="11998459" y="6162188"/>
            <a:ext cx="68500" cy="441924"/>
            <a:chOff x="11998459" y="6162188"/>
            <a:chExt cx="68500" cy="441924"/>
          </a:xfrm>
        </p:grpSpPr>
        <p:sp>
          <p:nvSpPr>
            <p:cNvPr id="9" name="Freeform: Shape 8">
              <a:extLst>
                <a:ext uri="{FF2B5EF4-FFF2-40B4-BE49-F238E27FC236}">
                  <a16:creationId xmlns:a16="http://schemas.microsoft.com/office/drawing/2014/main" id="{4CAA054E-E386-48C9-96CD-97E490498E2B}"/>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6C55D324-769F-47EC-96F7-AD603970C18C}"/>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1" name="Freeform: Shape 10">
              <a:extLst>
                <a:ext uri="{FF2B5EF4-FFF2-40B4-BE49-F238E27FC236}">
                  <a16:creationId xmlns:a16="http://schemas.microsoft.com/office/drawing/2014/main" id="{CC6014E8-FF72-41AD-A24F-058B3F2D1702}"/>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0C75E8B0-18B9-4101-BAF3-2BAA4F85EC9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4D5C647B-1E0E-490D-BE85-16E17F8FC3C5}"/>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65EE28F8-59B8-4B7B-ADBB-0A8C996287DE}"/>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179BFCA7-501B-4E94-B737-0DC03A321176}"/>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267089D8-3A31-4784-A21E-51601616ADB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D8F5D574-BF44-4D2C-A01D-D6F5189D45B1}"/>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C6C33F15-01E0-48CD-9E75-6B6012DA4688}"/>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17343DF7-5272-4CE7-95F5-DF8B94BE48C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E932C76C-A69A-44D5-9311-3010B4D0008B}"/>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CAEBFC2C-EC7D-4985-8A3E-1B7BBED17EE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22" name="Graphic 21">
            <a:extLst>
              <a:ext uri="{FF2B5EF4-FFF2-40B4-BE49-F238E27FC236}">
                <a16:creationId xmlns:a16="http://schemas.microsoft.com/office/drawing/2014/main" id="{6460F81E-C773-4142-A733-A3F679D9727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7" y="6349041"/>
            <a:ext cx="441438" cy="68706"/>
          </a:xfrm>
          <a:prstGeom prst="rect">
            <a:avLst/>
          </a:prstGeom>
        </p:spPr>
      </p:pic>
      <p:sp>
        <p:nvSpPr>
          <p:cNvPr id="23" name="Copyright">
            <a:extLst>
              <a:ext uri="{FF2B5EF4-FFF2-40B4-BE49-F238E27FC236}">
                <a16:creationId xmlns:a16="http://schemas.microsoft.com/office/drawing/2014/main" id="{36916EB8-0EC8-4AA0-80E6-D35192F9EFDF}"/>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Tree>
    <p:extLst>
      <p:ext uri="{BB962C8B-B14F-4D97-AF65-F5344CB8AC3E}">
        <p14:creationId xmlns:p14="http://schemas.microsoft.com/office/powerpoint/2010/main" val="40764045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562708" y="130584"/>
            <a:ext cx="11066584" cy="627834"/>
          </a:xfrm>
          <a:prstGeom prst="rect">
            <a:avLst/>
          </a:prstGeom>
          <a:noFill/>
          <a:ln>
            <a:noFill/>
          </a:ln>
        </p:spPr>
        <p:txBody>
          <a:bodyPr lIns="91425" tIns="91425" rIns="91425" bIns="91425" anchor="ctr" anchorCtr="0"/>
          <a:lstStyle>
            <a:lvl1pPr algn="l" rtl="0">
              <a:lnSpc>
                <a:spcPct val="90000"/>
              </a:lnSpc>
              <a:spcBef>
                <a:spcPts val="0"/>
              </a:spcBef>
              <a:buClr>
                <a:schemeClr val="accent3"/>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1" name="Shape 31"/>
          <p:cNvSpPr txBox="1">
            <a:spLocks noGrp="1"/>
          </p:cNvSpPr>
          <p:nvPr>
            <p:ph type="body" idx="1"/>
          </p:nvPr>
        </p:nvSpPr>
        <p:spPr>
          <a:xfrm>
            <a:off x="562708" y="1556954"/>
            <a:ext cx="11066584" cy="455479"/>
          </a:xfrm>
          <a:prstGeom prst="rect">
            <a:avLst/>
          </a:prstGeom>
          <a:noFill/>
          <a:ln>
            <a:noFill/>
          </a:ln>
        </p:spPr>
        <p:txBody>
          <a:bodyPr lIns="91425" tIns="91425" rIns="91425" bIns="91425" anchor="t" anchorCtr="0"/>
          <a:lstStyle>
            <a:lvl1pPr marL="0" indent="0" algn="l" rtl="0">
              <a:lnSpc>
                <a:spcPct val="110000"/>
              </a:lnSpc>
              <a:spcBef>
                <a:spcPts val="0"/>
              </a:spcBef>
              <a:buClr>
                <a:schemeClr val="dk1"/>
              </a:buClr>
              <a:buFont typeface="Arial"/>
              <a:buNone/>
              <a:defRPr/>
            </a:lvl1pPr>
            <a:lvl2pPr marL="334116" indent="-134819" algn="l" rtl="0">
              <a:lnSpc>
                <a:spcPct val="110000"/>
              </a:lnSpc>
              <a:spcBef>
                <a:spcPts val="0"/>
              </a:spcBef>
              <a:buClr>
                <a:schemeClr val="accent3"/>
              </a:buClr>
              <a:buFont typeface="Arial"/>
              <a:buChar char="•"/>
              <a:defRPr/>
            </a:lvl2pPr>
            <a:lvl3pPr marL="577376" indent="-178781" algn="l" rtl="0">
              <a:lnSpc>
                <a:spcPct val="110000"/>
              </a:lnSpc>
              <a:spcBef>
                <a:spcPts val="0"/>
              </a:spcBef>
              <a:buClr>
                <a:srgbClr val="A9A9A9"/>
              </a:buClr>
              <a:buFont typeface="Arial"/>
              <a:buChar char="–"/>
              <a:defRPr/>
            </a:lvl3pPr>
            <a:lvl4pPr marL="820636" indent="-152404" algn="l" rtl="0">
              <a:lnSpc>
                <a:spcPct val="110000"/>
              </a:lnSpc>
              <a:spcBef>
                <a:spcPts val="0"/>
              </a:spcBef>
              <a:buClr>
                <a:srgbClr val="A9A9A9"/>
              </a:buClr>
              <a:buFont typeface="Arial"/>
              <a:buChar char="–"/>
              <a:defRPr/>
            </a:lvl4pPr>
            <a:lvl5pPr marL="1080016" indent="-177316" algn="l" rtl="0">
              <a:lnSpc>
                <a:spcPct val="110000"/>
              </a:lnSpc>
              <a:spcBef>
                <a:spcPts val="0"/>
              </a:spcBef>
              <a:buClr>
                <a:srgbClr val="A9A9A9"/>
              </a:buClr>
              <a:buFont typeface="Arial"/>
              <a:buChar char="–"/>
              <a:defRPr/>
            </a:lvl5pPr>
            <a:lvl6pPr marL="2321227" indent="-93787" algn="l" rtl="0">
              <a:spcBef>
                <a:spcPts val="369"/>
              </a:spcBef>
              <a:buClr>
                <a:schemeClr val="dk1"/>
              </a:buClr>
              <a:buFont typeface="Arial"/>
              <a:buChar char="•"/>
              <a:defRPr/>
            </a:lvl6pPr>
            <a:lvl7pPr marL="2743269" indent="-93787" algn="l" rtl="0">
              <a:spcBef>
                <a:spcPts val="369"/>
              </a:spcBef>
              <a:buClr>
                <a:schemeClr val="dk1"/>
              </a:buClr>
              <a:buFont typeface="Arial"/>
              <a:buChar char="•"/>
              <a:defRPr/>
            </a:lvl7pPr>
            <a:lvl8pPr marL="3165310" indent="-93787" algn="l" rtl="0">
              <a:spcBef>
                <a:spcPts val="369"/>
              </a:spcBef>
              <a:buClr>
                <a:schemeClr val="dk1"/>
              </a:buClr>
              <a:buFont typeface="Arial"/>
              <a:buChar char="•"/>
              <a:defRPr/>
            </a:lvl8pPr>
            <a:lvl9pPr marL="3587351" indent="-93787" algn="l" rtl="0">
              <a:spcBef>
                <a:spcPts val="369"/>
              </a:spcBef>
              <a:buClr>
                <a:schemeClr val="dk1"/>
              </a:buClr>
              <a:buFont typeface="Arial"/>
              <a:buChar char="•"/>
              <a:defRPr/>
            </a:lvl9pPr>
          </a:lstStyle>
          <a:p>
            <a:endParaRPr/>
          </a:p>
        </p:txBody>
      </p:sp>
    </p:spTree>
    <p:extLst>
      <p:ext uri="{BB962C8B-B14F-4D97-AF65-F5344CB8AC3E}">
        <p14:creationId xmlns:p14="http://schemas.microsoft.com/office/powerpoint/2010/main" val="257721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1_Two-column page with Notes">
  <p:cSld name="1_Two-column page with Notes">
    <p:spTree>
      <p:nvGrpSpPr>
        <p:cNvPr id="1" name="Shape 32"/>
        <p:cNvGrpSpPr/>
        <p:nvPr/>
      </p:nvGrpSpPr>
      <p:grpSpPr>
        <a:xfrm>
          <a:off x="0" y="0"/>
          <a:ext cx="0" cy="0"/>
          <a:chOff x="0" y="0"/>
          <a:chExt cx="0" cy="0"/>
        </a:xfrm>
      </p:grpSpPr>
      <p:sp>
        <p:nvSpPr>
          <p:cNvPr id="33" name="Google Shape;33;p16"/>
          <p:cNvSpPr txBox="1">
            <a:spLocks noGrp="1"/>
          </p:cNvSpPr>
          <p:nvPr>
            <p:ph type="body" idx="1"/>
          </p:nvPr>
        </p:nvSpPr>
        <p:spPr>
          <a:xfrm>
            <a:off x="561976" y="5476877"/>
            <a:ext cx="11032789" cy="69532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10000"/>
              </a:lnSpc>
              <a:spcBef>
                <a:spcPts val="0"/>
              </a:spcBef>
              <a:spcAft>
                <a:spcPts val="0"/>
              </a:spcAft>
              <a:buClr>
                <a:schemeClr val="dk1"/>
              </a:buClr>
              <a:buSzPts val="1200"/>
              <a:buFont typeface="Open Sans"/>
              <a:buNone/>
              <a:defRPr sz="1200" b="1" i="0" u="none" strike="noStrike" cap="none">
                <a:solidFill>
                  <a:schemeClr val="dk1"/>
                </a:solidFill>
                <a:latin typeface="Open Sans"/>
                <a:ea typeface="Open Sans"/>
                <a:cs typeface="Open Sans"/>
                <a:sym typeface="Open Sans"/>
              </a:defRPr>
            </a:lvl1pPr>
            <a:lvl2pPr marL="914400" marR="0" lvl="1" indent="-295275" algn="l" rtl="0">
              <a:lnSpc>
                <a:spcPct val="110000"/>
              </a:lnSpc>
              <a:spcBef>
                <a:spcPts val="0"/>
              </a:spcBef>
              <a:spcAft>
                <a:spcPts val="0"/>
              </a:spcAft>
              <a:buClr>
                <a:schemeClr val="accent3"/>
              </a:buClr>
              <a:buSzPts val="1050"/>
              <a:buFont typeface="Arial"/>
              <a:buChar char="•"/>
              <a:defRPr sz="1050" b="0" i="0" u="none" strike="noStrike" cap="none">
                <a:solidFill>
                  <a:schemeClr val="dk1"/>
                </a:solidFill>
                <a:latin typeface="Open Sans"/>
                <a:ea typeface="Open Sans"/>
                <a:cs typeface="Open Sans"/>
                <a:sym typeface="Open Sans"/>
              </a:defRPr>
            </a:lvl2pPr>
            <a:lvl3pPr marL="1371600" marR="0" lvl="2"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3pPr>
            <a:lvl4pPr marL="1828800" marR="0" lvl="3"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4pPr>
            <a:lvl5pPr marL="2286000" marR="0" lvl="4"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9pPr>
          </a:lstStyle>
          <a:p>
            <a:endParaRPr/>
          </a:p>
        </p:txBody>
      </p:sp>
      <p:sp>
        <p:nvSpPr>
          <p:cNvPr id="34" name="Google Shape;34;p16"/>
          <p:cNvSpPr txBox="1">
            <a:spLocks noGrp="1"/>
          </p:cNvSpPr>
          <p:nvPr>
            <p:ph type="ftr" idx="11"/>
          </p:nvPr>
        </p:nvSpPr>
        <p:spPr>
          <a:xfrm>
            <a:off x="108045" y="6403706"/>
            <a:ext cx="411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6"/>
          <p:cNvSpPr txBox="1">
            <a:spLocks noGrp="1"/>
          </p:cNvSpPr>
          <p:nvPr>
            <p:ph type="sldNum" idx="12"/>
          </p:nvPr>
        </p:nvSpPr>
        <p:spPr>
          <a:xfrm>
            <a:off x="11397020" y="6403707"/>
            <a:ext cx="599363"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fld id="{00000000-1234-1234-1234-123412341234}" type="slidenum">
              <a:rPr lang="en-US" smtClean="0"/>
              <a:pPr/>
              <a:t>‹#›</a:t>
            </a:fld>
            <a:endParaRPr lang="en-US"/>
          </a:p>
        </p:txBody>
      </p:sp>
      <p:sp>
        <p:nvSpPr>
          <p:cNvPr id="36" name="Google Shape;36;p16"/>
          <p:cNvSpPr txBox="1">
            <a:spLocks noGrp="1"/>
          </p:cNvSpPr>
          <p:nvPr>
            <p:ph type="body" idx="2"/>
          </p:nvPr>
        </p:nvSpPr>
        <p:spPr>
          <a:xfrm>
            <a:off x="562616" y="885436"/>
            <a:ext cx="11066585" cy="4572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10000"/>
              </a:lnSpc>
              <a:spcBef>
                <a:spcPts val="0"/>
              </a:spcBef>
              <a:spcAft>
                <a:spcPts val="0"/>
              </a:spcAft>
              <a:buClr>
                <a:schemeClr val="dk1"/>
              </a:buClr>
              <a:buSzPts val="1600"/>
              <a:buFont typeface="Open Sans"/>
              <a:buNone/>
              <a:defRPr sz="1600" b="0" i="0" u="none" strike="noStrike" cap="none">
                <a:solidFill>
                  <a:schemeClr val="dk1"/>
                </a:solidFill>
                <a:latin typeface="Open Sans"/>
                <a:ea typeface="Open Sans"/>
                <a:cs typeface="Open Sans"/>
                <a:sym typeface="Open Sans"/>
              </a:defRPr>
            </a:lvl1pPr>
            <a:lvl2pPr marL="914400" marR="0" lvl="1" indent="-295275" algn="l" rtl="0">
              <a:lnSpc>
                <a:spcPct val="110000"/>
              </a:lnSpc>
              <a:spcBef>
                <a:spcPts val="0"/>
              </a:spcBef>
              <a:spcAft>
                <a:spcPts val="0"/>
              </a:spcAft>
              <a:buClr>
                <a:schemeClr val="accent3"/>
              </a:buClr>
              <a:buSzPts val="1050"/>
              <a:buFont typeface="Arial"/>
              <a:buChar char="•"/>
              <a:defRPr sz="1050" b="0" i="0" u="none" strike="noStrike" cap="none">
                <a:solidFill>
                  <a:schemeClr val="dk1"/>
                </a:solidFill>
                <a:latin typeface="Open Sans"/>
                <a:ea typeface="Open Sans"/>
                <a:cs typeface="Open Sans"/>
                <a:sym typeface="Open Sans"/>
              </a:defRPr>
            </a:lvl2pPr>
            <a:lvl3pPr marL="1371600" marR="0" lvl="2"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3pPr>
            <a:lvl4pPr marL="1828800" marR="0" lvl="3"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4pPr>
            <a:lvl5pPr marL="2286000" marR="0" lvl="4"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9pPr>
          </a:lstStyle>
          <a:p>
            <a:endParaRPr/>
          </a:p>
        </p:txBody>
      </p:sp>
      <p:sp>
        <p:nvSpPr>
          <p:cNvPr id="37" name="Google Shape;37;p16"/>
          <p:cNvSpPr txBox="1">
            <a:spLocks noGrp="1"/>
          </p:cNvSpPr>
          <p:nvPr>
            <p:ph type="body" idx="3"/>
          </p:nvPr>
        </p:nvSpPr>
        <p:spPr>
          <a:xfrm>
            <a:off x="6414628" y="1657218"/>
            <a:ext cx="5180136" cy="3657732"/>
          </a:xfrm>
          <a:prstGeom prst="rect">
            <a:avLst/>
          </a:prstGeom>
          <a:noFill/>
          <a:ln>
            <a:noFill/>
          </a:ln>
        </p:spPr>
        <p:txBody>
          <a:bodyPr spcFirstLastPara="1" wrap="square" lIns="0" tIns="45700" rIns="0" bIns="45700" anchor="t" anchorCtr="0">
            <a:noAutofit/>
          </a:bodyPr>
          <a:lstStyle>
            <a:lvl1pPr marL="457200" marR="0" lvl="0" indent="-228600" algn="l" rtl="0">
              <a:lnSpc>
                <a:spcPct val="110000"/>
              </a:lnSpc>
              <a:spcBef>
                <a:spcPts val="0"/>
              </a:spcBef>
              <a:spcAft>
                <a:spcPts val="0"/>
              </a:spcAft>
              <a:buClr>
                <a:schemeClr val="dk1"/>
              </a:buClr>
              <a:buSzPts val="1200"/>
              <a:buFont typeface="Open Sans"/>
              <a:buNone/>
              <a:defRPr sz="1200" b="1" i="0" u="none" strike="noStrike" cap="none">
                <a:solidFill>
                  <a:schemeClr val="dk1"/>
                </a:solidFill>
                <a:latin typeface="Open Sans"/>
                <a:ea typeface="Open Sans"/>
                <a:cs typeface="Open Sans"/>
                <a:sym typeface="Open Sans"/>
              </a:defRPr>
            </a:lvl1pPr>
            <a:lvl2pPr marL="914400" marR="0" lvl="1" indent="-304800" algn="l" rtl="0">
              <a:lnSpc>
                <a:spcPct val="110000"/>
              </a:lnSpc>
              <a:spcBef>
                <a:spcPts val="0"/>
              </a:spcBef>
              <a:spcAft>
                <a:spcPts val="0"/>
              </a:spcAft>
              <a:buClr>
                <a:schemeClr val="accent3"/>
              </a:buClr>
              <a:buSzPts val="1200"/>
              <a:buFont typeface="Arial"/>
              <a:buChar char="•"/>
              <a:defRPr sz="1200" b="0" i="0" u="none" strike="noStrike" cap="none">
                <a:solidFill>
                  <a:schemeClr val="dk1"/>
                </a:solidFill>
                <a:latin typeface="Open Sans"/>
                <a:ea typeface="Open Sans"/>
                <a:cs typeface="Open Sans"/>
                <a:sym typeface="Open Sans"/>
              </a:defRPr>
            </a:lvl2pPr>
            <a:lvl3pPr marL="1371600" marR="0" lvl="2" indent="-304800" algn="l" rtl="0">
              <a:lnSpc>
                <a:spcPct val="110000"/>
              </a:lnSpc>
              <a:spcBef>
                <a:spcPts val="0"/>
              </a:spcBef>
              <a:spcAft>
                <a:spcPts val="0"/>
              </a:spcAft>
              <a:buClr>
                <a:srgbClr val="B5B5B5"/>
              </a:buClr>
              <a:buSzPts val="1200"/>
              <a:buFont typeface="Arial"/>
              <a:buChar char="•"/>
              <a:defRPr sz="1200" b="0" i="0" u="none" strike="noStrike" cap="none">
                <a:solidFill>
                  <a:schemeClr val="dk1"/>
                </a:solidFill>
                <a:latin typeface="Open Sans"/>
                <a:ea typeface="Open Sans"/>
                <a:cs typeface="Open Sans"/>
                <a:sym typeface="Open Sans"/>
              </a:defRPr>
            </a:lvl3pPr>
            <a:lvl4pPr marL="1828800" marR="0" lvl="3" indent="-304800" algn="l" rtl="0">
              <a:lnSpc>
                <a:spcPct val="110000"/>
              </a:lnSpc>
              <a:spcBef>
                <a:spcPts val="0"/>
              </a:spcBef>
              <a:spcAft>
                <a:spcPts val="0"/>
              </a:spcAft>
              <a:buClr>
                <a:srgbClr val="B5B5B5"/>
              </a:buClr>
              <a:buSzPts val="1200"/>
              <a:buFont typeface="Arial"/>
              <a:buChar char="•"/>
              <a:defRPr sz="1200" b="0" i="0" u="none" strike="noStrike" cap="none">
                <a:solidFill>
                  <a:schemeClr val="dk1"/>
                </a:solidFill>
                <a:latin typeface="Open Sans"/>
                <a:ea typeface="Open Sans"/>
                <a:cs typeface="Open Sans"/>
                <a:sym typeface="Open Sans"/>
              </a:defRPr>
            </a:lvl4pPr>
            <a:lvl5pPr marL="2286000" marR="0" lvl="4" indent="-304800" algn="l" rtl="0">
              <a:lnSpc>
                <a:spcPct val="110000"/>
              </a:lnSpc>
              <a:spcBef>
                <a:spcPts val="0"/>
              </a:spcBef>
              <a:spcAft>
                <a:spcPts val="0"/>
              </a:spcAft>
              <a:buClr>
                <a:srgbClr val="B5B5B5"/>
              </a:buClr>
              <a:buSzPts val="1200"/>
              <a:buFont typeface="Arial"/>
              <a:buChar char="•"/>
              <a:defRPr sz="1200" b="0" i="0" u="none" strike="noStrike" cap="none">
                <a:solidFill>
                  <a:schemeClr val="dk1"/>
                </a:solidFill>
                <a:latin typeface="Open Sans"/>
                <a:ea typeface="Open Sans"/>
                <a:cs typeface="Open Sans"/>
                <a:sym typeface="Open Sans"/>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9pPr>
          </a:lstStyle>
          <a:p>
            <a:endParaRPr/>
          </a:p>
        </p:txBody>
      </p:sp>
      <p:sp>
        <p:nvSpPr>
          <p:cNvPr id="38" name="Google Shape;38;p16"/>
          <p:cNvSpPr txBox="1">
            <a:spLocks noGrp="1"/>
          </p:cNvSpPr>
          <p:nvPr>
            <p:ph type="body" idx="4"/>
          </p:nvPr>
        </p:nvSpPr>
        <p:spPr>
          <a:xfrm>
            <a:off x="1838647" y="1354080"/>
            <a:ext cx="2628900" cy="291896"/>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110000"/>
              </a:lnSpc>
              <a:spcBef>
                <a:spcPts val="0"/>
              </a:spcBef>
              <a:spcAft>
                <a:spcPts val="0"/>
              </a:spcAft>
              <a:buClr>
                <a:schemeClr val="accent1"/>
              </a:buClr>
              <a:buSzPts val="1400"/>
              <a:buFont typeface="Open Sans"/>
              <a:buNone/>
              <a:defRPr sz="1400" b="1" i="0" u="none" strike="noStrike" cap="none">
                <a:solidFill>
                  <a:schemeClr val="accent1"/>
                </a:solidFill>
                <a:latin typeface="Open Sans"/>
                <a:ea typeface="Open Sans"/>
                <a:cs typeface="Open Sans"/>
                <a:sym typeface="Open Sans"/>
              </a:defRPr>
            </a:lvl1pPr>
            <a:lvl2pPr marL="914400" marR="0" lvl="1" indent="-295275" algn="l" rtl="0">
              <a:lnSpc>
                <a:spcPct val="110000"/>
              </a:lnSpc>
              <a:spcBef>
                <a:spcPts val="0"/>
              </a:spcBef>
              <a:spcAft>
                <a:spcPts val="0"/>
              </a:spcAft>
              <a:buClr>
                <a:schemeClr val="accent3"/>
              </a:buClr>
              <a:buSzPts val="1050"/>
              <a:buFont typeface="Arial"/>
              <a:buChar char="•"/>
              <a:defRPr sz="1050" b="0" i="0" u="none" strike="noStrike" cap="none">
                <a:solidFill>
                  <a:schemeClr val="dk1"/>
                </a:solidFill>
                <a:latin typeface="Open Sans"/>
                <a:ea typeface="Open Sans"/>
                <a:cs typeface="Open Sans"/>
                <a:sym typeface="Open Sans"/>
              </a:defRPr>
            </a:lvl2pPr>
            <a:lvl3pPr marL="1371600" marR="0" lvl="2"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3pPr>
            <a:lvl4pPr marL="1828800" marR="0" lvl="3"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4pPr>
            <a:lvl5pPr marL="2286000" marR="0" lvl="4"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9pPr>
          </a:lstStyle>
          <a:p>
            <a:endParaRPr/>
          </a:p>
        </p:txBody>
      </p:sp>
      <p:sp>
        <p:nvSpPr>
          <p:cNvPr id="39" name="Google Shape;39;p16"/>
          <p:cNvSpPr txBox="1">
            <a:spLocks noGrp="1"/>
          </p:cNvSpPr>
          <p:nvPr>
            <p:ph type="body" idx="5"/>
          </p:nvPr>
        </p:nvSpPr>
        <p:spPr>
          <a:xfrm>
            <a:off x="7690658" y="1342636"/>
            <a:ext cx="2628900" cy="303270"/>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110000"/>
              </a:lnSpc>
              <a:spcBef>
                <a:spcPts val="0"/>
              </a:spcBef>
              <a:spcAft>
                <a:spcPts val="0"/>
              </a:spcAft>
              <a:buClr>
                <a:schemeClr val="accent1"/>
              </a:buClr>
              <a:buSzPts val="1400"/>
              <a:buFont typeface="Open Sans"/>
              <a:buNone/>
              <a:defRPr sz="1400" b="1" i="0" u="none" strike="noStrike" cap="none">
                <a:solidFill>
                  <a:schemeClr val="accent1"/>
                </a:solidFill>
                <a:latin typeface="Open Sans"/>
                <a:ea typeface="Open Sans"/>
                <a:cs typeface="Open Sans"/>
                <a:sym typeface="Open Sans"/>
              </a:defRPr>
            </a:lvl1pPr>
            <a:lvl2pPr marL="914400" marR="0" lvl="1" indent="-295275" algn="l" rtl="0">
              <a:lnSpc>
                <a:spcPct val="110000"/>
              </a:lnSpc>
              <a:spcBef>
                <a:spcPts val="0"/>
              </a:spcBef>
              <a:spcAft>
                <a:spcPts val="0"/>
              </a:spcAft>
              <a:buClr>
                <a:schemeClr val="accent3"/>
              </a:buClr>
              <a:buSzPts val="1050"/>
              <a:buFont typeface="Arial"/>
              <a:buChar char="•"/>
              <a:defRPr sz="1050" b="0" i="0" u="none" strike="noStrike" cap="none">
                <a:solidFill>
                  <a:schemeClr val="dk1"/>
                </a:solidFill>
                <a:latin typeface="Open Sans"/>
                <a:ea typeface="Open Sans"/>
                <a:cs typeface="Open Sans"/>
                <a:sym typeface="Open Sans"/>
              </a:defRPr>
            </a:lvl2pPr>
            <a:lvl3pPr marL="1371600" marR="0" lvl="2"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3pPr>
            <a:lvl4pPr marL="1828800" marR="0" lvl="3"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4pPr>
            <a:lvl5pPr marL="2286000" marR="0" lvl="4" indent="-295275" algn="l" rtl="0">
              <a:lnSpc>
                <a:spcPct val="110000"/>
              </a:lnSpc>
              <a:spcBef>
                <a:spcPts val="0"/>
              </a:spcBef>
              <a:spcAft>
                <a:spcPts val="0"/>
              </a:spcAft>
              <a:buClr>
                <a:srgbClr val="B5B5B5"/>
              </a:buClr>
              <a:buSzPts val="1050"/>
              <a:buFont typeface="Arial"/>
              <a:buChar char="•"/>
              <a:defRPr sz="1050" b="0" i="0" u="none" strike="noStrike" cap="none">
                <a:solidFill>
                  <a:schemeClr val="dk1"/>
                </a:solidFill>
                <a:latin typeface="Open Sans"/>
                <a:ea typeface="Open Sans"/>
                <a:cs typeface="Open Sans"/>
                <a:sym typeface="Open Sans"/>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Open Sans"/>
                <a:ea typeface="Open Sans"/>
                <a:cs typeface="Open Sans"/>
                <a:sym typeface="Open Sans"/>
              </a:defRPr>
            </a:lvl9pPr>
          </a:lstStyle>
          <a:p>
            <a:endParaRPr/>
          </a:p>
        </p:txBody>
      </p:sp>
      <p:sp>
        <p:nvSpPr>
          <p:cNvPr id="40" name="Google Shape;40;p16"/>
          <p:cNvSpPr txBox="1">
            <a:spLocks noGrp="1"/>
          </p:cNvSpPr>
          <p:nvPr>
            <p:ph type="title"/>
          </p:nvPr>
        </p:nvSpPr>
        <p:spPr>
          <a:xfrm>
            <a:off x="562617" y="310551"/>
            <a:ext cx="11066585" cy="436862"/>
          </a:xfrm>
          <a:prstGeom prst="rect">
            <a:avLst/>
          </a:prstGeom>
          <a:noFill/>
          <a:ln>
            <a:noFill/>
          </a:ln>
        </p:spPr>
        <p:txBody>
          <a:bodyPr spcFirstLastPara="1" wrap="square" lIns="0" tIns="45700" rIns="0" bIns="45700" anchor="t" anchorCtr="0">
            <a:noAutofit/>
          </a:bodyPr>
          <a:lstStyle>
            <a:lvl1pPr marR="0" lvl="0" algn="l" rtl="0">
              <a:lnSpc>
                <a:spcPct val="90000"/>
              </a:lnSpc>
              <a:spcBef>
                <a:spcPts val="0"/>
              </a:spcBef>
              <a:spcAft>
                <a:spcPts val="0"/>
              </a:spcAft>
              <a:buClr>
                <a:schemeClr val="accent1"/>
              </a:buClr>
              <a:buSzPts val="2400"/>
              <a:buFont typeface="Open Sans"/>
              <a:buNone/>
              <a:defRPr sz="2400" b="1" i="0" u="none" strike="noStrike" cap="none">
                <a:solidFill>
                  <a:schemeClr val="accen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9541317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8691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7" name="Picture 6">
            <a:extLst>
              <a:ext uri="{FF2B5EF4-FFF2-40B4-BE49-F238E27FC236}">
                <a16:creationId xmlns:a16="http://schemas.microsoft.com/office/drawing/2014/main" id="{9DB78E29-AE9D-4534-AAF3-5096E0C7D2C8}"/>
              </a:ext>
            </a:extLst>
          </p:cNvPr>
          <p:cNvPicPr>
            <a:picLocks noChangeAspect="1"/>
          </p:cNvPicPr>
          <p:nvPr userDrawn="1"/>
        </p:nvPicPr>
        <p:blipFill>
          <a:blip r:embed="rId6">
            <a:extLst>
              <a:ext uri="{BEBA8EAE-BF5A-486C-A8C5-ECC9F3942E4B}">
                <a14:imgProps xmlns:a14="http://schemas.microsoft.com/office/drawing/2010/main">
                  <a14:imgLayer r:embed="rId7">
                    <a14:imgEffect>
                      <a14:sharpenSoften amount="25000"/>
                    </a14:imgEffect>
                    <a14:imgEffect>
                      <a14:brightnessContrast bright="20000" contrast="-40000"/>
                    </a14:imgEffect>
                  </a14:imgLayer>
                </a14:imgProps>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290BC53E-F1B5-445E-881E-C9199507F3DE}"/>
              </a:ext>
            </a:extLst>
          </p:cNvPr>
          <p:cNvSpPr/>
          <p:nvPr userDrawn="1"/>
        </p:nvSpPr>
        <p:spPr>
          <a:xfrm>
            <a:off x="550863" y="549275"/>
            <a:ext cx="7998777" cy="6308725"/>
          </a:xfrm>
          <a:prstGeom prst="rect">
            <a:avLst/>
          </a:prstGeom>
          <a:gradFill flip="none" rotWithShape="1">
            <a:gsLst>
              <a:gs pos="32000">
                <a:schemeClr val="tx2">
                  <a:lumMod val="50000"/>
                  <a:alpha val="90000"/>
                </a:schemeClr>
              </a:gs>
              <a:gs pos="61000">
                <a:schemeClr val="tx2">
                  <a:lumMod val="75000"/>
                  <a:alpha val="90000"/>
                </a:schemeClr>
              </a:gs>
              <a:gs pos="86000">
                <a:srgbClr val="036DFF">
                  <a:alpha val="9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855663" y="926348"/>
            <a:ext cx="7343457" cy="418576"/>
          </a:xfrm>
        </p:spPr>
        <p:txBody>
          <a:bodyPr vert="horz" wrap="square" lIns="0" tIns="0" rIns="0" bIns="0" rtlCol="0" anchor="t">
            <a:spAutoFit/>
          </a:bodyPr>
          <a:lstStyle>
            <a:lvl1pPr>
              <a:defRPr lang="en-IN">
                <a:solidFill>
                  <a:schemeClr val="bg1"/>
                </a:solidFill>
              </a:defRPr>
            </a:lvl1pPr>
          </a:lstStyle>
          <a:p>
            <a:pPr lvl="0">
              <a:lnSpc>
                <a:spcPct val="85000"/>
              </a:lnSpc>
            </a:pPr>
            <a:r>
              <a:rPr lang="en-US" dirty="0"/>
              <a:t>Click to edit Master title style</a:t>
            </a:r>
            <a:endParaRPr lang="en-IN" dirty="0"/>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855663" y="6465614"/>
            <a:ext cx="65"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cxnSp>
        <p:nvCxnSpPr>
          <p:cNvPr id="10" name="Straight Connector 9">
            <a:extLst>
              <a:ext uri="{FF2B5EF4-FFF2-40B4-BE49-F238E27FC236}">
                <a16:creationId xmlns:a16="http://schemas.microsoft.com/office/drawing/2014/main" id="{496ED747-D836-453F-A711-DB41DB55EE7D}"/>
              </a:ext>
            </a:extLst>
          </p:cNvPr>
          <p:cNvCxnSpPr>
            <a:cxnSpLocks/>
          </p:cNvCxnSpPr>
          <p:nvPr userDrawn="1"/>
        </p:nvCxnSpPr>
        <p:spPr>
          <a:xfrm>
            <a:off x="844200" y="85067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7F7E0603-54E5-4900-B884-DF607C9F881E}"/>
              </a:ext>
            </a:extLst>
          </p:cNvPr>
          <p:cNvGrpSpPr/>
          <p:nvPr userDrawn="1"/>
        </p:nvGrpSpPr>
        <p:grpSpPr>
          <a:xfrm>
            <a:off x="11998459" y="6162188"/>
            <a:ext cx="68500" cy="441924"/>
            <a:chOff x="11998459" y="6162188"/>
            <a:chExt cx="68500" cy="441924"/>
          </a:xfrm>
          <a:solidFill>
            <a:schemeClr val="bg1"/>
          </a:solidFill>
        </p:grpSpPr>
        <p:sp>
          <p:nvSpPr>
            <p:cNvPr id="28" name="Freeform: Shape 27">
              <a:extLst>
                <a:ext uri="{FF2B5EF4-FFF2-40B4-BE49-F238E27FC236}">
                  <a16:creationId xmlns:a16="http://schemas.microsoft.com/office/drawing/2014/main" id="{FFD03332-F5F6-45C3-90BC-295A2FCDED8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7143D5AD-2EB6-446B-91E7-AFA62075D007}"/>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1D7C6D40-BE52-466A-9AE8-D542A7DD17D9}"/>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700059BA-3623-49DE-8651-B8B90262EBE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F1C83417-9603-44F6-AC37-15EC25B464A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8542FC21-4372-4846-8821-DE3D047D70A6}"/>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B2790381-620A-48A1-9BBD-971FEBF891BA}"/>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2F201424-8A37-40B4-A244-37F08420BE37}"/>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AD05B71D-5BA4-433A-8101-90A75002DB3D}"/>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818D8424-E1E5-4CEA-B943-031A14C31834}"/>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D574BA9D-7055-4FA2-8E03-444768562509}"/>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272AB694-FDCC-4212-966C-BC0216663D14}"/>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9448531E-C3BA-4E0A-91B0-AEECDD3F1419}"/>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41" name="Copyright">
            <a:extLst>
              <a:ext uri="{FF2B5EF4-FFF2-40B4-BE49-F238E27FC236}">
                <a16:creationId xmlns:a16="http://schemas.microsoft.com/office/drawing/2014/main" id="{F20859F3-B437-4822-B332-1586BE68BC99}"/>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42" name="Slide Number Placeholder 5">
            <a:extLst>
              <a:ext uri="{FF2B5EF4-FFF2-40B4-BE49-F238E27FC236}">
                <a16:creationId xmlns:a16="http://schemas.microsoft.com/office/drawing/2014/main" id="{D2F10C76-7B37-48DF-B539-56FF4C0C1BD3}"/>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32508161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tags" Target="../tags/tag70.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image" Target="../media/image24.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theme" Target="../theme/theme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image" Target="../media/image14.emf"/><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oleObject" Target="../embeddings/oleObject37.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theme" Target="../theme/theme3.xml"/><Relationship Id="rId3" Type="http://schemas.openxmlformats.org/officeDocument/2006/relationships/slideLayout" Target="../slideLayouts/slideLayout67.xml"/><Relationship Id="rId21" Type="http://schemas.openxmlformats.org/officeDocument/2006/relationships/image" Target="../media/image14.emf"/><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oleObject" Target="../embeddings/oleObject47.bin"/><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ags" Target="../tags/tag87.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image" Target="../media/image2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01376A-4F6C-4427-9AC0-67FB4C2B0704}"/>
              </a:ext>
            </a:extLst>
          </p:cNvPr>
          <p:cNvGraphicFramePr>
            <a:graphicFrameLocks noChangeAspect="1"/>
          </p:cNvGraphicFramePr>
          <p:nvPr userDrawn="1">
            <p:custDataLst>
              <p:tags r:id="rId39"/>
            </p:custDataLst>
            <p:extLst>
              <p:ext uri="{D42A27DB-BD31-4B8C-83A1-F6EECF244321}">
                <p14:modId xmlns:p14="http://schemas.microsoft.com/office/powerpoint/2010/main" val="1886715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5" imgH="426" progId="TCLayout.ActiveDocument.1">
                  <p:embed/>
                </p:oleObj>
              </mc:Choice>
              <mc:Fallback>
                <p:oleObj name="think-cell Slide" r:id="rId41" imgW="425" imgH="426" progId="TCLayout.ActiveDocument.1">
                  <p:embed/>
                  <p:pic>
                    <p:nvPicPr>
                      <p:cNvPr id="0" name=""/>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9302799-8A9B-47DC-8DBF-34AF7857573E}"/>
              </a:ext>
            </a:extLst>
          </p:cNvPr>
          <p:cNvSpPr/>
          <p:nvPr userDrawn="1">
            <p:custDataLst>
              <p:tags r:id="rId4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grpSp>
        <p:nvGrpSpPr>
          <p:cNvPr id="27" name="Group 26">
            <a:extLst>
              <a:ext uri="{FF2B5EF4-FFF2-40B4-BE49-F238E27FC236}">
                <a16:creationId xmlns:a16="http://schemas.microsoft.com/office/drawing/2014/main" id="{87B31061-A44E-4C9C-B07F-D8CDA855BC79}"/>
              </a:ext>
            </a:extLst>
          </p:cNvPr>
          <p:cNvGrpSpPr/>
          <p:nvPr userDrawn="1"/>
        </p:nvGrpSpPr>
        <p:grpSpPr>
          <a:xfrm>
            <a:off x="11998459" y="6162188"/>
            <a:ext cx="68500" cy="441924"/>
            <a:chOff x="11998459" y="6162188"/>
            <a:chExt cx="68500" cy="441924"/>
          </a:xfrm>
        </p:grpSpPr>
        <p:sp>
          <p:nvSpPr>
            <p:cNvPr id="11" name="Freeform: Shape 10">
              <a:extLst>
                <a:ext uri="{FF2B5EF4-FFF2-40B4-BE49-F238E27FC236}">
                  <a16:creationId xmlns:a16="http://schemas.microsoft.com/office/drawing/2014/main" id="{18093E00-38A0-4CF7-8C69-DC28CFFA7EF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83A998E-3729-4FC5-A5CC-4DC84AB76CC9}"/>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98D7A59-77C4-4FFE-B4BC-D6D2E508A277}"/>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7E72B593-8E78-4A4E-8039-9E8AB005B73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533BC9DA-DBAA-429C-9B2D-F5DE885FFA1A}"/>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FFC7ED54-A193-4F93-98BD-A9F95F53F90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C1CD3797-433D-4591-AF9B-5A6A6CF23E5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34C1BB38-5735-40B9-BFAD-56E5CBF3264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661FAB9-9525-4A2E-ADDE-3D6DE582FDD9}"/>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9E2E67E8-04E8-4D20-B8D4-6E67405547E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80013948-917C-44E7-8DBE-C5E0FD0A2100}"/>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87DCBD3E-5674-40CB-910B-ABFD71044CD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76AD7FAC-FE8F-4E5C-AC0E-214C9EA7FF92}"/>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12" name="Graphic 11">
            <a:extLst>
              <a:ext uri="{FF2B5EF4-FFF2-40B4-BE49-F238E27FC236}">
                <a16:creationId xmlns:a16="http://schemas.microsoft.com/office/drawing/2014/main" id="{9EDD5925-EA7C-4C82-A33E-C3CE8EA3BC2F}"/>
              </a:ext>
            </a:extLst>
          </p:cNvPr>
          <p:cNvPicPr>
            <a:picLocks noChangeAspect="1"/>
          </p:cNvPicPr>
          <p:nvPr userDrawn="1"/>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rot="16200000">
            <a:off x="11811887" y="6349041"/>
            <a:ext cx="441438" cy="68706"/>
          </a:xfrm>
          <a:prstGeom prst="rect">
            <a:avLst/>
          </a:prstGeom>
        </p:spPr>
      </p:pic>
      <p:sp>
        <p:nvSpPr>
          <p:cNvPr id="2" name="Title Placeholder 1">
            <a:extLst>
              <a:ext uri="{FF2B5EF4-FFF2-40B4-BE49-F238E27FC236}">
                <a16:creationId xmlns:a16="http://schemas.microsoft.com/office/drawing/2014/main" id="{0660F969-E23C-496D-A989-9312D6EAF381}"/>
              </a:ext>
            </a:extLst>
          </p:cNvPr>
          <p:cNvSpPr>
            <a:spLocks noGrp="1"/>
          </p:cNvSpPr>
          <p:nvPr>
            <p:ph type="title"/>
          </p:nvPr>
        </p:nvSpPr>
        <p:spPr>
          <a:xfrm>
            <a:off x="550863" y="560588"/>
            <a:ext cx="11089972" cy="422295"/>
          </a:xfrm>
          <a:prstGeom prst="rect">
            <a:avLst/>
          </a:prstGeom>
        </p:spPr>
        <p:txBody>
          <a:bodyPr vert="horz" wrap="square" lIns="0" tIns="0" rIns="0" bIns="0" rtlCol="0" anchor="t">
            <a:spAutoFit/>
          </a:bodyPr>
          <a:lstStyle/>
          <a:p>
            <a:pPr lvl="0">
              <a:lnSpc>
                <a:spcPct val="85000"/>
              </a:lnSpc>
            </a:pPr>
            <a:r>
              <a:rPr lang="en-US" dirty="0"/>
              <a:t>Click to edit Master title style</a:t>
            </a:r>
            <a:endParaRPr lang="en-IN" dirty="0"/>
          </a:p>
        </p:txBody>
      </p:sp>
      <p:sp>
        <p:nvSpPr>
          <p:cNvPr id="3" name="Text Placeholder 2">
            <a:extLst>
              <a:ext uri="{FF2B5EF4-FFF2-40B4-BE49-F238E27FC236}">
                <a16:creationId xmlns:a16="http://schemas.microsoft.com/office/drawing/2014/main" id="{8FA9E90D-E2CC-4615-8D50-28FACCCB351D}"/>
              </a:ext>
            </a:extLst>
          </p:cNvPr>
          <p:cNvSpPr>
            <a:spLocks noGrp="1"/>
          </p:cNvSpPr>
          <p:nvPr>
            <p:ph type="body" idx="1"/>
          </p:nvPr>
        </p:nvSpPr>
        <p:spPr>
          <a:xfrm>
            <a:off x="550862" y="1859913"/>
            <a:ext cx="11089973" cy="1349087"/>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Footer Placeholder 4">
            <a:extLst>
              <a:ext uri="{FF2B5EF4-FFF2-40B4-BE49-F238E27FC236}">
                <a16:creationId xmlns:a16="http://schemas.microsoft.com/office/drawing/2014/main" id="{BFD71C6E-2232-442E-8448-AF1BD6203E06}"/>
              </a:ext>
            </a:extLst>
          </p:cNvPr>
          <p:cNvSpPr>
            <a:spLocks noGrp="1"/>
          </p:cNvSpPr>
          <p:nvPr>
            <p:ph type="ftr" sz="quarter" idx="3"/>
          </p:nvPr>
        </p:nvSpPr>
        <p:spPr>
          <a:xfrm>
            <a:off x="550862" y="6465614"/>
            <a:ext cx="955390"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6" name="Slide Number Placeholder 5">
            <a:extLst>
              <a:ext uri="{FF2B5EF4-FFF2-40B4-BE49-F238E27FC236}">
                <a16:creationId xmlns:a16="http://schemas.microsoft.com/office/drawing/2014/main" id="{9C0662E3-7504-4CA7-A6CD-7C5C765B73F5}"/>
              </a:ext>
            </a:extLst>
          </p:cNvPr>
          <p:cNvSpPr>
            <a:spLocks noGrp="1"/>
          </p:cNvSpPr>
          <p:nvPr>
            <p:ph type="sldNum" sz="quarter" idx="4"/>
          </p:nvPr>
        </p:nvSpPr>
        <p:spPr>
          <a:xfrm>
            <a:off x="11490153" y="6465614"/>
            <a:ext cx="150682" cy="138499"/>
          </a:xfrm>
          <a:prstGeom prst="rect">
            <a:avLst/>
          </a:prstGeom>
          <a:noFill/>
        </p:spPr>
        <p:txBody>
          <a:bodyPr wrap="none" lIns="0" tIns="0" rIns="0" bIns="0" rtlCol="0" anchor="b">
            <a:spAutoFit/>
          </a:bodyPr>
          <a:lstStyle>
            <a:lvl1pPr algn="r">
              <a:defRPr kumimoji="0" lang="en-IN" sz="10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84" name="Copyright">
            <a:extLst>
              <a:ext uri="{FF2B5EF4-FFF2-40B4-BE49-F238E27FC236}">
                <a16:creationId xmlns:a16="http://schemas.microsoft.com/office/drawing/2014/main" id="{99040E17-1592-44EC-BAF2-3AB7B9CEFCC4}"/>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cxnSp>
        <p:nvCxnSpPr>
          <p:cNvPr id="561" name="Straight Connector 560">
            <a:extLst>
              <a:ext uri="{FF2B5EF4-FFF2-40B4-BE49-F238E27FC236}">
                <a16:creationId xmlns:a16="http://schemas.microsoft.com/office/drawing/2014/main" id="{123CE0EA-9B99-45A6-9191-1D727AB177A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Slide Number Placeholder 5">
            <a:extLst>
              <a:ext uri="{FF2B5EF4-FFF2-40B4-BE49-F238E27FC236}">
                <a16:creationId xmlns:a16="http://schemas.microsoft.com/office/drawing/2014/main" id="{FB488F1C-E163-4C22-86CF-A1A896433596}"/>
              </a:ext>
            </a:extLst>
          </p:cNvPr>
          <p:cNvSpPr txBox="1">
            <a:spLocks/>
          </p:cNvSpPr>
          <p:nvPr userDrawn="1"/>
        </p:nvSpPr>
        <p:spPr>
          <a:xfrm>
            <a:off x="11490153" y="6465614"/>
            <a:ext cx="150682" cy="138499"/>
          </a:xfrm>
          <a:prstGeom prst="rect">
            <a:avLst/>
          </a:prstGeom>
          <a:noFill/>
        </p:spPr>
        <p:txBody>
          <a:bodyPr wrap="none" lIns="0" tIns="0" rIns="0" bIns="0" rtlCol="0" anchor="b">
            <a:spAutoFit/>
          </a:bodyPr>
          <a:lstStyle>
            <a:defPPr>
              <a:defRPr lang="en-US"/>
            </a:defPPr>
            <a:lvl1pPr marL="0" algn="r" defTabSz="914400" rtl="0" eaLnBrk="1" latinLnBrk="0" hangingPunct="1">
              <a:defRPr kumimoji="0" lang="en-IN" sz="1000" b="0" i="0" u="none" strike="noStrike" kern="1200" cap="none" spc="0" normalizeH="0" baseline="0" smtClean="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2137427359"/>
      </p:ext>
    </p:extLst>
  </p:cSld>
  <p:clrMap bg1="lt1" tx1="dk1" bg2="lt2" tx2="dk2" accent1="accent1" accent2="accent2" accent3="accent3" accent4="accent4" accent5="accent5" accent6="accent6" hlink="hlink" folHlink="folHlink"/>
  <p:sldLayoutIdLst>
    <p:sldLayoutId id="2147483652" r:id="rId1"/>
    <p:sldLayoutId id="2147483764" r:id="rId2"/>
    <p:sldLayoutId id="2147483649" r:id="rId3"/>
    <p:sldLayoutId id="2147483654" r:id="rId4"/>
    <p:sldLayoutId id="2147483668" r:id="rId5"/>
    <p:sldLayoutId id="2147483650" r:id="rId6"/>
    <p:sldLayoutId id="2147483653" r:id="rId7"/>
    <p:sldLayoutId id="2147483675" r:id="rId8"/>
    <p:sldLayoutId id="2147483674" r:id="rId9"/>
    <p:sldLayoutId id="2147483664" r:id="rId10"/>
    <p:sldLayoutId id="2147483663" r:id="rId11"/>
    <p:sldLayoutId id="2147483667" r:id="rId12"/>
    <p:sldLayoutId id="2147483665" r:id="rId13"/>
    <p:sldLayoutId id="2147483666" r:id="rId14"/>
    <p:sldLayoutId id="2147483655" r:id="rId15"/>
    <p:sldLayoutId id="2147483676" r:id="rId16"/>
    <p:sldLayoutId id="2147483656" r:id="rId17"/>
    <p:sldLayoutId id="2147483657" r:id="rId18"/>
    <p:sldLayoutId id="2147483658" r:id="rId19"/>
    <p:sldLayoutId id="2147483659" r:id="rId20"/>
    <p:sldLayoutId id="2147483673" r:id="rId21"/>
    <p:sldLayoutId id="2147483660" r:id="rId22"/>
    <p:sldLayoutId id="2147483661" r:id="rId23"/>
    <p:sldLayoutId id="2147483669" r:id="rId24"/>
    <p:sldLayoutId id="2147483762" r:id="rId25"/>
    <p:sldLayoutId id="2147483761" r:id="rId26"/>
    <p:sldLayoutId id="2147483759" r:id="rId27"/>
    <p:sldLayoutId id="2147483760" r:id="rId28"/>
    <p:sldLayoutId id="2147483763" r:id="rId29"/>
    <p:sldLayoutId id="2147483677" r:id="rId30"/>
    <p:sldLayoutId id="2147483651" r:id="rId31"/>
    <p:sldLayoutId id="2147483670" r:id="rId32"/>
    <p:sldLayoutId id="2147483671" r:id="rId33"/>
    <p:sldLayoutId id="2147483726" r:id="rId34"/>
    <p:sldLayoutId id="2147483727" r:id="rId35"/>
    <p:sldLayoutId id="2147483729" r:id="rId36"/>
    <p:sldLayoutId id="2147483758" r:id="rId37"/>
  </p:sldLayoutIdLst>
  <p:hf sldNum="0" hdr="0" ftr="0"/>
  <p:txStyles>
    <p:titleStyle>
      <a:lvl1pPr algn="l" defTabSz="914400" rtl="0" eaLnBrk="1" latinLnBrk="0" hangingPunct="1">
        <a:lnSpc>
          <a:spcPct val="90000"/>
        </a:lnSpc>
        <a:spcBef>
          <a:spcPct val="0"/>
        </a:spcBef>
        <a:buNone/>
        <a:defRPr lang="en-IN" sz="3200" b="0" kern="1200" dirty="0">
          <a:solidFill>
            <a:schemeClr val="tx2"/>
          </a:solidFill>
          <a:latin typeface="Franklin Gothic Demi" panose="020B0703020102020204" pitchFamily="34" charset="0"/>
          <a:ea typeface="+mj-ea"/>
          <a:cs typeface="Calibri" panose="020F0502020204030204" pitchFamily="34" charset="0"/>
          <a:sym typeface="Calibri" panose="020F0502020204030204" pitchFamily="34" charset="0"/>
        </a:defRPr>
      </a:lvl1pPr>
    </p:titleStyle>
    <p:bodyStyle>
      <a:lvl1pPr marL="0" indent="0" algn="l" defTabSz="914400" rtl="0" eaLnBrk="1" latinLnBrk="0" hangingPunct="1">
        <a:lnSpc>
          <a:spcPct val="95000"/>
        </a:lnSpc>
        <a:spcBef>
          <a:spcPts val="10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76213" indent="-176213" algn="l" defTabSz="914400" rtl="0" eaLnBrk="1" latinLnBrk="0" hangingPunct="1">
        <a:lnSpc>
          <a:spcPct val="95000"/>
        </a:lnSpc>
        <a:spcBef>
          <a:spcPts val="5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58775" indent="-179388" algn="l" defTabSz="914400" rtl="0" eaLnBrk="1" latinLnBrk="0" hangingPunct="1">
        <a:lnSpc>
          <a:spcPct val="95000"/>
        </a:lnSpc>
        <a:spcBef>
          <a:spcPts val="300"/>
        </a:spcBef>
        <a:buClr>
          <a:schemeClr val="tx2"/>
        </a:buClr>
        <a:buFont typeface="Calibri Light" panose="020F0302020204030204" pitchFamily="34" charset="0"/>
        <a:buChar char="−"/>
        <a:tabLst/>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536575" indent="-177800" algn="l" defTabSz="914400" rtl="0" eaLnBrk="1" latinLnBrk="0" hangingPunct="1">
        <a:lnSpc>
          <a:spcPct val="95000"/>
        </a:lnSpc>
        <a:spcBef>
          <a:spcPts val="1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715963" indent="-179388" algn="l" defTabSz="914400" rtl="0" eaLnBrk="1" latinLnBrk="0" hangingPunct="1">
        <a:lnSpc>
          <a:spcPct val="95000"/>
        </a:lnSpc>
        <a:spcBef>
          <a:spcPts val="100"/>
        </a:spcBef>
        <a:buClr>
          <a:schemeClr val="tx2"/>
        </a:buClr>
        <a:buFont typeface="Calibri Light" panose="020F030202020403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347" userDrawn="1">
          <p15:clr>
            <a:srgbClr val="F26B43"/>
          </p15:clr>
        </p15:guide>
        <p15:guide id="3" pos="7333" userDrawn="1">
          <p15:clr>
            <a:srgbClr val="F26B43"/>
          </p15:clr>
        </p15:guide>
        <p15:guide id="4" orient="horz" pos="1170" userDrawn="1">
          <p15:clr>
            <a:srgbClr val="F26B43"/>
          </p15:clr>
        </p15:guide>
        <p15:guide id="5" orient="horz" pos="3974" userDrawn="1">
          <p15:clr>
            <a:srgbClr val="F26B43"/>
          </p15:clr>
        </p15:guide>
        <p15:guide id="6" pos="3749" userDrawn="1">
          <p15:clr>
            <a:srgbClr val="F26B43"/>
          </p15:clr>
        </p15:guide>
        <p15:guide id="7"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BC757-ED20-4346-903C-7ACB6BDFF219}"/>
              </a:ext>
            </a:extLst>
          </p:cNvPr>
          <p:cNvGraphicFramePr>
            <a:graphicFrameLocks noChangeAspect="1"/>
          </p:cNvGraphicFramePr>
          <p:nvPr userDrawn="1">
            <p:custDataLst>
              <p:tags r:id="rId29"/>
            </p:custDataLst>
            <p:extLst>
              <p:ext uri="{D42A27DB-BD31-4B8C-83A1-F6EECF244321}">
                <p14:modId xmlns:p14="http://schemas.microsoft.com/office/powerpoint/2010/main" val="246996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3" imgH="476" progId="TCLayout.ActiveDocument.1">
                  <p:embed/>
                </p:oleObj>
              </mc:Choice>
              <mc:Fallback>
                <p:oleObj name="think-cell Slide" r:id="rId30" imgW="473" imgH="476" progId="TCLayout.ActiveDocument.1">
                  <p:embed/>
                  <p:pic>
                    <p:nvPicPr>
                      <p:cNvPr id="2" name="Object 1" hidden="1">
                        <a:extLst>
                          <a:ext uri="{FF2B5EF4-FFF2-40B4-BE49-F238E27FC236}">
                            <a16:creationId xmlns:a16="http://schemas.microsoft.com/office/drawing/2014/main" id="{11ABC757-ED20-4346-903C-7ACB6BDFF219}"/>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grpSp>
        <p:nvGrpSpPr>
          <p:cNvPr id="10" name="Google Shape;10;p45"/>
          <p:cNvGrpSpPr/>
          <p:nvPr/>
        </p:nvGrpSpPr>
        <p:grpSpPr>
          <a:xfrm>
            <a:off x="11998459" y="6162188"/>
            <a:ext cx="68500" cy="441925"/>
            <a:chOff x="11998459" y="6162188"/>
            <a:chExt cx="68500" cy="441925"/>
          </a:xfrm>
        </p:grpSpPr>
        <p:sp>
          <p:nvSpPr>
            <p:cNvPr id="11" name="Google Shape;11;p4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2" name="Google Shape;12;p4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 name="Google Shape;13;p4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 name="Google Shape;14;p4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 name="Google Shape;15;p4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 name="Google Shape;16;p4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7" name="Google Shape;17;p4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8" name="Google Shape;18;p4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9" name="Google Shape;19;p4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0" name="Google Shape;20;p4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1" name="Google Shape;21;p4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2" name="Google Shape;22;p4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3" name="Google Shape;23;p4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24" name="Google Shape;24;p45"/>
          <p:cNvPicPr preferRelativeResize="0"/>
          <p:nvPr/>
        </p:nvPicPr>
        <p:blipFill rotWithShape="1">
          <a:blip r:embed="rId32">
            <a:alphaModFix/>
          </a:blip>
          <a:srcRect/>
          <a:stretch/>
        </p:blipFill>
        <p:spPr>
          <a:xfrm rot="-5400000">
            <a:off x="11811887" y="6349041"/>
            <a:ext cx="441438" cy="68706"/>
          </a:xfrm>
          <a:prstGeom prst="rect">
            <a:avLst/>
          </a:prstGeom>
          <a:noFill/>
          <a:ln>
            <a:noFill/>
          </a:ln>
        </p:spPr>
      </p:pic>
      <p:sp>
        <p:nvSpPr>
          <p:cNvPr id="25" name="Google Shape;25;p45"/>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 name="Google Shape;26;p45"/>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4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4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4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cxnSp>
        <p:nvCxnSpPr>
          <p:cNvPr id="30" name="Google Shape;30;p4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45"/>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796206998"/>
      </p:ext>
    </p:extLst>
  </p:cSld>
  <p:clrMap bg1="lt1" tx1="dk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66" r:id="rId22"/>
    <p:sldLayoutId id="2147483767" r:id="rId23"/>
    <p:sldLayoutId id="2147483768" r:id="rId24"/>
    <p:sldLayoutId id="2147483769" r:id="rId25"/>
    <p:sldLayoutId id="2147483770" r:id="rId26"/>
    <p:sldLayoutId id="2147483771" r:id="rId2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BC757-ED20-4346-903C-7ACB6BDFF219}"/>
              </a:ext>
            </a:extLst>
          </p:cNvPr>
          <p:cNvGraphicFramePr>
            <a:graphicFrameLocks noChangeAspect="1"/>
          </p:cNvGraphicFramePr>
          <p:nvPr userDrawn="1">
            <p:custDataLst>
              <p:tags r:id="rId19"/>
            </p:custDataLst>
            <p:extLst>
              <p:ext uri="{D42A27DB-BD31-4B8C-83A1-F6EECF244321}">
                <p14:modId xmlns:p14="http://schemas.microsoft.com/office/powerpoint/2010/main" val="4042758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73" imgH="476" progId="TCLayout.ActiveDocument.1">
                  <p:embed/>
                </p:oleObj>
              </mc:Choice>
              <mc:Fallback>
                <p:oleObj name="think-cell Slide" r:id="rId20" imgW="473" imgH="476" progId="TCLayout.ActiveDocument.1">
                  <p:embed/>
                  <p:pic>
                    <p:nvPicPr>
                      <p:cNvPr id="2" name="Object 1" hidden="1">
                        <a:extLst>
                          <a:ext uri="{FF2B5EF4-FFF2-40B4-BE49-F238E27FC236}">
                            <a16:creationId xmlns:a16="http://schemas.microsoft.com/office/drawing/2014/main" id="{11ABC757-ED20-4346-903C-7ACB6BDFF21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10" name="Google Shape;10;p45"/>
          <p:cNvGrpSpPr/>
          <p:nvPr/>
        </p:nvGrpSpPr>
        <p:grpSpPr>
          <a:xfrm>
            <a:off x="11998459" y="6162188"/>
            <a:ext cx="68500" cy="441925"/>
            <a:chOff x="11998459" y="6162188"/>
            <a:chExt cx="68500" cy="441925"/>
          </a:xfrm>
        </p:grpSpPr>
        <p:sp>
          <p:nvSpPr>
            <p:cNvPr id="11" name="Google Shape;11;p4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2" name="Google Shape;12;p4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 name="Google Shape;13;p4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 name="Google Shape;14;p4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 name="Google Shape;15;p4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 name="Google Shape;16;p4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7" name="Google Shape;17;p4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8" name="Google Shape;18;p4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9" name="Google Shape;19;p4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0" name="Google Shape;20;p4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1" name="Google Shape;21;p4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2" name="Google Shape;22;p4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3" name="Google Shape;23;p4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24" name="Google Shape;24;p45"/>
          <p:cNvPicPr preferRelativeResize="0"/>
          <p:nvPr/>
        </p:nvPicPr>
        <p:blipFill rotWithShape="1">
          <a:blip r:embed="rId22">
            <a:alphaModFix/>
          </a:blip>
          <a:srcRect/>
          <a:stretch/>
        </p:blipFill>
        <p:spPr>
          <a:xfrm rot="-5400000">
            <a:off x="11811887" y="6349041"/>
            <a:ext cx="441438" cy="68706"/>
          </a:xfrm>
          <a:prstGeom prst="rect">
            <a:avLst/>
          </a:prstGeom>
          <a:noFill/>
          <a:ln>
            <a:noFill/>
          </a:ln>
        </p:spPr>
      </p:pic>
      <p:sp>
        <p:nvSpPr>
          <p:cNvPr id="25" name="Google Shape;25;p45"/>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 name="Google Shape;26;p45"/>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4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4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4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cxnSp>
        <p:nvCxnSpPr>
          <p:cNvPr id="30" name="Google Shape;30;p4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45"/>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992058166"/>
      </p:ext>
    </p:extLst>
  </p:cSld>
  <p:clrMap bg1="lt1" tx1="dk1" bg2="dk2" tx2="lt2" accent1="accent1" accent2="accent2" accent3="accent3" accent4="accent4" accent5="accent5" accent6="accent6" hlink="hlink" folHlink="folHlink"/>
  <p:sldLayoutIdLst>
    <p:sldLayoutId id="2147483703" r:id="rId1"/>
    <p:sldLayoutId id="2147483705" r:id="rId2"/>
    <p:sldLayoutId id="2147483706" r:id="rId3"/>
    <p:sldLayoutId id="2147483710" r:id="rId4"/>
    <p:sldLayoutId id="2147483711" r:id="rId5"/>
    <p:sldLayoutId id="2147483712" r:id="rId6"/>
    <p:sldLayoutId id="2147483765"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5" r:id="rId1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jpeg"/><Relationship Id="rId18" Type="http://schemas.openxmlformats.org/officeDocument/2006/relationships/image" Target="../media/image68.jpeg"/><Relationship Id="rId3" Type="http://schemas.openxmlformats.org/officeDocument/2006/relationships/slideLayout" Target="../slideLayouts/slideLayout37.xml"/><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tags" Target="../tags/tag104.xml"/><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tags" Target="../tags/tag103.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1.emf"/><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oleObject" Target="../embeddings/oleObject59.bin"/><Relationship Id="rId9" Type="http://schemas.openxmlformats.org/officeDocument/2006/relationships/image" Target="../media/image59.png"/><Relationship Id="rId14" Type="http://schemas.openxmlformats.org/officeDocument/2006/relationships/image" Target="../media/image64.png"/></Relationships>
</file>

<file path=ppt/slides/_rels/slide11.xml.rels><?xml version="1.0" encoding="UTF-8" standalone="yes"?>
<Relationships xmlns="http://schemas.openxmlformats.org/package/2006/relationships"><Relationship Id="rId8" Type="http://schemas.openxmlformats.org/officeDocument/2006/relationships/hyperlink" Target="mailto:Mck_hc@infomineo.com" TargetMode="External"/><Relationship Id="rId3" Type="http://schemas.openxmlformats.org/officeDocument/2006/relationships/slideLayout" Target="../slideLayouts/slideLayout7.xml"/><Relationship Id="rId7" Type="http://schemas.openxmlformats.org/officeDocument/2006/relationships/hyperlink" Target="mailto:mckinsey@infomineo.com" TargetMode="Externa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72.jpe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43.emf"/><Relationship Id="rId5" Type="http://schemas.openxmlformats.org/officeDocument/2006/relationships/oleObject" Target="../embeddings/oleObject6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10.xml"/><Relationship Id="rId7" Type="http://schemas.openxmlformats.org/officeDocument/2006/relationships/image" Target="../media/image48.svg"/><Relationship Id="rId2" Type="http://schemas.openxmlformats.org/officeDocument/2006/relationships/slideLayout" Target="../slideLayouts/slideLayout51.xml"/><Relationship Id="rId1" Type="http://schemas.openxmlformats.org/officeDocument/2006/relationships/tags" Target="../tags/tag109.xml"/><Relationship Id="rId6" Type="http://schemas.openxmlformats.org/officeDocument/2006/relationships/image" Target="../media/image47.png"/><Relationship Id="rId5" Type="http://schemas.openxmlformats.org/officeDocument/2006/relationships/image" Target="../media/image44.emf"/><Relationship Id="rId4" Type="http://schemas.openxmlformats.org/officeDocument/2006/relationships/oleObject" Target="../embeddings/oleObject62.bin"/><Relationship Id="rId9" Type="http://schemas.openxmlformats.org/officeDocument/2006/relationships/image" Target="../media/image74.png"/></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76.svg"/><Relationship Id="rId18" Type="http://schemas.openxmlformats.org/officeDocument/2006/relationships/image" Target="../media/image56.png"/><Relationship Id="rId3" Type="http://schemas.openxmlformats.org/officeDocument/2006/relationships/notesSlide" Target="../notesSlides/notesSlide11.xml"/><Relationship Id="rId7" Type="http://schemas.openxmlformats.org/officeDocument/2006/relationships/image" Target="../media/image48.svg"/><Relationship Id="rId12" Type="http://schemas.openxmlformats.org/officeDocument/2006/relationships/image" Target="../media/image75.png"/><Relationship Id="rId17" Type="http://schemas.openxmlformats.org/officeDocument/2006/relationships/image" Target="../media/image68.jpeg"/><Relationship Id="rId2" Type="http://schemas.openxmlformats.org/officeDocument/2006/relationships/slideLayout" Target="../slideLayouts/slideLayout51.xml"/><Relationship Id="rId16" Type="http://schemas.openxmlformats.org/officeDocument/2006/relationships/image" Target="../media/image58.png"/><Relationship Id="rId1" Type="http://schemas.openxmlformats.org/officeDocument/2006/relationships/tags" Target="../tags/tag110.xml"/><Relationship Id="rId6" Type="http://schemas.openxmlformats.org/officeDocument/2006/relationships/image" Target="../media/image47.png"/><Relationship Id="rId11" Type="http://schemas.openxmlformats.org/officeDocument/2006/relationships/image" Target="../media/image69.png"/><Relationship Id="rId5" Type="http://schemas.openxmlformats.org/officeDocument/2006/relationships/image" Target="../media/image44.emf"/><Relationship Id="rId15" Type="http://schemas.openxmlformats.org/officeDocument/2006/relationships/image" Target="../media/image78.svg"/><Relationship Id="rId10" Type="http://schemas.openxmlformats.org/officeDocument/2006/relationships/image" Target="../media/image60.png"/><Relationship Id="rId19" Type="http://schemas.openxmlformats.org/officeDocument/2006/relationships/image" Target="../media/image79.png"/><Relationship Id="rId4" Type="http://schemas.openxmlformats.org/officeDocument/2006/relationships/oleObject" Target="../embeddings/oleObject63.bin"/><Relationship Id="rId9" Type="http://schemas.openxmlformats.org/officeDocument/2006/relationships/image" Target="../media/image59.png"/><Relationship Id="rId14" Type="http://schemas.openxmlformats.org/officeDocument/2006/relationships/image" Target="../media/image77.png"/></Relationships>
</file>

<file path=ppt/slides/_rels/slide15.xml.rels><?xml version="1.0" encoding="UTF-8" standalone="yes"?>
<Relationships xmlns="http://schemas.openxmlformats.org/package/2006/relationships"><Relationship Id="rId8" Type="http://schemas.openxmlformats.org/officeDocument/2006/relationships/image" Target="../media/image68.jpeg"/><Relationship Id="rId13" Type="http://schemas.openxmlformats.org/officeDocument/2006/relationships/image" Target="../media/image80.png"/><Relationship Id="rId3" Type="http://schemas.openxmlformats.org/officeDocument/2006/relationships/notesSlide" Target="../notesSlides/notesSlide12.xml"/><Relationship Id="rId7" Type="http://schemas.openxmlformats.org/officeDocument/2006/relationships/image" Target="../media/image48.svg"/><Relationship Id="rId12" Type="http://schemas.openxmlformats.org/officeDocument/2006/relationships/image" Target="../media/image69.png"/><Relationship Id="rId17" Type="http://schemas.openxmlformats.org/officeDocument/2006/relationships/image" Target="../media/image83.svg"/><Relationship Id="rId2" Type="http://schemas.openxmlformats.org/officeDocument/2006/relationships/slideLayout" Target="../slideLayouts/slideLayout51.xml"/><Relationship Id="rId16" Type="http://schemas.openxmlformats.org/officeDocument/2006/relationships/image" Target="../media/image82.png"/><Relationship Id="rId1" Type="http://schemas.openxmlformats.org/officeDocument/2006/relationships/tags" Target="../tags/tag111.xml"/><Relationship Id="rId6" Type="http://schemas.openxmlformats.org/officeDocument/2006/relationships/image" Target="../media/image47.png"/><Relationship Id="rId11" Type="http://schemas.openxmlformats.org/officeDocument/2006/relationships/image" Target="../media/image60.png"/><Relationship Id="rId5" Type="http://schemas.openxmlformats.org/officeDocument/2006/relationships/image" Target="../media/image44.emf"/><Relationship Id="rId15" Type="http://schemas.openxmlformats.org/officeDocument/2006/relationships/image" Target="../media/image65.png"/><Relationship Id="rId10" Type="http://schemas.openxmlformats.org/officeDocument/2006/relationships/image" Target="../media/image59.png"/><Relationship Id="rId4" Type="http://schemas.openxmlformats.org/officeDocument/2006/relationships/oleObject" Target="../embeddings/oleObject64.bin"/><Relationship Id="rId9" Type="http://schemas.openxmlformats.org/officeDocument/2006/relationships/image" Target="../media/image70.png"/><Relationship Id="rId14" Type="http://schemas.openxmlformats.org/officeDocument/2006/relationships/image" Target="../media/image81.svg"/></Relationships>
</file>

<file path=ppt/slides/_rels/slide16.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svg"/><Relationship Id="rId18" Type="http://schemas.openxmlformats.org/officeDocument/2006/relationships/image" Target="../media/image96.png"/><Relationship Id="rId3" Type="http://schemas.openxmlformats.org/officeDocument/2006/relationships/notesSlide" Target="../notesSlides/notesSlide13.xml"/><Relationship Id="rId21" Type="http://schemas.microsoft.com/office/2007/relationships/hdphoto" Target="../media/hdphoto7.wdp"/><Relationship Id="rId7" Type="http://schemas.openxmlformats.org/officeDocument/2006/relationships/image" Target="../media/image85.png"/><Relationship Id="rId12" Type="http://schemas.openxmlformats.org/officeDocument/2006/relationships/image" Target="../media/image90.png"/><Relationship Id="rId17" Type="http://schemas.openxmlformats.org/officeDocument/2006/relationships/image" Target="../media/image95.svg"/><Relationship Id="rId2" Type="http://schemas.openxmlformats.org/officeDocument/2006/relationships/slideLayout" Target="../slideLayouts/slideLayout59.xml"/><Relationship Id="rId16" Type="http://schemas.openxmlformats.org/officeDocument/2006/relationships/image" Target="../media/image94.png"/><Relationship Id="rId20" Type="http://schemas.openxmlformats.org/officeDocument/2006/relationships/image" Target="../media/image98.png"/><Relationship Id="rId1" Type="http://schemas.openxmlformats.org/officeDocument/2006/relationships/tags" Target="../tags/tag112.xml"/><Relationship Id="rId6" Type="http://schemas.openxmlformats.org/officeDocument/2006/relationships/image" Target="../media/image84.png"/><Relationship Id="rId11" Type="http://schemas.openxmlformats.org/officeDocument/2006/relationships/image" Target="../media/image89.svg"/><Relationship Id="rId5" Type="http://schemas.openxmlformats.org/officeDocument/2006/relationships/image" Target="../media/image31.emf"/><Relationship Id="rId15" Type="http://schemas.openxmlformats.org/officeDocument/2006/relationships/image" Target="../media/image93.svg"/><Relationship Id="rId10" Type="http://schemas.openxmlformats.org/officeDocument/2006/relationships/image" Target="../media/image88.png"/><Relationship Id="rId19" Type="http://schemas.openxmlformats.org/officeDocument/2006/relationships/image" Target="../media/image97.svg"/><Relationship Id="rId4" Type="http://schemas.openxmlformats.org/officeDocument/2006/relationships/oleObject" Target="../embeddings/oleObject65.bin"/><Relationship Id="rId9" Type="http://schemas.openxmlformats.org/officeDocument/2006/relationships/image" Target="../media/image87.svg"/><Relationship Id="rId14" Type="http://schemas.openxmlformats.org/officeDocument/2006/relationships/image" Target="../media/image92.png"/></Relationships>
</file>

<file path=ppt/slides/_rels/slide17.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oleObject" Target="../embeddings/oleObject66.bin"/><Relationship Id="rId7" Type="http://schemas.openxmlformats.org/officeDocument/2006/relationships/image" Target="../media/image101.png"/><Relationship Id="rId12" Type="http://schemas.openxmlformats.org/officeDocument/2006/relationships/image" Target="../media/image89.svg"/><Relationship Id="rId2" Type="http://schemas.openxmlformats.org/officeDocument/2006/relationships/slideLayout" Target="../slideLayouts/slideLayout60.xml"/><Relationship Id="rId1" Type="http://schemas.openxmlformats.org/officeDocument/2006/relationships/tags" Target="../tags/tag113.xml"/><Relationship Id="rId6" Type="http://schemas.openxmlformats.org/officeDocument/2006/relationships/image" Target="../media/image100.svg"/><Relationship Id="rId11" Type="http://schemas.openxmlformats.org/officeDocument/2006/relationships/image" Target="../media/image88.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31.emf"/><Relationship Id="rId9" Type="http://schemas.openxmlformats.org/officeDocument/2006/relationships/image" Target="../media/image103.png"/></Relationships>
</file>

<file path=ppt/slides/_rels/slide18.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oleObject" Target="../embeddings/oleObject67.bin"/><Relationship Id="rId7" Type="http://schemas.openxmlformats.org/officeDocument/2006/relationships/image" Target="../media/image84.png"/><Relationship Id="rId2" Type="http://schemas.openxmlformats.org/officeDocument/2006/relationships/slideLayout" Target="../slideLayouts/slideLayout61.xml"/><Relationship Id="rId1" Type="http://schemas.openxmlformats.org/officeDocument/2006/relationships/tags" Target="../tags/tag114.xml"/><Relationship Id="rId6" Type="http://schemas.microsoft.com/office/2007/relationships/hdphoto" Target="../media/hdphoto7.wdp"/><Relationship Id="rId5" Type="http://schemas.openxmlformats.org/officeDocument/2006/relationships/image" Target="../media/image98.png"/><Relationship Id="rId10" Type="http://schemas.openxmlformats.org/officeDocument/2006/relationships/image" Target="../media/image106.svg"/><Relationship Id="rId4" Type="http://schemas.openxmlformats.org/officeDocument/2006/relationships/image" Target="../media/image31.emf"/><Relationship Id="rId9" Type="http://schemas.openxmlformats.org/officeDocument/2006/relationships/image" Target="../media/image105.png"/></Relationships>
</file>

<file path=ppt/slides/_rels/slide19.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91.svg"/><Relationship Id="rId3" Type="http://schemas.openxmlformats.org/officeDocument/2006/relationships/oleObject" Target="../embeddings/oleObject68.bin"/><Relationship Id="rId7" Type="http://schemas.microsoft.com/office/2007/relationships/hdphoto" Target="../media/hdphoto8.wdp"/><Relationship Id="rId12" Type="http://schemas.openxmlformats.org/officeDocument/2006/relationships/image" Target="../media/image90.png"/><Relationship Id="rId2" Type="http://schemas.openxmlformats.org/officeDocument/2006/relationships/slideLayout" Target="../slideLayouts/slideLayout62.xml"/><Relationship Id="rId1" Type="http://schemas.openxmlformats.org/officeDocument/2006/relationships/tags" Target="../tags/tag115.xml"/><Relationship Id="rId6" Type="http://schemas.openxmlformats.org/officeDocument/2006/relationships/image" Target="../media/image108.png"/><Relationship Id="rId11" Type="http://schemas.microsoft.com/office/2007/relationships/hdphoto" Target="../media/hdphoto9.wdp"/><Relationship Id="rId5" Type="http://schemas.openxmlformats.org/officeDocument/2006/relationships/image" Target="../media/image107.emf"/><Relationship Id="rId10" Type="http://schemas.openxmlformats.org/officeDocument/2006/relationships/image" Target="../media/image111.png"/><Relationship Id="rId4" Type="http://schemas.openxmlformats.org/officeDocument/2006/relationships/image" Target="../media/image31.emf"/><Relationship Id="rId9" Type="http://schemas.openxmlformats.org/officeDocument/2006/relationships/image" Target="../media/image110.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1.xml"/><Relationship Id="rId1" Type="http://schemas.openxmlformats.org/officeDocument/2006/relationships/tags" Target="../tags/tag93.xml"/><Relationship Id="rId5" Type="http://schemas.openxmlformats.org/officeDocument/2006/relationships/image" Target="../media/image34.jp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oleObject" Target="../embeddings/oleObject69.bin"/><Relationship Id="rId7" Type="http://schemas.openxmlformats.org/officeDocument/2006/relationships/image" Target="../media/image84.png"/><Relationship Id="rId2" Type="http://schemas.openxmlformats.org/officeDocument/2006/relationships/slideLayout" Target="../slideLayouts/slideLayout63.xml"/><Relationship Id="rId1" Type="http://schemas.openxmlformats.org/officeDocument/2006/relationships/tags" Target="../tags/tag116.xml"/><Relationship Id="rId6" Type="http://schemas.microsoft.com/office/2007/relationships/hdphoto" Target="../media/hdphoto7.wdp"/><Relationship Id="rId5" Type="http://schemas.openxmlformats.org/officeDocument/2006/relationships/image" Target="../media/image98.png"/><Relationship Id="rId4" Type="http://schemas.openxmlformats.org/officeDocument/2006/relationships/image" Target="../media/image3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70.bin"/><Relationship Id="rId7" Type="http://schemas.openxmlformats.org/officeDocument/2006/relationships/image" Target="../media/image114.svg"/><Relationship Id="rId2" Type="http://schemas.openxmlformats.org/officeDocument/2006/relationships/slideLayout" Target="../slideLayouts/slideLayout64.xml"/><Relationship Id="rId1" Type="http://schemas.openxmlformats.org/officeDocument/2006/relationships/tags" Target="../tags/tag117.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43.emf"/><Relationship Id="rId5" Type="http://schemas.openxmlformats.org/officeDocument/2006/relationships/oleObject" Target="../embeddings/oleObject71.bin"/><Relationship Id="rId4"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3" Type="http://schemas.openxmlformats.org/officeDocument/2006/relationships/slideLayout" Target="../slideLayouts/slideLayout36.xml"/><Relationship Id="rId7" Type="http://schemas.openxmlformats.org/officeDocument/2006/relationships/image" Target="../media/image116.png"/><Relationship Id="rId12" Type="http://schemas.openxmlformats.org/officeDocument/2006/relationships/image" Target="../media/image121.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15.png"/><Relationship Id="rId11" Type="http://schemas.openxmlformats.org/officeDocument/2006/relationships/image" Target="../media/image120.jpeg"/><Relationship Id="rId5" Type="http://schemas.openxmlformats.org/officeDocument/2006/relationships/image" Target="../media/image1.emf"/><Relationship Id="rId10" Type="http://schemas.openxmlformats.org/officeDocument/2006/relationships/image" Target="../media/image119.png"/><Relationship Id="rId4" Type="http://schemas.openxmlformats.org/officeDocument/2006/relationships/oleObject" Target="../embeddings/oleObject72.bin"/><Relationship Id="rId9" Type="http://schemas.openxmlformats.org/officeDocument/2006/relationships/image" Target="../media/image118.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43.emf"/><Relationship Id="rId5" Type="http://schemas.openxmlformats.org/officeDocument/2006/relationships/oleObject" Target="../embeddings/oleObject73.bin"/><Relationship Id="rId4" Type="http://schemas.openxmlformats.org/officeDocument/2006/relationships/notesSlide" Target="../notesSlides/notesSlide15.xml"/></Relationships>
</file>

<file path=ppt/slides/_rels/slide25.xml.rels><?xml version="1.0" encoding="UTF-8" standalone="yes"?>
<Relationships xmlns="http://schemas.openxmlformats.org/package/2006/relationships"><Relationship Id="rId13" Type="http://schemas.openxmlformats.org/officeDocument/2006/relationships/tags" Target="../tags/tag136.xml"/><Relationship Id="rId18" Type="http://schemas.openxmlformats.org/officeDocument/2006/relationships/tags" Target="../tags/tag141.xml"/><Relationship Id="rId26" Type="http://schemas.openxmlformats.org/officeDocument/2006/relationships/tags" Target="../tags/tag149.xml"/><Relationship Id="rId39" Type="http://schemas.openxmlformats.org/officeDocument/2006/relationships/chart" Target="../charts/chart2.xml"/><Relationship Id="rId21" Type="http://schemas.openxmlformats.org/officeDocument/2006/relationships/tags" Target="../tags/tag144.xml"/><Relationship Id="rId34" Type="http://schemas.openxmlformats.org/officeDocument/2006/relationships/slideLayout" Target="../slideLayouts/slideLayout71.xm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chart" Target="../charts/chart1.xml"/><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tags" Target="../tags/tag143.xml"/><Relationship Id="rId29" Type="http://schemas.openxmlformats.org/officeDocument/2006/relationships/tags" Target="../tags/tag152.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image" Target="../media/image44.emf"/><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oleObject" Target="../embeddings/oleObject74.bin"/><Relationship Id="rId10" Type="http://schemas.openxmlformats.org/officeDocument/2006/relationships/tags" Target="../tags/tag133.xml"/><Relationship Id="rId19" Type="http://schemas.openxmlformats.org/officeDocument/2006/relationships/tags" Target="../tags/tag142.xml"/><Relationship Id="rId31" Type="http://schemas.openxmlformats.org/officeDocument/2006/relationships/tags" Target="../tags/tag154.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notesSlide" Target="../notesSlides/notesSlide16.xml"/><Relationship Id="rId8" Type="http://schemas.openxmlformats.org/officeDocument/2006/relationships/tags" Target="../tags/tag131.xml"/><Relationship Id="rId3" Type="http://schemas.openxmlformats.org/officeDocument/2006/relationships/tags" Target="../tags/tag12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43.emf"/><Relationship Id="rId5" Type="http://schemas.openxmlformats.org/officeDocument/2006/relationships/oleObject" Target="../embeddings/oleObject75.bin"/><Relationship Id="rId4" Type="http://schemas.openxmlformats.org/officeDocument/2006/relationships/notesSlide" Target="../notesSlides/notesSlide1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28.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slideLayout" Target="../slideLayouts/slideLayout54.xml"/><Relationship Id="rId7" Type="http://schemas.openxmlformats.org/officeDocument/2006/relationships/image" Target="../media/image124.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23.jpe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29.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slideLayout" Target="../slideLayouts/slideLayout54.xml"/><Relationship Id="rId7" Type="http://schemas.openxmlformats.org/officeDocument/2006/relationships/image" Target="../media/image126.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25.png"/><Relationship Id="rId5" Type="http://schemas.openxmlformats.org/officeDocument/2006/relationships/image" Target="../media/image1.emf"/><Relationship Id="rId4" Type="http://schemas.openxmlformats.org/officeDocument/2006/relationships/oleObject" Target="../embeddings/oleObject78.bin"/></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slideLayout" Target="../slideLayouts/slideLayout34.xml"/><Relationship Id="rId1" Type="http://schemas.openxmlformats.org/officeDocument/2006/relationships/tags" Target="../tags/tag94.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emf"/><Relationship Id="rId10" Type="http://schemas.openxmlformats.org/officeDocument/2006/relationships/image" Target="../media/image40.png"/><Relationship Id="rId4" Type="http://schemas.openxmlformats.org/officeDocument/2006/relationships/oleObject" Target="../embeddings/oleObject52.bin"/><Relationship Id="rId9" Type="http://schemas.openxmlformats.org/officeDocument/2006/relationships/image" Target="../media/image3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43.emf"/><Relationship Id="rId5" Type="http://schemas.openxmlformats.org/officeDocument/2006/relationships/oleObject" Target="../embeddings/oleObject5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4.xml"/><Relationship Id="rId7" Type="http://schemas.openxmlformats.org/officeDocument/2006/relationships/image" Target="../media/image46.png"/><Relationship Id="rId2" Type="http://schemas.openxmlformats.org/officeDocument/2006/relationships/slideLayout" Target="../slideLayouts/slideLayout35.xml"/><Relationship Id="rId1" Type="http://schemas.openxmlformats.org/officeDocument/2006/relationships/tags" Target="../tags/tag97.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44.emf"/><Relationship Id="rId10" Type="http://schemas.openxmlformats.org/officeDocument/2006/relationships/image" Target="../media/image49.png"/><Relationship Id="rId4" Type="http://schemas.openxmlformats.org/officeDocument/2006/relationships/oleObject" Target="../embeddings/oleObject54.bin"/><Relationship Id="rId9" Type="http://schemas.openxmlformats.org/officeDocument/2006/relationships/image" Target="../media/image48.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image" Target="../media/image51.png"/><Relationship Id="rId5" Type="http://schemas.openxmlformats.org/officeDocument/2006/relationships/image" Target="../media/image44.emf"/><Relationship Id="rId4" Type="http://schemas.openxmlformats.org/officeDocument/2006/relationships/oleObject" Target="../embeddings/oleObject55.bin"/></Relationships>
</file>

<file path=ppt/slides/_rels/slide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6.xml"/><Relationship Id="rId7" Type="http://schemas.openxmlformats.org/officeDocument/2006/relationships/image" Target="../media/image53.png"/><Relationship Id="rId2" Type="http://schemas.openxmlformats.org/officeDocument/2006/relationships/slideLayout" Target="../slideLayouts/slideLayout35.xml"/><Relationship Id="rId1" Type="http://schemas.openxmlformats.org/officeDocument/2006/relationships/tags" Target="../tags/tag99.xml"/><Relationship Id="rId6" Type="http://schemas.openxmlformats.org/officeDocument/2006/relationships/image" Target="../media/image52.png"/><Relationship Id="rId5" Type="http://schemas.openxmlformats.org/officeDocument/2006/relationships/image" Target="../media/image31.emf"/><Relationship Id="rId4" Type="http://schemas.openxmlformats.org/officeDocument/2006/relationships/oleObject" Target="../embeddings/oleObject56.bin"/><Relationship Id="rId9" Type="http://schemas.openxmlformats.org/officeDocument/2006/relationships/image" Target="../media/image5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100.xml"/><Relationship Id="rId6" Type="http://schemas.openxmlformats.org/officeDocument/2006/relationships/image" Target="../media/image55.png"/><Relationship Id="rId5" Type="http://schemas.openxmlformats.org/officeDocument/2006/relationships/image" Target="../media/image14.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43.emf"/><Relationship Id="rId5" Type="http://schemas.openxmlformats.org/officeDocument/2006/relationships/oleObject" Target="../embeddings/oleObject58.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68251B-46B5-44B8-AC6F-44BC9FA28155}"/>
              </a:ext>
            </a:extLst>
          </p:cNvPr>
          <p:cNvGraphicFramePr>
            <a:graphicFrameLocks noChangeAspect="1"/>
          </p:cNvGraphicFramePr>
          <p:nvPr>
            <p:custDataLst>
              <p:tags r:id="rId1"/>
            </p:custDataLst>
            <p:extLst>
              <p:ext uri="{D42A27DB-BD31-4B8C-83A1-F6EECF244321}">
                <p14:modId xmlns:p14="http://schemas.microsoft.com/office/powerpoint/2010/main" val="1695158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AC6CE19-45A6-4CF6-9E1D-6A4ABBFB31A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500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6" name="Date Placeholder 5">
            <a:extLst>
              <a:ext uri="{FF2B5EF4-FFF2-40B4-BE49-F238E27FC236}">
                <a16:creationId xmlns:a16="http://schemas.microsoft.com/office/drawing/2014/main" id="{C71D482B-1030-4219-B9F8-749BEC41361A}"/>
              </a:ext>
            </a:extLst>
          </p:cNvPr>
          <p:cNvSpPr>
            <a:spLocks noGrp="1"/>
          </p:cNvSpPr>
          <p:nvPr>
            <p:ph type="dt" sz="half" idx="10"/>
          </p:nvPr>
        </p:nvSpPr>
        <p:spPr/>
        <p:txBody>
          <a:bodyPr/>
          <a:lstStyle/>
          <a:p>
            <a:pPr marL="228600" indent="-228600">
              <a:lnSpc>
                <a:spcPct val="90000"/>
              </a:lnSpc>
              <a:spcBef>
                <a:spcPts val="1000"/>
              </a:spcBef>
              <a:buFont typeface="Arial" panose="020B0604020202020204" pitchFamily="34" charset="0"/>
              <a:buNone/>
            </a:pPr>
            <a:fld id="{D6D669E6-7AE0-4F55-80C2-3789D846AE96}" type="datetime4">
              <a:rPr lang="en-US" smtClean="0"/>
              <a:t>July 11, 2023</a:t>
            </a:fld>
            <a:endParaRPr lang="en-IN" dirty="0"/>
          </a:p>
        </p:txBody>
      </p:sp>
      <p:sp>
        <p:nvSpPr>
          <p:cNvPr id="2" name="Title 1">
            <a:extLst>
              <a:ext uri="{FF2B5EF4-FFF2-40B4-BE49-F238E27FC236}">
                <a16:creationId xmlns:a16="http://schemas.microsoft.com/office/drawing/2014/main" id="{6FC10C2B-E255-41A2-B745-2F3908F1D10E}"/>
              </a:ext>
            </a:extLst>
          </p:cNvPr>
          <p:cNvSpPr>
            <a:spLocks noGrp="1"/>
          </p:cNvSpPr>
          <p:nvPr>
            <p:ph type="ctrTitle"/>
          </p:nvPr>
        </p:nvSpPr>
        <p:spPr>
          <a:xfrm>
            <a:off x="1631951" y="2875313"/>
            <a:ext cx="4799330" cy="2659190"/>
          </a:xfrm>
        </p:spPr>
        <p:txBody>
          <a:bodyPr vert="horz"/>
          <a:lstStyle/>
          <a:p>
            <a:r>
              <a:rPr lang="en-IN" sz="4800" dirty="0"/>
              <a:t>Research &amp; Analytics capabilities overview</a:t>
            </a:r>
          </a:p>
        </p:txBody>
      </p:sp>
    </p:spTree>
    <p:extLst>
      <p:ext uri="{BB962C8B-B14F-4D97-AF65-F5344CB8AC3E}">
        <p14:creationId xmlns:p14="http://schemas.microsoft.com/office/powerpoint/2010/main" val="36506635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3C8A70-C8E8-4622-AD36-914E6277A9CA}"/>
              </a:ext>
            </a:extLst>
          </p:cNvPr>
          <p:cNvGraphicFramePr>
            <a:graphicFrameLocks noChangeAspect="1"/>
          </p:cNvGraphicFramePr>
          <p:nvPr>
            <p:custDataLst>
              <p:tags r:id="rId1"/>
            </p:custDataLst>
            <p:extLst>
              <p:ext uri="{D42A27DB-BD31-4B8C-83A1-F6EECF244321}">
                <p14:modId xmlns:p14="http://schemas.microsoft.com/office/powerpoint/2010/main" val="1128506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DA3C8A70-C8E8-4622-AD36-914E6277A9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05AB12EB-7E82-4CBD-8AD3-6343457880B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Calibri" panose="020F0502020204030204" pitchFamily="34" charset="0"/>
              <a:sym typeface="Franklin Gothic Demi" panose="020B0703020102020204" pitchFamily="34" charset="0"/>
            </a:endParaRPr>
          </a:p>
        </p:txBody>
      </p:sp>
      <p:sp>
        <p:nvSpPr>
          <p:cNvPr id="3" name="Title 2">
            <a:extLst>
              <a:ext uri="{FF2B5EF4-FFF2-40B4-BE49-F238E27FC236}">
                <a16:creationId xmlns:a16="http://schemas.microsoft.com/office/drawing/2014/main" id="{49321564-E89B-4D6D-AB4A-8AD3BF0515D7}"/>
              </a:ext>
            </a:extLst>
          </p:cNvPr>
          <p:cNvSpPr>
            <a:spLocks noGrp="1"/>
          </p:cNvSpPr>
          <p:nvPr>
            <p:ph type="title"/>
          </p:nvPr>
        </p:nvSpPr>
        <p:spPr>
          <a:xfrm>
            <a:off x="550863" y="560388"/>
            <a:ext cx="11466966" cy="1163395"/>
          </a:xfrm>
        </p:spPr>
        <p:txBody>
          <a:bodyPr vert="horz"/>
          <a:lstStyle/>
          <a:p>
            <a:r>
              <a:rPr lang="en-US" sz="2800" dirty="0">
                <a:sym typeface="Franklin Gothic"/>
              </a:rPr>
              <a:t>Infomineo and McKinsey started their collaboration in 2013 and today our McK-dedicated research team size is almost 10x larger with a global coverage</a:t>
            </a:r>
            <a:endParaRPr lang="en-IN" sz="2800" dirty="0">
              <a:sym typeface="Franklin Gothic"/>
            </a:endParaRPr>
          </a:p>
        </p:txBody>
      </p:sp>
      <p:cxnSp>
        <p:nvCxnSpPr>
          <p:cNvPr id="6" name="Straight Connector 5">
            <a:extLst>
              <a:ext uri="{FF2B5EF4-FFF2-40B4-BE49-F238E27FC236}">
                <a16:creationId xmlns:a16="http://schemas.microsoft.com/office/drawing/2014/main" id="{93B96A28-31EB-48FE-B43B-974B503F3E88}"/>
              </a:ext>
            </a:extLst>
          </p:cNvPr>
          <p:cNvCxnSpPr>
            <a:cxnSpLocks/>
          </p:cNvCxnSpPr>
          <p:nvPr/>
        </p:nvCxnSpPr>
        <p:spPr>
          <a:xfrm>
            <a:off x="550863" y="3581791"/>
            <a:ext cx="11034918" cy="0"/>
          </a:xfrm>
          <a:prstGeom prst="line">
            <a:avLst/>
          </a:prstGeom>
          <a:ln w="19050">
            <a:solidFill>
              <a:schemeClr val="tx2"/>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331918F3-B0F6-4D67-A31E-2E9C5BEA3CAB}"/>
              </a:ext>
            </a:extLst>
          </p:cNvPr>
          <p:cNvSpPr txBox="1">
            <a:spLocks/>
          </p:cNvSpPr>
          <p:nvPr/>
        </p:nvSpPr>
        <p:spPr>
          <a:xfrm>
            <a:off x="531813" y="1848391"/>
            <a:ext cx="1467855"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Infomineo starts a retainer with M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3 </a:t>
            </a:r>
            <a:r>
              <a:rPr lang="en-US" sz="1200" b="1" dirty="0">
                <a:solidFill>
                  <a:srgbClr val="444444"/>
                </a:solidFill>
                <a:latin typeface="Calibri" panose="020F0502020204030204" pitchFamily="34" charset="0"/>
                <a:cs typeface="Calibri" panose="020F0502020204030204" pitchFamily="34" charset="0"/>
              </a:rPr>
              <a:t>FTEs </a:t>
            </a:r>
            <a:r>
              <a:rPr lang="en-US" sz="1200" dirty="0">
                <a:solidFill>
                  <a:srgbClr val="444444"/>
                </a:solidFill>
                <a:latin typeface="Calibri" panose="020F0502020204030204" pitchFamily="34" charset="0"/>
                <a:cs typeface="Calibri" panose="020F0502020204030204" pitchFamily="34" charset="0"/>
              </a:rPr>
              <a:t>supporting the </a:t>
            </a:r>
            <a:r>
              <a:rPr lang="en-US" sz="1200" b="1" dirty="0">
                <a:solidFill>
                  <a:srgbClr val="444444"/>
                </a:solidFill>
                <a:latin typeface="Calibri" panose="020F0502020204030204" pitchFamily="34" charset="0"/>
                <a:cs typeface="Calibri" panose="020F0502020204030204" pitchFamily="34" charset="0"/>
              </a:rPr>
              <a:t>Casablanca, Paris, Johannesburg offices</a:t>
            </a:r>
            <a:endParaRPr kumimoji="0" lang="en-US" sz="12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endParaRPr>
          </a:p>
        </p:txBody>
      </p:sp>
      <p:cxnSp>
        <p:nvCxnSpPr>
          <p:cNvPr id="18" name="Straight Connector 17">
            <a:extLst>
              <a:ext uri="{FF2B5EF4-FFF2-40B4-BE49-F238E27FC236}">
                <a16:creationId xmlns:a16="http://schemas.microsoft.com/office/drawing/2014/main" id="{8A78478F-63FF-4049-81C6-228771F8C1C1}"/>
              </a:ext>
            </a:extLst>
          </p:cNvPr>
          <p:cNvCxnSpPr>
            <a:cxnSpLocks/>
          </p:cNvCxnSpPr>
          <p:nvPr/>
        </p:nvCxnSpPr>
        <p:spPr>
          <a:xfrm flipV="1">
            <a:off x="1265740" y="2834521"/>
            <a:ext cx="0" cy="33734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4FD05B2-3712-45A3-9128-B459FC1F9EA5}"/>
              </a:ext>
            </a:extLst>
          </p:cNvPr>
          <p:cNvSpPr txBox="1">
            <a:spLocks/>
          </p:cNvSpPr>
          <p:nvPr/>
        </p:nvSpPr>
        <p:spPr>
          <a:xfrm>
            <a:off x="1022275" y="4241447"/>
            <a:ext cx="2351238"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Provision of  </a:t>
            </a:r>
            <a:r>
              <a:rPr kumimoji="0" lang="en-US" sz="12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Sunday coverage </a:t>
            </a:r>
            <a:r>
              <a:rPr kumimoji="0" lang="en-US" sz="120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with the opening of </a:t>
            </a:r>
            <a:r>
              <a:rPr kumimoji="0" lang="en-US" sz="12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Infomineo’s Cairo office to better support MEO teams </a:t>
            </a:r>
          </a:p>
        </p:txBody>
      </p:sp>
      <p:cxnSp>
        <p:nvCxnSpPr>
          <p:cNvPr id="76" name="Straight Connector 75">
            <a:extLst>
              <a:ext uri="{FF2B5EF4-FFF2-40B4-BE49-F238E27FC236}">
                <a16:creationId xmlns:a16="http://schemas.microsoft.com/office/drawing/2014/main" id="{B8A09DC7-DD36-4BDC-9212-D4E432BC6497}"/>
              </a:ext>
            </a:extLst>
          </p:cNvPr>
          <p:cNvCxnSpPr>
            <a:cxnSpLocks/>
          </p:cNvCxnSpPr>
          <p:nvPr/>
        </p:nvCxnSpPr>
        <p:spPr>
          <a:xfrm flipH="1" flipV="1">
            <a:off x="2197893" y="4013676"/>
            <a:ext cx="0" cy="24839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135D30A-AC93-4DBC-BF8B-0587DE08A6B5}"/>
              </a:ext>
            </a:extLst>
          </p:cNvPr>
          <p:cNvSpPr txBox="1">
            <a:spLocks/>
          </p:cNvSpPr>
          <p:nvPr/>
        </p:nvSpPr>
        <p:spPr>
          <a:xfrm>
            <a:off x="6266336" y="2223156"/>
            <a:ext cx="16082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Setting up a </a:t>
            </a:r>
            <a:r>
              <a:rPr lang="en-US" sz="1200" b="1" dirty="0">
                <a:solidFill>
                  <a:srgbClr val="444444"/>
                </a:solidFill>
                <a:latin typeface="Calibri" panose="020F0502020204030204" pitchFamily="34" charset="0"/>
                <a:cs typeface="Calibri" panose="020F0502020204030204" pitchFamily="34" charset="0"/>
              </a:rPr>
              <a:t>Healthcare-specific research team </a:t>
            </a:r>
            <a:endParaRPr kumimoji="0" lang="en-US" sz="12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endParaRPr>
          </a:p>
        </p:txBody>
      </p:sp>
      <p:cxnSp>
        <p:nvCxnSpPr>
          <p:cNvPr id="95" name="Straight Connector 94">
            <a:extLst>
              <a:ext uri="{FF2B5EF4-FFF2-40B4-BE49-F238E27FC236}">
                <a16:creationId xmlns:a16="http://schemas.microsoft.com/office/drawing/2014/main" id="{9DB73AD8-7D7D-DE9F-4C6B-2093BD379843}"/>
              </a:ext>
            </a:extLst>
          </p:cNvPr>
          <p:cNvCxnSpPr>
            <a:cxnSpLocks/>
            <a:endCxn id="64" idx="2"/>
          </p:cNvCxnSpPr>
          <p:nvPr/>
        </p:nvCxnSpPr>
        <p:spPr>
          <a:xfrm flipV="1">
            <a:off x="7070466" y="2592488"/>
            <a:ext cx="1" cy="58187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0ED702B4-F37D-C19D-0C16-8F677336D34A}"/>
              </a:ext>
            </a:extLst>
          </p:cNvPr>
          <p:cNvSpPr txBox="1">
            <a:spLocks/>
          </p:cNvSpPr>
          <p:nvPr/>
        </p:nvSpPr>
        <p:spPr>
          <a:xfrm>
            <a:off x="8946136" y="4356069"/>
            <a:ext cx="216330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In </a:t>
            </a:r>
            <a:r>
              <a:rPr kumimoji="0" lang="en-US" sz="12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February 2022</a:t>
            </a:r>
            <a:r>
              <a:rPr kumimoji="0" lang="en-US" sz="12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 we opened our </a:t>
            </a:r>
            <a:r>
              <a:rPr kumimoji="0" lang="en-US" sz="12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Mexico office </a:t>
            </a:r>
            <a:r>
              <a:rPr kumimoji="0" lang="en-US" sz="12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to </a:t>
            </a:r>
            <a:r>
              <a:rPr kumimoji="0" lang="en-US" sz="12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rPr>
              <a:t>better support McK offices in the Americas</a:t>
            </a:r>
            <a:endParaRPr kumimoji="0" lang="en-US" sz="120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endParaRPr>
          </a:p>
        </p:txBody>
      </p:sp>
      <p:cxnSp>
        <p:nvCxnSpPr>
          <p:cNvPr id="102" name="Straight Connector 101">
            <a:extLst>
              <a:ext uri="{FF2B5EF4-FFF2-40B4-BE49-F238E27FC236}">
                <a16:creationId xmlns:a16="http://schemas.microsoft.com/office/drawing/2014/main" id="{6F429435-DB25-177C-C4B0-574FF071CEA1}"/>
              </a:ext>
            </a:extLst>
          </p:cNvPr>
          <p:cNvCxnSpPr>
            <a:cxnSpLocks/>
          </p:cNvCxnSpPr>
          <p:nvPr/>
        </p:nvCxnSpPr>
        <p:spPr>
          <a:xfrm flipV="1">
            <a:off x="10027788" y="4013676"/>
            <a:ext cx="0" cy="33734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29421487-A7F5-0F72-D85C-A1550938B3C1}"/>
              </a:ext>
            </a:extLst>
          </p:cNvPr>
          <p:cNvSpPr txBox="1">
            <a:spLocks/>
          </p:cNvSpPr>
          <p:nvPr/>
        </p:nvSpPr>
        <p:spPr>
          <a:xfrm>
            <a:off x="8707533" y="1848391"/>
            <a:ext cx="2914251"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444444"/>
                </a:solidFill>
                <a:latin typeface="Calibri" panose="020F0502020204030204" pitchFamily="34" charset="0"/>
                <a:cs typeface="Calibri" panose="020F0502020204030204" pitchFamily="34" charset="0"/>
              </a:rPr>
              <a:t>Very high staffing levels (85-90%) </a:t>
            </a:r>
            <a:r>
              <a:rPr lang="en-US" sz="1200" dirty="0">
                <a:solidFill>
                  <a:srgbClr val="444444"/>
                </a:solidFill>
                <a:latin typeface="Calibri" panose="020F0502020204030204" pitchFamily="34" charset="0"/>
                <a:cs typeface="Calibri" panose="020F0502020204030204" pitchFamily="34" charset="0"/>
              </a:rPr>
              <a:t>which trigger regular capacity increases to properly absorb the demand from McK teams </a:t>
            </a:r>
          </a:p>
        </p:txBody>
      </p:sp>
      <p:cxnSp>
        <p:nvCxnSpPr>
          <p:cNvPr id="97" name="Straight Connector 96">
            <a:extLst>
              <a:ext uri="{FF2B5EF4-FFF2-40B4-BE49-F238E27FC236}">
                <a16:creationId xmlns:a16="http://schemas.microsoft.com/office/drawing/2014/main" id="{559E665F-E88E-B820-F226-534EA3A4947E}"/>
              </a:ext>
            </a:extLst>
          </p:cNvPr>
          <p:cNvCxnSpPr>
            <a:cxnSpLocks/>
          </p:cNvCxnSpPr>
          <p:nvPr/>
        </p:nvCxnSpPr>
        <p:spPr>
          <a:xfrm flipV="1">
            <a:off x="10170565" y="2469337"/>
            <a:ext cx="0" cy="28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8B737E4-5DF7-CD03-569F-383AD4E04C7D}"/>
              </a:ext>
            </a:extLst>
          </p:cNvPr>
          <p:cNvCxnSpPr>
            <a:cxnSpLocks/>
          </p:cNvCxnSpPr>
          <p:nvPr/>
        </p:nvCxnSpPr>
        <p:spPr>
          <a:xfrm>
            <a:off x="8699994" y="2469337"/>
            <a:ext cx="294114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F456602-AAF9-A94D-FB37-C209A11441B0}"/>
              </a:ext>
            </a:extLst>
          </p:cNvPr>
          <p:cNvSpPr txBox="1">
            <a:spLocks noChangeArrowheads="1"/>
          </p:cNvSpPr>
          <p:nvPr/>
        </p:nvSpPr>
        <p:spPr bwMode="auto">
          <a:xfrm>
            <a:off x="1878733"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b="1" kern="0" dirty="0">
                <a:solidFill>
                  <a:schemeClr val="tx2"/>
                </a:solidFill>
                <a:latin typeface="Arial"/>
                <a:cs typeface="Calibri" panose="020F0502020204030204" pitchFamily="34" charset="0"/>
                <a:sym typeface="Helvetica Neue Thin"/>
              </a:rPr>
              <a:t>5</a:t>
            </a:r>
            <a:r>
              <a:rPr lang="en-US" sz="1200" b="1" kern="0" dirty="0">
                <a:solidFill>
                  <a:srgbClr val="444444"/>
                </a:solidFill>
                <a:latin typeface="Arial"/>
                <a:cs typeface="Calibri" panose="020F0502020204030204" pitchFamily="34" charset="0"/>
                <a:sym typeface="Helvetica Neue Thin"/>
              </a:rPr>
              <a:t> </a:t>
            </a:r>
            <a:r>
              <a:rPr lang="en-US" sz="1000" kern="0" dirty="0">
                <a:solidFill>
                  <a:srgbClr val="444444"/>
                </a:solidFill>
                <a:latin typeface="+mj-lt"/>
                <a:cs typeface="Calibri" panose="020F0502020204030204" pitchFamily="34" charset="0"/>
                <a:sym typeface="Helvetica Neue Thin"/>
              </a:rPr>
              <a:t>FTEs</a:t>
            </a:r>
            <a:endParaRPr lang="id-ID" sz="1100" dirty="0">
              <a:solidFill>
                <a:srgbClr val="444444"/>
              </a:solidFill>
              <a:latin typeface="+mj-lt"/>
              <a:cs typeface="Calibri" panose="020F0502020204030204" pitchFamily="34" charset="0"/>
              <a:sym typeface="Helvetica Neue Thin"/>
            </a:endParaRPr>
          </a:p>
        </p:txBody>
      </p:sp>
      <p:sp>
        <p:nvSpPr>
          <p:cNvPr id="5" name="TextBox 4">
            <a:extLst>
              <a:ext uri="{FF2B5EF4-FFF2-40B4-BE49-F238E27FC236}">
                <a16:creationId xmlns:a16="http://schemas.microsoft.com/office/drawing/2014/main" id="{604CF51A-AF88-DF05-6DC4-E4ED1EB589DB}"/>
              </a:ext>
            </a:extLst>
          </p:cNvPr>
          <p:cNvSpPr txBox="1">
            <a:spLocks noChangeArrowheads="1"/>
          </p:cNvSpPr>
          <p:nvPr/>
        </p:nvSpPr>
        <p:spPr bwMode="auto">
          <a:xfrm>
            <a:off x="3827665"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sz="2000" b="1" kern="0" dirty="0">
                <a:solidFill>
                  <a:schemeClr val="tx2"/>
                </a:solidFill>
                <a:latin typeface="Arial"/>
                <a:cs typeface="Calibri" panose="020F0502020204030204" pitchFamily="34" charset="0"/>
                <a:sym typeface="Helvetica Neue Thin"/>
              </a:rPr>
              <a:t>9</a:t>
            </a:r>
            <a:r>
              <a:rPr lang="en-US" sz="1000" b="1" kern="0" dirty="0">
                <a:solidFill>
                  <a:srgbClr val="444444"/>
                </a:solidFill>
                <a:latin typeface="Arial"/>
                <a:cs typeface="Calibri" panose="020F0502020204030204" pitchFamily="34" charset="0"/>
                <a:sym typeface="Helvetica Neue Thin"/>
              </a:rPr>
              <a:t> </a:t>
            </a:r>
            <a:r>
              <a:rPr lang="en-US" sz="1000" kern="0" dirty="0">
                <a:solidFill>
                  <a:srgbClr val="444444"/>
                </a:solidFill>
                <a:latin typeface="+mj-lt"/>
                <a:cs typeface="Calibri" panose="020F0502020204030204" pitchFamily="34" charset="0"/>
                <a:sym typeface="Helvetica Neue Thin"/>
              </a:rPr>
              <a:t>FTEs</a:t>
            </a:r>
            <a:endParaRPr lang="id-ID" sz="1000" kern="0" dirty="0">
              <a:solidFill>
                <a:srgbClr val="444444"/>
              </a:solidFill>
              <a:latin typeface="+mj-lt"/>
              <a:cs typeface="Calibri" panose="020F0502020204030204" pitchFamily="34" charset="0"/>
              <a:sym typeface="Helvetica Neue Thin"/>
            </a:endParaRPr>
          </a:p>
        </p:txBody>
      </p:sp>
      <p:sp>
        <p:nvSpPr>
          <p:cNvPr id="7" name="TextBox 6">
            <a:extLst>
              <a:ext uri="{FF2B5EF4-FFF2-40B4-BE49-F238E27FC236}">
                <a16:creationId xmlns:a16="http://schemas.microsoft.com/office/drawing/2014/main" id="{47EE6CE8-9CA9-BCE6-87A7-68C8EE301B9B}"/>
              </a:ext>
            </a:extLst>
          </p:cNvPr>
          <p:cNvSpPr txBox="1">
            <a:spLocks noChangeArrowheads="1"/>
          </p:cNvSpPr>
          <p:nvPr/>
        </p:nvSpPr>
        <p:spPr bwMode="auto">
          <a:xfrm>
            <a:off x="2853199"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sz="2000" b="1" kern="0" dirty="0">
                <a:solidFill>
                  <a:schemeClr val="tx2"/>
                </a:solidFill>
                <a:latin typeface="Arial"/>
                <a:cs typeface="Calibri" panose="020F0502020204030204" pitchFamily="34" charset="0"/>
                <a:sym typeface="Helvetica Neue Thin"/>
              </a:rPr>
              <a:t>7</a:t>
            </a:r>
            <a:r>
              <a:rPr lang="en-US" sz="1000" kern="0" dirty="0">
                <a:solidFill>
                  <a:srgbClr val="444444"/>
                </a:solidFill>
                <a:latin typeface="+mj-lt"/>
                <a:cs typeface="Calibri" panose="020F0502020204030204" pitchFamily="34" charset="0"/>
                <a:sym typeface="Helvetica Neue Thin"/>
              </a:rPr>
              <a:t>FTEs</a:t>
            </a:r>
            <a:endParaRPr lang="id-ID" sz="1000" kern="0" dirty="0">
              <a:solidFill>
                <a:srgbClr val="444444"/>
              </a:solidFill>
              <a:latin typeface="+mj-lt"/>
              <a:cs typeface="Calibri" panose="020F0502020204030204" pitchFamily="34" charset="0"/>
              <a:sym typeface="Helvetica Neue Thin"/>
            </a:endParaRPr>
          </a:p>
        </p:txBody>
      </p:sp>
      <p:sp>
        <p:nvSpPr>
          <p:cNvPr id="8" name="TextBox 7">
            <a:extLst>
              <a:ext uri="{FF2B5EF4-FFF2-40B4-BE49-F238E27FC236}">
                <a16:creationId xmlns:a16="http://schemas.microsoft.com/office/drawing/2014/main" id="{5316FCF6-D232-3740-0682-B55E7DB60D06}"/>
              </a:ext>
            </a:extLst>
          </p:cNvPr>
          <p:cNvSpPr txBox="1">
            <a:spLocks noChangeArrowheads="1"/>
          </p:cNvSpPr>
          <p:nvPr/>
        </p:nvSpPr>
        <p:spPr bwMode="auto">
          <a:xfrm>
            <a:off x="4802131"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sz="2000" b="1" kern="0" dirty="0">
                <a:solidFill>
                  <a:schemeClr val="tx2"/>
                </a:solidFill>
                <a:latin typeface="Arial"/>
                <a:cs typeface="Calibri" panose="020F0502020204030204" pitchFamily="34" charset="0"/>
                <a:sym typeface="Helvetica Neue Thin"/>
              </a:rPr>
              <a:t>10</a:t>
            </a:r>
            <a:r>
              <a:rPr lang="en-US" sz="1200" b="1" kern="0" dirty="0">
                <a:solidFill>
                  <a:schemeClr val="tx2"/>
                </a:solidFill>
                <a:latin typeface="Arial"/>
                <a:cs typeface="Calibri" panose="020F0502020204030204" pitchFamily="34" charset="0"/>
                <a:sym typeface="Helvetica Neue Thin"/>
              </a:rPr>
              <a:t> </a:t>
            </a:r>
            <a:r>
              <a:rPr lang="en-US" sz="1000" kern="0" dirty="0">
                <a:solidFill>
                  <a:srgbClr val="444444"/>
                </a:solidFill>
                <a:latin typeface="+mj-lt"/>
                <a:cs typeface="Calibri" panose="020F0502020204030204" pitchFamily="34" charset="0"/>
                <a:sym typeface="Helvetica Neue Thin"/>
              </a:rPr>
              <a:t>FTEs</a:t>
            </a:r>
            <a:endParaRPr lang="id-ID" sz="1000" kern="0" dirty="0">
              <a:solidFill>
                <a:srgbClr val="444444"/>
              </a:solidFill>
              <a:latin typeface="+mj-lt"/>
              <a:cs typeface="Calibri" panose="020F0502020204030204" pitchFamily="34" charset="0"/>
              <a:sym typeface="Helvetica Neue Thin"/>
            </a:endParaRPr>
          </a:p>
        </p:txBody>
      </p:sp>
      <p:sp>
        <p:nvSpPr>
          <p:cNvPr id="9" name="TextBox 8">
            <a:extLst>
              <a:ext uri="{FF2B5EF4-FFF2-40B4-BE49-F238E27FC236}">
                <a16:creationId xmlns:a16="http://schemas.microsoft.com/office/drawing/2014/main" id="{CC94B24C-E598-92AA-5173-0C0E9446DD94}"/>
              </a:ext>
            </a:extLst>
          </p:cNvPr>
          <p:cNvSpPr txBox="1">
            <a:spLocks noChangeArrowheads="1"/>
          </p:cNvSpPr>
          <p:nvPr/>
        </p:nvSpPr>
        <p:spPr bwMode="auto">
          <a:xfrm>
            <a:off x="5776597"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sz="2000" b="1" kern="0" dirty="0">
                <a:solidFill>
                  <a:schemeClr val="tx2"/>
                </a:solidFill>
                <a:latin typeface="Arial"/>
                <a:cs typeface="Calibri" panose="020F0502020204030204" pitchFamily="34" charset="0"/>
                <a:sym typeface="Helvetica Neue Thin"/>
              </a:rPr>
              <a:t>11</a:t>
            </a:r>
            <a:r>
              <a:rPr lang="en-US" sz="1000" kern="0" dirty="0">
                <a:solidFill>
                  <a:srgbClr val="444444"/>
                </a:solidFill>
                <a:latin typeface="+mj-lt"/>
                <a:cs typeface="Calibri" panose="020F0502020204030204" pitchFamily="34" charset="0"/>
                <a:sym typeface="Helvetica Neue Thin"/>
              </a:rPr>
              <a:t> FTEs</a:t>
            </a:r>
            <a:endParaRPr lang="id-ID" sz="1000" kern="0" dirty="0">
              <a:solidFill>
                <a:srgbClr val="444444"/>
              </a:solidFill>
              <a:latin typeface="+mj-lt"/>
              <a:cs typeface="Calibri" panose="020F0502020204030204" pitchFamily="34" charset="0"/>
              <a:sym typeface="Helvetica Neue Thin"/>
            </a:endParaRPr>
          </a:p>
        </p:txBody>
      </p:sp>
      <p:sp>
        <p:nvSpPr>
          <p:cNvPr id="10" name="TextBox 9">
            <a:extLst>
              <a:ext uri="{FF2B5EF4-FFF2-40B4-BE49-F238E27FC236}">
                <a16:creationId xmlns:a16="http://schemas.microsoft.com/office/drawing/2014/main" id="{7DADFDCC-C1A4-71DE-9C06-E3CA48EBEBB8}"/>
              </a:ext>
            </a:extLst>
          </p:cNvPr>
          <p:cNvSpPr txBox="1">
            <a:spLocks noChangeArrowheads="1"/>
          </p:cNvSpPr>
          <p:nvPr/>
        </p:nvSpPr>
        <p:spPr bwMode="auto">
          <a:xfrm>
            <a:off x="7725529"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sz="2000" b="1" kern="0" dirty="0">
                <a:solidFill>
                  <a:schemeClr val="tx2"/>
                </a:solidFill>
                <a:latin typeface="Arial"/>
                <a:cs typeface="Calibri" panose="020F0502020204030204" pitchFamily="34" charset="0"/>
                <a:sym typeface="Helvetica Neue Thin"/>
              </a:rPr>
              <a:t>14</a:t>
            </a:r>
            <a:r>
              <a:rPr lang="en-US" sz="1200" b="1" kern="0" dirty="0">
                <a:solidFill>
                  <a:schemeClr val="tx2"/>
                </a:solidFill>
                <a:latin typeface="Arial"/>
                <a:cs typeface="Calibri" panose="020F0502020204030204" pitchFamily="34" charset="0"/>
                <a:sym typeface="Helvetica Neue Thin"/>
              </a:rPr>
              <a:t> </a:t>
            </a:r>
            <a:r>
              <a:rPr lang="en-US" sz="1000" kern="0" dirty="0">
                <a:solidFill>
                  <a:srgbClr val="444444"/>
                </a:solidFill>
                <a:latin typeface="+mj-lt"/>
                <a:cs typeface="Calibri" panose="020F0502020204030204" pitchFamily="34" charset="0"/>
                <a:sym typeface="Helvetica Neue Thin"/>
              </a:rPr>
              <a:t>FTEs</a:t>
            </a:r>
            <a:endParaRPr lang="id-ID" sz="1000" kern="0" dirty="0">
              <a:solidFill>
                <a:srgbClr val="444444"/>
              </a:solidFill>
              <a:latin typeface="+mj-lt"/>
              <a:cs typeface="Calibri" panose="020F0502020204030204" pitchFamily="34" charset="0"/>
              <a:sym typeface="Helvetica Neue Thin"/>
            </a:endParaRPr>
          </a:p>
        </p:txBody>
      </p:sp>
      <p:sp>
        <p:nvSpPr>
          <p:cNvPr id="11" name="TextBox 10">
            <a:extLst>
              <a:ext uri="{FF2B5EF4-FFF2-40B4-BE49-F238E27FC236}">
                <a16:creationId xmlns:a16="http://schemas.microsoft.com/office/drawing/2014/main" id="{45765D03-D804-8272-4D2E-81B2D49E4D37}"/>
              </a:ext>
            </a:extLst>
          </p:cNvPr>
          <p:cNvSpPr txBox="1">
            <a:spLocks noChangeArrowheads="1"/>
          </p:cNvSpPr>
          <p:nvPr/>
        </p:nvSpPr>
        <p:spPr bwMode="auto">
          <a:xfrm>
            <a:off x="8699995"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sz="2000" b="1" kern="0" dirty="0">
                <a:solidFill>
                  <a:schemeClr val="tx2"/>
                </a:solidFill>
                <a:latin typeface="Arial"/>
                <a:cs typeface="Calibri" panose="020F0502020204030204" pitchFamily="34" charset="0"/>
                <a:sym typeface="Helvetica Neue Thin"/>
              </a:rPr>
              <a:t>19</a:t>
            </a:r>
            <a:r>
              <a:rPr lang="en-US" sz="1000" b="1" kern="0" dirty="0">
                <a:solidFill>
                  <a:srgbClr val="444444"/>
                </a:solidFill>
                <a:latin typeface="Arial"/>
                <a:cs typeface="Calibri" panose="020F0502020204030204" pitchFamily="34" charset="0"/>
                <a:sym typeface="Helvetica Neue Thin"/>
              </a:rPr>
              <a:t> </a:t>
            </a:r>
            <a:r>
              <a:rPr lang="en-US" sz="1000" kern="0" dirty="0">
                <a:solidFill>
                  <a:srgbClr val="444444"/>
                </a:solidFill>
                <a:latin typeface="+mj-lt"/>
                <a:cs typeface="Calibri" panose="020F0502020204030204" pitchFamily="34" charset="0"/>
                <a:sym typeface="Helvetica Neue Thin"/>
              </a:rPr>
              <a:t>FTEs</a:t>
            </a:r>
            <a:endParaRPr lang="id-ID" sz="1000" kern="0" dirty="0">
              <a:solidFill>
                <a:srgbClr val="444444"/>
              </a:solidFill>
              <a:latin typeface="+mj-lt"/>
              <a:cs typeface="Calibri" panose="020F0502020204030204" pitchFamily="34" charset="0"/>
              <a:sym typeface="Helvetica Neue Thin"/>
            </a:endParaRPr>
          </a:p>
        </p:txBody>
      </p:sp>
      <p:sp>
        <p:nvSpPr>
          <p:cNvPr id="36" name="Freeform: Shape 35">
            <a:extLst>
              <a:ext uri="{FF2B5EF4-FFF2-40B4-BE49-F238E27FC236}">
                <a16:creationId xmlns:a16="http://schemas.microsoft.com/office/drawing/2014/main" id="{1CB4AB19-DDE0-6646-E35B-D59EF6C5CDD6}"/>
              </a:ext>
            </a:extLst>
          </p:cNvPr>
          <p:cNvSpPr/>
          <p:nvPr/>
        </p:nvSpPr>
        <p:spPr>
          <a:xfrm>
            <a:off x="9582384"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37" name="Freeform: Shape 36">
            <a:extLst>
              <a:ext uri="{FF2B5EF4-FFF2-40B4-BE49-F238E27FC236}">
                <a16:creationId xmlns:a16="http://schemas.microsoft.com/office/drawing/2014/main" id="{89200556-855B-7DAB-588C-9BF93D09D127}"/>
              </a:ext>
            </a:extLst>
          </p:cNvPr>
          <p:cNvSpPr/>
          <p:nvPr/>
        </p:nvSpPr>
        <p:spPr>
          <a:xfrm>
            <a:off x="9681999"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22</a:t>
            </a:r>
          </a:p>
        </p:txBody>
      </p:sp>
      <p:sp>
        <p:nvSpPr>
          <p:cNvPr id="40" name="Freeform: Shape 39">
            <a:extLst>
              <a:ext uri="{FF2B5EF4-FFF2-40B4-BE49-F238E27FC236}">
                <a16:creationId xmlns:a16="http://schemas.microsoft.com/office/drawing/2014/main" id="{C2682682-46C6-83B5-C284-3E9A01838CF9}"/>
              </a:ext>
            </a:extLst>
          </p:cNvPr>
          <p:cNvSpPr/>
          <p:nvPr/>
        </p:nvSpPr>
        <p:spPr>
          <a:xfrm>
            <a:off x="8607918"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47" name="Freeform: Shape 46">
            <a:extLst>
              <a:ext uri="{FF2B5EF4-FFF2-40B4-BE49-F238E27FC236}">
                <a16:creationId xmlns:a16="http://schemas.microsoft.com/office/drawing/2014/main" id="{55E05218-C054-6A7D-602F-A7B4A9BAB307}"/>
              </a:ext>
            </a:extLst>
          </p:cNvPr>
          <p:cNvSpPr/>
          <p:nvPr/>
        </p:nvSpPr>
        <p:spPr>
          <a:xfrm>
            <a:off x="8707533"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21</a:t>
            </a:r>
          </a:p>
        </p:txBody>
      </p:sp>
      <p:sp>
        <p:nvSpPr>
          <p:cNvPr id="49" name="Freeform: Shape 48">
            <a:extLst>
              <a:ext uri="{FF2B5EF4-FFF2-40B4-BE49-F238E27FC236}">
                <a16:creationId xmlns:a16="http://schemas.microsoft.com/office/drawing/2014/main" id="{4FA5A99C-F55D-4335-27CD-4F936BE154C7}"/>
              </a:ext>
            </a:extLst>
          </p:cNvPr>
          <p:cNvSpPr/>
          <p:nvPr/>
        </p:nvSpPr>
        <p:spPr>
          <a:xfrm>
            <a:off x="7633452"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50" name="Freeform: Shape 49">
            <a:extLst>
              <a:ext uri="{FF2B5EF4-FFF2-40B4-BE49-F238E27FC236}">
                <a16:creationId xmlns:a16="http://schemas.microsoft.com/office/drawing/2014/main" id="{3958D3B8-2521-7756-475A-17D42303D6AB}"/>
              </a:ext>
            </a:extLst>
          </p:cNvPr>
          <p:cNvSpPr/>
          <p:nvPr/>
        </p:nvSpPr>
        <p:spPr>
          <a:xfrm>
            <a:off x="7733067"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20</a:t>
            </a:r>
          </a:p>
        </p:txBody>
      </p:sp>
      <p:sp>
        <p:nvSpPr>
          <p:cNvPr id="52" name="Freeform: Shape 51">
            <a:extLst>
              <a:ext uri="{FF2B5EF4-FFF2-40B4-BE49-F238E27FC236}">
                <a16:creationId xmlns:a16="http://schemas.microsoft.com/office/drawing/2014/main" id="{C91583EF-E7E6-6F78-BCDE-3D25B94929D1}"/>
              </a:ext>
            </a:extLst>
          </p:cNvPr>
          <p:cNvSpPr/>
          <p:nvPr/>
        </p:nvSpPr>
        <p:spPr>
          <a:xfrm>
            <a:off x="6658986"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53" name="Freeform: Shape 52">
            <a:extLst>
              <a:ext uri="{FF2B5EF4-FFF2-40B4-BE49-F238E27FC236}">
                <a16:creationId xmlns:a16="http://schemas.microsoft.com/office/drawing/2014/main" id="{EA6E027E-DA08-848F-A18C-8263ABF3D0E9}"/>
              </a:ext>
            </a:extLst>
          </p:cNvPr>
          <p:cNvSpPr/>
          <p:nvPr/>
        </p:nvSpPr>
        <p:spPr>
          <a:xfrm>
            <a:off x="6758601"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19</a:t>
            </a:r>
          </a:p>
        </p:txBody>
      </p:sp>
      <p:sp>
        <p:nvSpPr>
          <p:cNvPr id="55" name="Freeform: Shape 54">
            <a:extLst>
              <a:ext uri="{FF2B5EF4-FFF2-40B4-BE49-F238E27FC236}">
                <a16:creationId xmlns:a16="http://schemas.microsoft.com/office/drawing/2014/main" id="{D5F817E0-7A0B-FA31-4156-F65D6E351BCD}"/>
              </a:ext>
            </a:extLst>
          </p:cNvPr>
          <p:cNvSpPr/>
          <p:nvPr/>
        </p:nvSpPr>
        <p:spPr>
          <a:xfrm>
            <a:off x="5684520"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56" name="Freeform: Shape 55">
            <a:extLst>
              <a:ext uri="{FF2B5EF4-FFF2-40B4-BE49-F238E27FC236}">
                <a16:creationId xmlns:a16="http://schemas.microsoft.com/office/drawing/2014/main" id="{C4936A95-7197-D1BF-9E01-DB3BE4C40AD3}"/>
              </a:ext>
            </a:extLst>
          </p:cNvPr>
          <p:cNvSpPr/>
          <p:nvPr/>
        </p:nvSpPr>
        <p:spPr>
          <a:xfrm>
            <a:off x="5784135"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18</a:t>
            </a:r>
          </a:p>
        </p:txBody>
      </p:sp>
      <p:sp>
        <p:nvSpPr>
          <p:cNvPr id="58" name="Freeform: Shape 57">
            <a:extLst>
              <a:ext uri="{FF2B5EF4-FFF2-40B4-BE49-F238E27FC236}">
                <a16:creationId xmlns:a16="http://schemas.microsoft.com/office/drawing/2014/main" id="{5995001A-D071-47A6-C258-17A915AE4BC7}"/>
              </a:ext>
            </a:extLst>
          </p:cNvPr>
          <p:cNvSpPr/>
          <p:nvPr/>
        </p:nvSpPr>
        <p:spPr>
          <a:xfrm>
            <a:off x="4710054"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59" name="Freeform: Shape 58">
            <a:extLst>
              <a:ext uri="{FF2B5EF4-FFF2-40B4-BE49-F238E27FC236}">
                <a16:creationId xmlns:a16="http://schemas.microsoft.com/office/drawing/2014/main" id="{39EAD25C-3E3F-E01F-204E-C906C981C119}"/>
              </a:ext>
            </a:extLst>
          </p:cNvPr>
          <p:cNvSpPr/>
          <p:nvPr/>
        </p:nvSpPr>
        <p:spPr>
          <a:xfrm>
            <a:off x="4809669"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17</a:t>
            </a:r>
          </a:p>
        </p:txBody>
      </p:sp>
      <p:sp>
        <p:nvSpPr>
          <p:cNvPr id="74" name="Freeform: Shape 73">
            <a:extLst>
              <a:ext uri="{FF2B5EF4-FFF2-40B4-BE49-F238E27FC236}">
                <a16:creationId xmlns:a16="http://schemas.microsoft.com/office/drawing/2014/main" id="{06420F1C-F82C-2E99-DB22-02115E1364B9}"/>
              </a:ext>
            </a:extLst>
          </p:cNvPr>
          <p:cNvSpPr/>
          <p:nvPr/>
        </p:nvSpPr>
        <p:spPr>
          <a:xfrm>
            <a:off x="3735588"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75" name="Freeform: Shape 74">
            <a:extLst>
              <a:ext uri="{FF2B5EF4-FFF2-40B4-BE49-F238E27FC236}">
                <a16:creationId xmlns:a16="http://schemas.microsoft.com/office/drawing/2014/main" id="{AAD6DE73-96FF-C1C0-76D2-E65786C386C3}"/>
              </a:ext>
            </a:extLst>
          </p:cNvPr>
          <p:cNvSpPr/>
          <p:nvPr/>
        </p:nvSpPr>
        <p:spPr>
          <a:xfrm>
            <a:off x="3835203"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16</a:t>
            </a:r>
          </a:p>
        </p:txBody>
      </p:sp>
      <p:sp>
        <p:nvSpPr>
          <p:cNvPr id="83" name="Freeform: Shape 82">
            <a:extLst>
              <a:ext uri="{FF2B5EF4-FFF2-40B4-BE49-F238E27FC236}">
                <a16:creationId xmlns:a16="http://schemas.microsoft.com/office/drawing/2014/main" id="{1C992317-2BE3-40FD-376A-4D6B46CE5A15}"/>
              </a:ext>
            </a:extLst>
          </p:cNvPr>
          <p:cNvSpPr/>
          <p:nvPr/>
        </p:nvSpPr>
        <p:spPr>
          <a:xfrm>
            <a:off x="2761122"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84" name="Freeform: Shape 83">
            <a:extLst>
              <a:ext uri="{FF2B5EF4-FFF2-40B4-BE49-F238E27FC236}">
                <a16:creationId xmlns:a16="http://schemas.microsoft.com/office/drawing/2014/main" id="{386478E3-CC2E-C455-7CE1-BEFCB3758D81}"/>
              </a:ext>
            </a:extLst>
          </p:cNvPr>
          <p:cNvSpPr/>
          <p:nvPr/>
        </p:nvSpPr>
        <p:spPr>
          <a:xfrm>
            <a:off x="2860737"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15</a:t>
            </a:r>
          </a:p>
        </p:txBody>
      </p:sp>
      <p:sp>
        <p:nvSpPr>
          <p:cNvPr id="89" name="Freeform: Shape 88">
            <a:extLst>
              <a:ext uri="{FF2B5EF4-FFF2-40B4-BE49-F238E27FC236}">
                <a16:creationId xmlns:a16="http://schemas.microsoft.com/office/drawing/2014/main" id="{2E94586E-4F76-6238-6703-999984B7C5C7}"/>
              </a:ext>
            </a:extLst>
          </p:cNvPr>
          <p:cNvSpPr/>
          <p:nvPr/>
        </p:nvSpPr>
        <p:spPr>
          <a:xfrm>
            <a:off x="1786656"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90" name="Freeform: Shape 89">
            <a:extLst>
              <a:ext uri="{FF2B5EF4-FFF2-40B4-BE49-F238E27FC236}">
                <a16:creationId xmlns:a16="http://schemas.microsoft.com/office/drawing/2014/main" id="{4E067609-C71C-B718-AF2C-2F52A12C6EC2}"/>
              </a:ext>
            </a:extLst>
          </p:cNvPr>
          <p:cNvSpPr/>
          <p:nvPr/>
        </p:nvSpPr>
        <p:spPr>
          <a:xfrm>
            <a:off x="1886271"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14</a:t>
            </a:r>
          </a:p>
        </p:txBody>
      </p:sp>
      <p:sp>
        <p:nvSpPr>
          <p:cNvPr id="92" name="Freeform: Shape 91">
            <a:extLst>
              <a:ext uri="{FF2B5EF4-FFF2-40B4-BE49-F238E27FC236}">
                <a16:creationId xmlns:a16="http://schemas.microsoft.com/office/drawing/2014/main" id="{1D576E9C-CACE-5DB2-FDE7-0968F5D3DB4F}"/>
              </a:ext>
            </a:extLst>
          </p:cNvPr>
          <p:cNvSpPr/>
          <p:nvPr/>
        </p:nvSpPr>
        <p:spPr>
          <a:xfrm>
            <a:off x="854260"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93" name="Freeform: Shape 92">
            <a:extLst>
              <a:ext uri="{FF2B5EF4-FFF2-40B4-BE49-F238E27FC236}">
                <a16:creationId xmlns:a16="http://schemas.microsoft.com/office/drawing/2014/main" id="{F48EC628-0E28-89AB-13A7-E36B94838C33}"/>
              </a:ext>
            </a:extLst>
          </p:cNvPr>
          <p:cNvSpPr/>
          <p:nvPr/>
        </p:nvSpPr>
        <p:spPr>
          <a:xfrm>
            <a:off x="953875"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13</a:t>
            </a:r>
          </a:p>
        </p:txBody>
      </p:sp>
      <p:sp>
        <p:nvSpPr>
          <p:cNvPr id="14" name="Freeform: Shape 13">
            <a:extLst>
              <a:ext uri="{FF2B5EF4-FFF2-40B4-BE49-F238E27FC236}">
                <a16:creationId xmlns:a16="http://schemas.microsoft.com/office/drawing/2014/main" id="{7E15ACC2-5A72-9EE4-07A0-44D44B5D2ACA}"/>
              </a:ext>
            </a:extLst>
          </p:cNvPr>
          <p:cNvSpPr/>
          <p:nvPr/>
        </p:nvSpPr>
        <p:spPr>
          <a:xfrm>
            <a:off x="10556851" y="3179500"/>
            <a:ext cx="822960" cy="822960"/>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solidFill>
            <a:schemeClr val="accent2">
              <a:lumMod val="20000"/>
              <a:lumOff val="80000"/>
            </a:schemeClr>
          </a:soli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endParaRPr>
          </a:p>
        </p:txBody>
      </p:sp>
      <p:sp>
        <p:nvSpPr>
          <p:cNvPr id="15" name="Freeform: Shape 14">
            <a:extLst>
              <a:ext uri="{FF2B5EF4-FFF2-40B4-BE49-F238E27FC236}">
                <a16:creationId xmlns:a16="http://schemas.microsoft.com/office/drawing/2014/main" id="{9F00C279-B430-34E0-E132-CEEE8C00E07C}"/>
              </a:ext>
            </a:extLst>
          </p:cNvPr>
          <p:cNvSpPr/>
          <p:nvPr/>
        </p:nvSpPr>
        <p:spPr>
          <a:xfrm>
            <a:off x="10656466" y="3279114"/>
            <a:ext cx="623246" cy="623246"/>
          </a:xfrm>
          <a:custGeom>
            <a:avLst/>
            <a:gdLst>
              <a:gd name="connsiteX0" fmla="*/ 1064480 w 1064479"/>
              <a:gd name="connsiteY0" fmla="*/ 532240 h 1064479"/>
              <a:gd name="connsiteX1" fmla="*/ 532240 w 1064479"/>
              <a:gd name="connsiteY1" fmla="*/ 1064480 h 1064479"/>
              <a:gd name="connsiteX2" fmla="*/ 0 w 1064479"/>
              <a:gd name="connsiteY2" fmla="*/ 532240 h 1064479"/>
              <a:gd name="connsiteX3" fmla="*/ 532240 w 1064479"/>
              <a:gd name="connsiteY3" fmla="*/ 0 h 1064479"/>
              <a:gd name="connsiteX4" fmla="*/ 1064480 w 1064479"/>
              <a:gd name="connsiteY4" fmla="*/ 532240 h 1064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79" h="1064479">
                <a:moveTo>
                  <a:pt x="1064480" y="532240"/>
                </a:moveTo>
                <a:cubicBezTo>
                  <a:pt x="1064480" y="826188"/>
                  <a:pt x="826188" y="1064480"/>
                  <a:pt x="532240" y="1064480"/>
                </a:cubicBezTo>
                <a:cubicBezTo>
                  <a:pt x="238292" y="1064480"/>
                  <a:pt x="0" y="826188"/>
                  <a:pt x="0" y="532240"/>
                </a:cubicBezTo>
                <a:cubicBezTo>
                  <a:pt x="0" y="238292"/>
                  <a:pt x="238292" y="0"/>
                  <a:pt x="532240" y="0"/>
                </a:cubicBezTo>
                <a:cubicBezTo>
                  <a:pt x="826188" y="0"/>
                  <a:pt x="1064480" y="238292"/>
                  <a:pt x="1064480" y="532240"/>
                </a:cubicBezTo>
                <a:close/>
              </a:path>
            </a:pathLst>
          </a:custGeom>
          <a:gradFill>
            <a:gsLst>
              <a:gs pos="0">
                <a:schemeClr val="tx2"/>
              </a:gs>
              <a:gs pos="100000">
                <a:schemeClr val="tx2">
                  <a:lumMod val="75000"/>
                </a:schemeClr>
              </a:gs>
            </a:gsLst>
            <a:lin ang="2700000" scaled="1"/>
          </a:gradFill>
          <a:ln w="3933"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2023</a:t>
            </a:r>
          </a:p>
        </p:txBody>
      </p:sp>
      <p:sp>
        <p:nvSpPr>
          <p:cNvPr id="16" name="TextBox 15">
            <a:extLst>
              <a:ext uri="{FF2B5EF4-FFF2-40B4-BE49-F238E27FC236}">
                <a16:creationId xmlns:a16="http://schemas.microsoft.com/office/drawing/2014/main" id="{C8E9A797-BFD2-E18E-E35D-2909F596E278}"/>
              </a:ext>
            </a:extLst>
          </p:cNvPr>
          <p:cNvSpPr txBox="1">
            <a:spLocks noChangeArrowheads="1"/>
          </p:cNvSpPr>
          <p:nvPr/>
        </p:nvSpPr>
        <p:spPr bwMode="auto">
          <a:xfrm>
            <a:off x="9674461"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sz="2000" b="1" kern="0" dirty="0">
                <a:solidFill>
                  <a:schemeClr val="tx2"/>
                </a:solidFill>
                <a:latin typeface="Arial"/>
                <a:cs typeface="Calibri" panose="020F0502020204030204" pitchFamily="34" charset="0"/>
                <a:sym typeface="Helvetica Neue Thin"/>
              </a:rPr>
              <a:t>27 </a:t>
            </a:r>
            <a:r>
              <a:rPr lang="en-US" sz="1000" kern="0" dirty="0">
                <a:solidFill>
                  <a:srgbClr val="444444"/>
                </a:solidFill>
                <a:latin typeface="+mj-lt"/>
                <a:cs typeface="Calibri" panose="020F0502020204030204" pitchFamily="34" charset="0"/>
                <a:sym typeface="Helvetica Neue Thin"/>
              </a:rPr>
              <a:t>FTEs</a:t>
            </a:r>
            <a:endParaRPr lang="id-ID" sz="1000" kern="0" dirty="0">
              <a:solidFill>
                <a:srgbClr val="444444"/>
              </a:solidFill>
              <a:latin typeface="+mj-lt"/>
              <a:cs typeface="Calibri" panose="020F0502020204030204" pitchFamily="34" charset="0"/>
              <a:sym typeface="Helvetica Neue Thin"/>
            </a:endParaRPr>
          </a:p>
        </p:txBody>
      </p:sp>
      <p:sp>
        <p:nvSpPr>
          <p:cNvPr id="17" name="TextBox 16">
            <a:extLst>
              <a:ext uri="{FF2B5EF4-FFF2-40B4-BE49-F238E27FC236}">
                <a16:creationId xmlns:a16="http://schemas.microsoft.com/office/drawing/2014/main" id="{A9954C57-F584-1A08-E7C3-8AEEADF80359}"/>
              </a:ext>
            </a:extLst>
          </p:cNvPr>
          <p:cNvSpPr txBox="1">
            <a:spLocks noChangeArrowheads="1"/>
          </p:cNvSpPr>
          <p:nvPr/>
        </p:nvSpPr>
        <p:spPr bwMode="auto">
          <a:xfrm>
            <a:off x="10648928" y="2917149"/>
            <a:ext cx="638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sz="2000">
                <a:latin typeface="Helvetica Neue Thin"/>
                <a:ea typeface="Helvetica Neue Thin"/>
                <a:cs typeface="Helvetica Neue Thin"/>
                <a:sym typeface="Helvetica Neue Thin"/>
              </a:defRPr>
            </a:pPr>
            <a:r>
              <a:rPr lang="en-US" sz="2000" b="1" kern="0" dirty="0">
                <a:solidFill>
                  <a:schemeClr val="tx2"/>
                </a:solidFill>
                <a:latin typeface="Arial"/>
                <a:cs typeface="Calibri" panose="020F0502020204030204" pitchFamily="34" charset="0"/>
                <a:sym typeface="Helvetica Neue Thin"/>
              </a:rPr>
              <a:t>34</a:t>
            </a:r>
            <a:r>
              <a:rPr lang="en-US" sz="1000" b="1" kern="0" dirty="0">
                <a:solidFill>
                  <a:srgbClr val="444444"/>
                </a:solidFill>
                <a:latin typeface="Arial"/>
                <a:cs typeface="Calibri" panose="020F0502020204030204" pitchFamily="34" charset="0"/>
                <a:sym typeface="Helvetica Neue Thin"/>
              </a:rPr>
              <a:t> </a:t>
            </a:r>
            <a:r>
              <a:rPr lang="en-US" sz="1000" kern="0" dirty="0">
                <a:solidFill>
                  <a:srgbClr val="444444"/>
                </a:solidFill>
                <a:latin typeface="+mj-lt"/>
                <a:cs typeface="Calibri" panose="020F0502020204030204" pitchFamily="34" charset="0"/>
                <a:sym typeface="Helvetica Neue Thin"/>
              </a:rPr>
              <a:t>FTEs</a:t>
            </a:r>
            <a:endParaRPr lang="id-ID" sz="1000" kern="0" dirty="0">
              <a:solidFill>
                <a:srgbClr val="444444"/>
              </a:solidFill>
              <a:latin typeface="+mj-lt"/>
              <a:cs typeface="Calibri" panose="020F0502020204030204" pitchFamily="34" charset="0"/>
              <a:sym typeface="Helvetica Neue Thin"/>
            </a:endParaRPr>
          </a:p>
        </p:txBody>
      </p:sp>
      <p:sp>
        <p:nvSpPr>
          <p:cNvPr id="149" name="TextBox 148">
            <a:extLst>
              <a:ext uri="{FF2B5EF4-FFF2-40B4-BE49-F238E27FC236}">
                <a16:creationId xmlns:a16="http://schemas.microsoft.com/office/drawing/2014/main" id="{A5F12F13-3E0B-8EA5-4C6B-89130EEE0897}"/>
              </a:ext>
            </a:extLst>
          </p:cNvPr>
          <p:cNvSpPr txBox="1">
            <a:spLocks/>
          </p:cNvSpPr>
          <p:nvPr/>
        </p:nvSpPr>
        <p:spPr>
          <a:xfrm>
            <a:off x="854261" y="5181709"/>
            <a:ext cx="10786876" cy="1127015"/>
          </a:xfrm>
          <a:prstGeom prst="snip1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noAutofit/>
          </a:bodyPr>
          <a:lstStyle>
            <a:defPPr>
              <a:defRPr lang="en-US"/>
            </a:defPPr>
            <a:lvl1pPr algn="ctr">
              <a:defRPr b="1">
                <a:solidFill>
                  <a:schemeClr val="bg1"/>
                </a:solidFill>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US" sz="1400" dirty="0">
              <a:solidFill>
                <a:schemeClr val="tx2"/>
              </a:solidFill>
              <a:sym typeface="Arial"/>
            </a:endParaRPr>
          </a:p>
        </p:txBody>
      </p:sp>
      <p:sp>
        <p:nvSpPr>
          <p:cNvPr id="29" name="TextBox 28">
            <a:extLst>
              <a:ext uri="{FF2B5EF4-FFF2-40B4-BE49-F238E27FC236}">
                <a16:creationId xmlns:a16="http://schemas.microsoft.com/office/drawing/2014/main" id="{DC4ED1FD-0FF0-B2F0-6460-A6FD2186E8A0}"/>
              </a:ext>
            </a:extLst>
          </p:cNvPr>
          <p:cNvSpPr txBox="1"/>
          <p:nvPr/>
        </p:nvSpPr>
        <p:spPr>
          <a:xfrm>
            <a:off x="1082560" y="5072140"/>
            <a:ext cx="4878402" cy="215444"/>
          </a:xfrm>
          <a:prstGeom prst="rect">
            <a:avLst/>
          </a:prstGeom>
          <a:solidFill>
            <a:schemeClr val="bg1"/>
          </a:solidFill>
        </p:spPr>
        <p:txBody>
          <a:bodyPr wrap="square" lIns="0" tIns="0" rIns="0" bIns="0">
            <a:spAutoFit/>
          </a:bodyPr>
          <a:lstStyle/>
          <a:p>
            <a:pPr algn="l"/>
            <a:r>
              <a:rPr lang="en-US" sz="1400" b="1" dirty="0">
                <a:solidFill>
                  <a:schemeClr val="tx2"/>
                </a:solidFill>
                <a:sym typeface="Arial"/>
              </a:rPr>
              <a:t> Evolution of the number of offices we work with (not exhaustive) </a:t>
            </a:r>
          </a:p>
        </p:txBody>
      </p:sp>
      <p:sp>
        <p:nvSpPr>
          <p:cNvPr id="30" name="Rectangle: Diagonal Corners Rounded 29">
            <a:extLst>
              <a:ext uri="{FF2B5EF4-FFF2-40B4-BE49-F238E27FC236}">
                <a16:creationId xmlns:a16="http://schemas.microsoft.com/office/drawing/2014/main" id="{CC12F0D5-2E75-E7DF-2F67-E40B73635955}"/>
              </a:ext>
            </a:extLst>
          </p:cNvPr>
          <p:cNvSpPr/>
          <p:nvPr/>
        </p:nvSpPr>
        <p:spPr>
          <a:xfrm>
            <a:off x="550863" y="5465360"/>
            <a:ext cx="559712" cy="559712"/>
          </a:xfrm>
          <a:prstGeom prst="round2Diag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EFCD9F48-C544-3106-81BD-7D9F9D0EA16A}"/>
              </a:ext>
            </a:extLst>
          </p:cNvPr>
          <p:cNvGrpSpPr/>
          <p:nvPr/>
        </p:nvGrpSpPr>
        <p:grpSpPr>
          <a:xfrm>
            <a:off x="1396366" y="5365864"/>
            <a:ext cx="9399268" cy="758704"/>
            <a:chOff x="1001279" y="5618461"/>
            <a:chExt cx="10422678" cy="841315"/>
          </a:xfrm>
        </p:grpSpPr>
        <p:grpSp>
          <p:nvGrpSpPr>
            <p:cNvPr id="109" name="Group 108">
              <a:extLst>
                <a:ext uri="{FF2B5EF4-FFF2-40B4-BE49-F238E27FC236}">
                  <a16:creationId xmlns:a16="http://schemas.microsoft.com/office/drawing/2014/main" id="{3430939E-9703-27FA-0B78-D2ED351F4B35}"/>
                </a:ext>
              </a:extLst>
            </p:cNvPr>
            <p:cNvGrpSpPr/>
            <p:nvPr/>
          </p:nvGrpSpPr>
          <p:grpSpPr>
            <a:xfrm>
              <a:off x="1001279" y="5631069"/>
              <a:ext cx="847432" cy="827652"/>
              <a:chOff x="1095624" y="5091497"/>
              <a:chExt cx="847432" cy="827652"/>
            </a:xfrm>
          </p:grpSpPr>
          <p:pic>
            <p:nvPicPr>
              <p:cNvPr id="110" name="Picture 52" descr="Morocco Flag Png - Circle, Transparent Png , Transparent Png Image - PNGitem">
                <a:extLst>
                  <a:ext uri="{FF2B5EF4-FFF2-40B4-BE49-F238E27FC236}">
                    <a16:creationId xmlns:a16="http://schemas.microsoft.com/office/drawing/2014/main" id="{6A5FA4C2-C215-B142-D59A-26E551B69C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510" t="4040" r="3814" b="6396"/>
              <a:stretch/>
            </p:blipFill>
            <p:spPr bwMode="auto">
              <a:xfrm>
                <a:off x="1100898" y="5096945"/>
                <a:ext cx="355962"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11" name="Picture 54">
                <a:extLst>
                  <a:ext uri="{FF2B5EF4-FFF2-40B4-BE49-F238E27FC236}">
                    <a16:creationId xmlns:a16="http://schemas.microsoft.com/office/drawing/2014/main" id="{F9BA05B7-3A82-6334-D2E5-8CA935B9A7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3056" y="50914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56" descr="France Circle Flag Clip Art Free PNG Image｜Illustoon">
                <a:extLst>
                  <a:ext uri="{FF2B5EF4-FFF2-40B4-BE49-F238E27FC236}">
                    <a16:creationId xmlns:a16="http://schemas.microsoft.com/office/drawing/2014/main" id="{044555C8-7736-60CF-5FE8-C36008D4C97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6457" t="15550" r="15379" b="16519"/>
              <a:stretch/>
            </p:blipFill>
            <p:spPr bwMode="auto">
              <a:xfrm>
                <a:off x="1095624" y="5559149"/>
                <a:ext cx="361236"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13" name="Picture 58" descr="The United Arab Emirates flag icon - Country flags">
                <a:extLst>
                  <a:ext uri="{FF2B5EF4-FFF2-40B4-BE49-F238E27FC236}">
                    <a16:creationId xmlns:a16="http://schemas.microsoft.com/office/drawing/2014/main" id="{2779811F-8420-5F16-9F1F-CFC3CDE5581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3056" y="5559149"/>
                <a:ext cx="360000" cy="360000"/>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114" name="Group 113">
              <a:extLst>
                <a:ext uri="{FF2B5EF4-FFF2-40B4-BE49-F238E27FC236}">
                  <a16:creationId xmlns:a16="http://schemas.microsoft.com/office/drawing/2014/main" id="{CF85D388-9A40-6514-976A-F2B63F538094}"/>
                </a:ext>
              </a:extLst>
            </p:cNvPr>
            <p:cNvGrpSpPr/>
            <p:nvPr/>
          </p:nvGrpSpPr>
          <p:grpSpPr>
            <a:xfrm>
              <a:off x="4388302" y="5631069"/>
              <a:ext cx="2173876" cy="828707"/>
              <a:chOff x="4428674" y="4724926"/>
              <a:chExt cx="2173876" cy="828707"/>
            </a:xfrm>
          </p:grpSpPr>
          <p:grpSp>
            <p:nvGrpSpPr>
              <p:cNvPr id="115" name="Group 114">
                <a:extLst>
                  <a:ext uri="{FF2B5EF4-FFF2-40B4-BE49-F238E27FC236}">
                    <a16:creationId xmlns:a16="http://schemas.microsoft.com/office/drawing/2014/main" id="{BF509155-5216-6BDE-6509-5A9886D17AF1}"/>
                  </a:ext>
                </a:extLst>
              </p:cNvPr>
              <p:cNvGrpSpPr/>
              <p:nvPr/>
            </p:nvGrpSpPr>
            <p:grpSpPr>
              <a:xfrm>
                <a:off x="4428674" y="4724926"/>
                <a:ext cx="1721202" cy="828707"/>
                <a:chOff x="4297749" y="5090248"/>
                <a:chExt cx="1721202" cy="828707"/>
              </a:xfrm>
            </p:grpSpPr>
            <p:pic>
              <p:nvPicPr>
                <p:cNvPr id="118" name="Picture 52" descr="Morocco Flag Png - Circle, Transparent Png , Transparent Png Image - PNGitem">
                  <a:extLst>
                    <a:ext uri="{FF2B5EF4-FFF2-40B4-BE49-F238E27FC236}">
                      <a16:creationId xmlns:a16="http://schemas.microsoft.com/office/drawing/2014/main" id="{2831BBB7-19CA-D389-0F0E-F286BA1108A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510" t="4040" r="3814" b="6396"/>
                <a:stretch/>
              </p:blipFill>
              <p:spPr bwMode="auto">
                <a:xfrm>
                  <a:off x="4303023" y="5095696"/>
                  <a:ext cx="355962"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19" name="Picture 54">
                  <a:extLst>
                    <a:ext uri="{FF2B5EF4-FFF2-40B4-BE49-F238E27FC236}">
                      <a16:creationId xmlns:a16="http://schemas.microsoft.com/office/drawing/2014/main" id="{D8BAAEFC-4878-4F1F-0D2E-192CB2BD3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85181" y="509024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56" descr="France Circle Flag Clip Art Free PNG Image｜Illustoon">
                  <a:extLst>
                    <a:ext uri="{FF2B5EF4-FFF2-40B4-BE49-F238E27FC236}">
                      <a16:creationId xmlns:a16="http://schemas.microsoft.com/office/drawing/2014/main" id="{FEE87581-8F99-377A-00A9-B7567C79277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6457" t="15550" r="15379" b="16519"/>
                <a:stretch/>
              </p:blipFill>
              <p:spPr bwMode="auto">
                <a:xfrm>
                  <a:off x="4297749" y="5557900"/>
                  <a:ext cx="361236"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21" name="Picture 58" descr="The United Arab Emirates flag icon - Country flags">
                  <a:extLst>
                    <a:ext uri="{FF2B5EF4-FFF2-40B4-BE49-F238E27FC236}">
                      <a16:creationId xmlns:a16="http://schemas.microsoft.com/office/drawing/2014/main" id="{C07276BA-61E3-237C-323F-465753720C4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85181" y="5557900"/>
                  <a:ext cx="360000"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22" name="Picture 60" descr="Saudi Arabia flag icon - Country flags">
                  <a:extLst>
                    <a:ext uri="{FF2B5EF4-FFF2-40B4-BE49-F238E27FC236}">
                      <a16:creationId xmlns:a16="http://schemas.microsoft.com/office/drawing/2014/main" id="{F368FDE3-A2FE-6F9B-D59B-673A3E6283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12653" y="509024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62" descr="Belgium flag icon - Country flags">
                  <a:extLst>
                    <a:ext uri="{FF2B5EF4-FFF2-40B4-BE49-F238E27FC236}">
                      <a16:creationId xmlns:a16="http://schemas.microsoft.com/office/drawing/2014/main" id="{3404924F-FE12-BEB5-4402-AEC44BCAA6C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12653" y="555790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7" descr="Spain flag icon - Country flags">
                  <a:extLst>
                    <a:ext uri="{FF2B5EF4-FFF2-40B4-BE49-F238E27FC236}">
                      <a16:creationId xmlns:a16="http://schemas.microsoft.com/office/drawing/2014/main" id="{52F389C0-5393-DADD-C7F3-50F407177CA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58951" y="509024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69" descr="Round icon. Illustration of flag of Poland">
                  <a:extLst>
                    <a:ext uri="{FF2B5EF4-FFF2-40B4-BE49-F238E27FC236}">
                      <a16:creationId xmlns:a16="http://schemas.microsoft.com/office/drawing/2014/main" id="{E07EDA15-67E0-81D4-9EDD-D68DD637139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5487" t="3950" r="15692" b="4638"/>
                <a:stretch/>
              </p:blipFill>
              <p:spPr bwMode="auto">
                <a:xfrm>
                  <a:off x="5657104" y="5558955"/>
                  <a:ext cx="361847" cy="360000"/>
                </a:xfrm>
                <a:prstGeom prst="flowChartConnector">
                  <a:avLst/>
                </a:prstGeom>
                <a:noFill/>
                <a:extLst>
                  <a:ext uri="{909E8E84-426E-40DD-AFC4-6F175D3DCCD1}">
                    <a14:hiddenFill xmlns:a14="http://schemas.microsoft.com/office/drawing/2010/main">
                      <a:solidFill>
                        <a:srgbClr val="FFFFFF"/>
                      </a:solidFill>
                    </a14:hiddenFill>
                  </a:ext>
                </a:extLst>
              </p:spPr>
            </p:pic>
          </p:grpSp>
          <p:pic>
            <p:nvPicPr>
              <p:cNvPr id="116" name="Picture 71">
                <a:extLst>
                  <a:ext uri="{FF2B5EF4-FFF2-40B4-BE49-F238E27FC236}">
                    <a16:creationId xmlns:a16="http://schemas.microsoft.com/office/drawing/2014/main" id="{8169A2D7-7F90-B943-21CE-E173CD338F0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42550" y="4724926"/>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73" descr="Germany flag icon - Country flags">
                <a:extLst>
                  <a:ext uri="{FF2B5EF4-FFF2-40B4-BE49-F238E27FC236}">
                    <a16:creationId xmlns:a16="http://schemas.microsoft.com/office/drawing/2014/main" id="{A29446B9-CD24-17E4-2240-91ED7440DF1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242550" y="5193139"/>
                <a:ext cx="360000" cy="36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6" name="Group 125">
              <a:extLst>
                <a:ext uri="{FF2B5EF4-FFF2-40B4-BE49-F238E27FC236}">
                  <a16:creationId xmlns:a16="http://schemas.microsoft.com/office/drawing/2014/main" id="{A7DA05FE-D5CE-284C-F4FE-3B81725A26A4}"/>
                </a:ext>
              </a:extLst>
            </p:cNvPr>
            <p:cNvGrpSpPr/>
            <p:nvPr/>
          </p:nvGrpSpPr>
          <p:grpSpPr>
            <a:xfrm>
              <a:off x="7889674" y="5618461"/>
              <a:ext cx="3079321" cy="841315"/>
              <a:chOff x="8223960" y="4712318"/>
              <a:chExt cx="3079321" cy="841315"/>
            </a:xfrm>
          </p:grpSpPr>
          <p:grpSp>
            <p:nvGrpSpPr>
              <p:cNvPr id="127" name="Group 126">
                <a:extLst>
                  <a:ext uri="{FF2B5EF4-FFF2-40B4-BE49-F238E27FC236}">
                    <a16:creationId xmlns:a16="http://schemas.microsoft.com/office/drawing/2014/main" id="{E2983F4A-0DA0-C71D-F506-F91846079C89}"/>
                  </a:ext>
                </a:extLst>
              </p:cNvPr>
              <p:cNvGrpSpPr/>
              <p:nvPr/>
            </p:nvGrpSpPr>
            <p:grpSpPr>
              <a:xfrm>
                <a:off x="8223960" y="4724926"/>
                <a:ext cx="1721202" cy="828707"/>
                <a:chOff x="4297749" y="5090248"/>
                <a:chExt cx="1721202" cy="828707"/>
              </a:xfrm>
            </p:grpSpPr>
            <p:pic>
              <p:nvPicPr>
                <p:cNvPr id="134" name="Picture 52" descr="Morocco Flag Png - Circle, Transparent Png , Transparent Png Image - PNGitem">
                  <a:extLst>
                    <a:ext uri="{FF2B5EF4-FFF2-40B4-BE49-F238E27FC236}">
                      <a16:creationId xmlns:a16="http://schemas.microsoft.com/office/drawing/2014/main" id="{34BB7981-CA8A-0E28-588F-86B5FB87E49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510" t="4040" r="3814" b="6396"/>
                <a:stretch/>
              </p:blipFill>
              <p:spPr bwMode="auto">
                <a:xfrm>
                  <a:off x="4303023" y="5095696"/>
                  <a:ext cx="355962"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35" name="Picture 54">
                  <a:extLst>
                    <a:ext uri="{FF2B5EF4-FFF2-40B4-BE49-F238E27FC236}">
                      <a16:creationId xmlns:a16="http://schemas.microsoft.com/office/drawing/2014/main" id="{57CB3CF3-E796-CF39-F3C3-9C69C762DE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85181" y="509024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56" descr="France Circle Flag Clip Art Free PNG Image｜Illustoon">
                  <a:extLst>
                    <a:ext uri="{FF2B5EF4-FFF2-40B4-BE49-F238E27FC236}">
                      <a16:creationId xmlns:a16="http://schemas.microsoft.com/office/drawing/2014/main" id="{1EA07949-D71A-C3B2-0BDF-2B3371AB791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6457" t="15550" r="15379" b="16519"/>
                <a:stretch/>
              </p:blipFill>
              <p:spPr bwMode="auto">
                <a:xfrm>
                  <a:off x="4297749" y="5557900"/>
                  <a:ext cx="361236"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37" name="Picture 58" descr="The United Arab Emirates flag icon - Country flags">
                  <a:extLst>
                    <a:ext uri="{FF2B5EF4-FFF2-40B4-BE49-F238E27FC236}">
                      <a16:creationId xmlns:a16="http://schemas.microsoft.com/office/drawing/2014/main" id="{96702A1D-DE7E-C117-26C0-E7EB664728D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85181" y="5557900"/>
                  <a:ext cx="360000"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38" name="Picture 60" descr="Saudi Arabia flag icon - Country flags">
                  <a:extLst>
                    <a:ext uri="{FF2B5EF4-FFF2-40B4-BE49-F238E27FC236}">
                      <a16:creationId xmlns:a16="http://schemas.microsoft.com/office/drawing/2014/main" id="{D36F5D53-F6FE-E299-FBE6-AB96509EB3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12653" y="509024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2" descr="Belgium flag icon - Country flags">
                  <a:extLst>
                    <a:ext uri="{FF2B5EF4-FFF2-40B4-BE49-F238E27FC236}">
                      <a16:creationId xmlns:a16="http://schemas.microsoft.com/office/drawing/2014/main" id="{3DB92A3D-4F09-0991-2939-7315EC219DB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12653" y="555790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67" descr="Spain flag icon - Country flags">
                  <a:extLst>
                    <a:ext uri="{FF2B5EF4-FFF2-40B4-BE49-F238E27FC236}">
                      <a16:creationId xmlns:a16="http://schemas.microsoft.com/office/drawing/2014/main" id="{EDA9947C-BF0C-D003-B5FE-EB639F35E56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58951" y="509024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69" descr="Round icon. Illustration of flag of Poland">
                  <a:extLst>
                    <a:ext uri="{FF2B5EF4-FFF2-40B4-BE49-F238E27FC236}">
                      <a16:creationId xmlns:a16="http://schemas.microsoft.com/office/drawing/2014/main" id="{F22A4A24-E9AA-88E0-B22A-7FD636FD9EC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5487" t="3950" r="15692" b="4638"/>
                <a:stretch/>
              </p:blipFill>
              <p:spPr bwMode="auto">
                <a:xfrm>
                  <a:off x="5657104" y="5558955"/>
                  <a:ext cx="361847" cy="360000"/>
                </a:xfrm>
                <a:prstGeom prst="flowChartConnector">
                  <a:avLst/>
                </a:prstGeom>
                <a:noFill/>
                <a:extLst>
                  <a:ext uri="{909E8E84-426E-40DD-AFC4-6F175D3DCCD1}">
                    <a14:hiddenFill xmlns:a14="http://schemas.microsoft.com/office/drawing/2010/main">
                      <a:solidFill>
                        <a:srgbClr val="FFFFFF"/>
                      </a:solidFill>
                    </a14:hiddenFill>
                  </a:ext>
                </a:extLst>
              </p:spPr>
            </p:pic>
          </p:grpSp>
          <p:pic>
            <p:nvPicPr>
              <p:cNvPr id="128" name="Picture 71">
                <a:extLst>
                  <a:ext uri="{FF2B5EF4-FFF2-40B4-BE49-F238E27FC236}">
                    <a16:creationId xmlns:a16="http://schemas.microsoft.com/office/drawing/2014/main" id="{1A441CB7-E870-7EAF-488E-F74F6EB5884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37836" y="4724926"/>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73" descr="Germany flag icon - Country flags">
                <a:extLst>
                  <a:ext uri="{FF2B5EF4-FFF2-40B4-BE49-F238E27FC236}">
                    <a16:creationId xmlns:a16="http://schemas.microsoft.com/office/drawing/2014/main" id="{9CED5FB6-4549-39CE-28AC-9D1C7613AF7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037836" y="5193139"/>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75" descr="The Netherlands flag icon - Country flags">
                <a:extLst>
                  <a:ext uri="{FF2B5EF4-FFF2-40B4-BE49-F238E27FC236}">
                    <a16:creationId xmlns:a16="http://schemas.microsoft.com/office/drawing/2014/main" id="{8D200C27-D8D7-AE05-0AFB-0DEEDC207DF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502104" y="4730374"/>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78" descr="Pakistan Flag Circle Png, Transparent Png - vhv">
                <a:extLst>
                  <a:ext uri="{FF2B5EF4-FFF2-40B4-BE49-F238E27FC236}">
                    <a16:creationId xmlns:a16="http://schemas.microsoft.com/office/drawing/2014/main" id="{13FCBE85-7114-2403-06C4-DE8B1F1EB4E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24722" t="9800" r="24484" b="10511"/>
              <a:stretch/>
            </p:blipFill>
            <p:spPr bwMode="auto">
              <a:xfrm>
                <a:off x="10501333" y="5192578"/>
                <a:ext cx="360771"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32" name="Picture 80" descr="455 India Flag Circle Stock Photos, Pictures &amp;amp; Royalty-Free Images - iStock">
                <a:extLst>
                  <a:ext uri="{FF2B5EF4-FFF2-40B4-BE49-F238E27FC236}">
                    <a16:creationId xmlns:a16="http://schemas.microsoft.com/office/drawing/2014/main" id="{6A2EED54-F52A-8CD1-CC92-C0F4F9125B6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0416" t="12009" r="11008" b="11061"/>
              <a:stretch/>
            </p:blipFill>
            <p:spPr bwMode="auto">
              <a:xfrm>
                <a:off x="10927057" y="4712318"/>
                <a:ext cx="367704" cy="36000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33" name="Picture 85" descr="Egypt flag icon - Country flags">
                <a:extLst>
                  <a:ext uri="{FF2B5EF4-FFF2-40B4-BE49-F238E27FC236}">
                    <a16:creationId xmlns:a16="http://schemas.microsoft.com/office/drawing/2014/main" id="{5A6BB2CC-7B16-ED67-DF6F-04DDC952EA9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943281" y="5192578"/>
                <a:ext cx="360000" cy="36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42" name="Picture 141">
              <a:extLst>
                <a:ext uri="{FF2B5EF4-FFF2-40B4-BE49-F238E27FC236}">
                  <a16:creationId xmlns:a16="http://schemas.microsoft.com/office/drawing/2014/main" id="{049CB7C6-02D0-0C2E-CB70-D591CB0D8720}"/>
                </a:ext>
              </a:extLst>
            </p:cNvPr>
            <p:cNvPicPr>
              <a:picLocks noChangeAspect="1"/>
            </p:cNvPicPr>
            <p:nvPr/>
          </p:nvPicPr>
          <p:blipFill>
            <a:blip r:embed="rId20"/>
            <a:stretch>
              <a:fillRect/>
            </a:stretch>
          </p:blipFill>
          <p:spPr>
            <a:xfrm>
              <a:off x="11036320" y="5618461"/>
              <a:ext cx="360000" cy="360000"/>
            </a:xfrm>
            <a:prstGeom prst="rect">
              <a:avLst/>
            </a:prstGeom>
          </p:spPr>
        </p:pic>
        <p:pic>
          <p:nvPicPr>
            <p:cNvPr id="143" name="Picture 142">
              <a:extLst>
                <a:ext uri="{FF2B5EF4-FFF2-40B4-BE49-F238E27FC236}">
                  <a16:creationId xmlns:a16="http://schemas.microsoft.com/office/drawing/2014/main" id="{0C53715C-0E93-4CA8-9A49-A1ADE8AF305D}"/>
                </a:ext>
              </a:extLst>
            </p:cNvPr>
            <p:cNvPicPr>
              <a:picLocks noChangeAspect="1"/>
            </p:cNvPicPr>
            <p:nvPr/>
          </p:nvPicPr>
          <p:blipFill>
            <a:blip r:embed="rId21"/>
            <a:stretch>
              <a:fillRect/>
            </a:stretch>
          </p:blipFill>
          <p:spPr>
            <a:xfrm>
              <a:off x="11063957" y="6098721"/>
              <a:ext cx="360000" cy="360000"/>
            </a:xfrm>
            <a:prstGeom prst="rect">
              <a:avLst/>
            </a:prstGeom>
          </p:spPr>
        </p:pic>
      </p:grpSp>
      <p:sp>
        <p:nvSpPr>
          <p:cNvPr id="32" name="Freeform: Shape 31">
            <a:extLst>
              <a:ext uri="{FF2B5EF4-FFF2-40B4-BE49-F238E27FC236}">
                <a16:creationId xmlns:a16="http://schemas.microsoft.com/office/drawing/2014/main" id="{D04A554A-C27B-F1FB-CB65-AEA7B0FA09F7}"/>
              </a:ext>
            </a:extLst>
          </p:cNvPr>
          <p:cNvSpPr>
            <a:spLocks noChangeAspect="1"/>
          </p:cNvSpPr>
          <p:nvPr/>
        </p:nvSpPr>
        <p:spPr>
          <a:xfrm>
            <a:off x="618799" y="5533296"/>
            <a:ext cx="423840" cy="423840"/>
          </a:xfrm>
          <a:custGeom>
            <a:avLst/>
            <a:gdLst>
              <a:gd name="connsiteX0" fmla="*/ 533400 w 590550"/>
              <a:gd name="connsiteY0" fmla="*/ 495300 h 590550"/>
              <a:gd name="connsiteX1" fmla="*/ 552450 w 590550"/>
              <a:gd name="connsiteY1" fmla="*/ 495300 h 590550"/>
              <a:gd name="connsiteX2" fmla="*/ 552450 w 590550"/>
              <a:gd name="connsiteY2" fmla="*/ 514350 h 590550"/>
              <a:gd name="connsiteX3" fmla="*/ 533400 w 590550"/>
              <a:gd name="connsiteY3" fmla="*/ 514350 h 590550"/>
              <a:gd name="connsiteX4" fmla="*/ 495300 w 590550"/>
              <a:gd name="connsiteY4" fmla="*/ 495300 h 590550"/>
              <a:gd name="connsiteX5" fmla="*/ 514350 w 590550"/>
              <a:gd name="connsiteY5" fmla="*/ 495300 h 590550"/>
              <a:gd name="connsiteX6" fmla="*/ 514350 w 590550"/>
              <a:gd name="connsiteY6" fmla="*/ 514350 h 590550"/>
              <a:gd name="connsiteX7" fmla="*/ 495300 w 590550"/>
              <a:gd name="connsiteY7" fmla="*/ 514350 h 590550"/>
              <a:gd name="connsiteX8" fmla="*/ 457200 w 590550"/>
              <a:gd name="connsiteY8" fmla="*/ 495300 h 590550"/>
              <a:gd name="connsiteX9" fmla="*/ 476250 w 590550"/>
              <a:gd name="connsiteY9" fmla="*/ 495300 h 590550"/>
              <a:gd name="connsiteX10" fmla="*/ 476250 w 590550"/>
              <a:gd name="connsiteY10" fmla="*/ 514350 h 590550"/>
              <a:gd name="connsiteX11" fmla="*/ 457200 w 590550"/>
              <a:gd name="connsiteY11" fmla="*/ 514350 h 590550"/>
              <a:gd name="connsiteX12" fmla="*/ 419100 w 590550"/>
              <a:gd name="connsiteY12" fmla="*/ 495300 h 590550"/>
              <a:gd name="connsiteX13" fmla="*/ 438150 w 590550"/>
              <a:gd name="connsiteY13" fmla="*/ 495300 h 590550"/>
              <a:gd name="connsiteX14" fmla="*/ 438150 w 590550"/>
              <a:gd name="connsiteY14" fmla="*/ 514350 h 590550"/>
              <a:gd name="connsiteX15" fmla="*/ 419100 w 590550"/>
              <a:gd name="connsiteY15" fmla="*/ 514350 h 590550"/>
              <a:gd name="connsiteX16" fmla="*/ 419100 w 590550"/>
              <a:gd name="connsiteY16" fmla="*/ 457200 h 590550"/>
              <a:gd name="connsiteX17" fmla="*/ 552450 w 590550"/>
              <a:gd name="connsiteY17" fmla="*/ 457200 h 590550"/>
              <a:gd name="connsiteX18" fmla="*/ 552450 w 590550"/>
              <a:gd name="connsiteY18" fmla="*/ 476250 h 590550"/>
              <a:gd name="connsiteX19" fmla="*/ 419100 w 590550"/>
              <a:gd name="connsiteY19" fmla="*/ 476250 h 590550"/>
              <a:gd name="connsiteX20" fmla="*/ 419100 w 590550"/>
              <a:gd name="connsiteY20" fmla="*/ 419100 h 590550"/>
              <a:gd name="connsiteX21" fmla="*/ 552450 w 590550"/>
              <a:gd name="connsiteY21" fmla="*/ 419100 h 590550"/>
              <a:gd name="connsiteX22" fmla="*/ 552450 w 590550"/>
              <a:gd name="connsiteY22" fmla="*/ 438150 h 590550"/>
              <a:gd name="connsiteX23" fmla="*/ 419100 w 590550"/>
              <a:gd name="connsiteY23" fmla="*/ 438150 h 590550"/>
              <a:gd name="connsiteX24" fmla="*/ 247650 w 590550"/>
              <a:gd name="connsiteY24" fmla="*/ 342900 h 590550"/>
              <a:gd name="connsiteX25" fmla="*/ 247650 w 590550"/>
              <a:gd name="connsiteY25" fmla="*/ 476250 h 590550"/>
              <a:gd name="connsiteX26" fmla="*/ 105547 w 590550"/>
              <a:gd name="connsiteY26" fmla="*/ 476250 h 590550"/>
              <a:gd name="connsiteX27" fmla="*/ 190500 w 590550"/>
              <a:gd name="connsiteY27" fmla="*/ 514350 h 590550"/>
              <a:gd name="connsiteX28" fmla="*/ 304800 w 590550"/>
              <a:gd name="connsiteY28" fmla="*/ 400050 h 590550"/>
              <a:gd name="connsiteX29" fmla="*/ 289331 w 590550"/>
              <a:gd name="connsiteY29" fmla="*/ 342900 h 590550"/>
              <a:gd name="connsiteX30" fmla="*/ 114300 w 590550"/>
              <a:gd name="connsiteY30" fmla="*/ 315068 h 590550"/>
              <a:gd name="connsiteX31" fmla="*/ 76200 w 590550"/>
              <a:gd name="connsiteY31" fmla="*/ 400050 h 590550"/>
              <a:gd name="connsiteX32" fmla="*/ 91669 w 590550"/>
              <a:gd name="connsiteY32" fmla="*/ 457200 h 590550"/>
              <a:gd name="connsiteX33" fmla="*/ 114300 w 590550"/>
              <a:gd name="connsiteY33" fmla="*/ 457200 h 590550"/>
              <a:gd name="connsiteX34" fmla="*/ 190500 w 590550"/>
              <a:gd name="connsiteY34" fmla="*/ 285750 h 590550"/>
              <a:gd name="connsiteX35" fmla="*/ 190500 w 590550"/>
              <a:gd name="connsiteY35" fmla="*/ 457200 h 590550"/>
              <a:gd name="connsiteX36" fmla="*/ 228600 w 590550"/>
              <a:gd name="connsiteY36" fmla="*/ 457200 h 590550"/>
              <a:gd name="connsiteX37" fmla="*/ 228600 w 590550"/>
              <a:gd name="connsiteY37" fmla="*/ 323850 h 590550"/>
              <a:gd name="connsiteX38" fmla="*/ 275453 w 590550"/>
              <a:gd name="connsiteY38" fmla="*/ 323850 h 590550"/>
              <a:gd name="connsiteX39" fmla="*/ 190500 w 590550"/>
              <a:gd name="connsiteY39" fmla="*/ 285750 h 590550"/>
              <a:gd name="connsiteX40" fmla="*/ 84611 w 590550"/>
              <a:gd name="connsiteY40" fmla="*/ 263462 h 590550"/>
              <a:gd name="connsiteX41" fmla="*/ 53912 w 590550"/>
              <a:gd name="connsiteY41" fmla="*/ 294161 h 590550"/>
              <a:gd name="connsiteX42" fmla="*/ 64227 w 590550"/>
              <a:gd name="connsiteY42" fmla="*/ 314811 h 590550"/>
              <a:gd name="connsiteX43" fmla="*/ 61389 w 590550"/>
              <a:gd name="connsiteY43" fmla="*/ 319345 h 590550"/>
              <a:gd name="connsiteX44" fmla="*/ 42091 w 590550"/>
              <a:gd name="connsiteY44" fmla="*/ 365836 h 590550"/>
              <a:gd name="connsiteX45" fmla="*/ 40900 w 590550"/>
              <a:gd name="connsiteY45" fmla="*/ 371046 h 590550"/>
              <a:gd name="connsiteX46" fmla="*/ 19050 w 590550"/>
              <a:gd name="connsiteY46" fmla="*/ 378333 h 590550"/>
              <a:gd name="connsiteX47" fmla="*/ 19050 w 590550"/>
              <a:gd name="connsiteY47" fmla="*/ 421757 h 590550"/>
              <a:gd name="connsiteX48" fmla="*/ 40900 w 590550"/>
              <a:gd name="connsiteY48" fmla="*/ 429054 h 590550"/>
              <a:gd name="connsiteX49" fmla="*/ 42091 w 590550"/>
              <a:gd name="connsiteY49" fmla="*/ 434264 h 590550"/>
              <a:gd name="connsiteX50" fmla="*/ 61389 w 590550"/>
              <a:gd name="connsiteY50" fmla="*/ 480755 h 590550"/>
              <a:gd name="connsiteX51" fmla="*/ 64227 w 590550"/>
              <a:gd name="connsiteY51" fmla="*/ 485289 h 590550"/>
              <a:gd name="connsiteX52" fmla="*/ 53912 w 590550"/>
              <a:gd name="connsiteY52" fmla="*/ 505939 h 590550"/>
              <a:gd name="connsiteX53" fmla="*/ 84611 w 590550"/>
              <a:gd name="connsiteY53" fmla="*/ 536639 h 590550"/>
              <a:gd name="connsiteX54" fmla="*/ 105261 w 590550"/>
              <a:gd name="connsiteY54" fmla="*/ 526323 h 590550"/>
              <a:gd name="connsiteX55" fmla="*/ 109795 w 590550"/>
              <a:gd name="connsiteY55" fmla="*/ 529161 h 590550"/>
              <a:gd name="connsiteX56" fmla="*/ 156286 w 590550"/>
              <a:gd name="connsiteY56" fmla="*/ 548459 h 590550"/>
              <a:gd name="connsiteX57" fmla="*/ 161496 w 590550"/>
              <a:gd name="connsiteY57" fmla="*/ 549650 h 590550"/>
              <a:gd name="connsiteX58" fmla="*/ 168783 w 590550"/>
              <a:gd name="connsiteY58" fmla="*/ 571500 h 590550"/>
              <a:gd name="connsiteX59" fmla="*/ 212207 w 590550"/>
              <a:gd name="connsiteY59" fmla="*/ 571500 h 590550"/>
              <a:gd name="connsiteX60" fmla="*/ 219504 w 590550"/>
              <a:gd name="connsiteY60" fmla="*/ 549650 h 590550"/>
              <a:gd name="connsiteX61" fmla="*/ 224714 w 590550"/>
              <a:gd name="connsiteY61" fmla="*/ 548459 h 590550"/>
              <a:gd name="connsiteX62" fmla="*/ 271205 w 590550"/>
              <a:gd name="connsiteY62" fmla="*/ 529161 h 590550"/>
              <a:gd name="connsiteX63" fmla="*/ 275739 w 590550"/>
              <a:gd name="connsiteY63" fmla="*/ 526323 h 590550"/>
              <a:gd name="connsiteX64" fmla="*/ 296389 w 590550"/>
              <a:gd name="connsiteY64" fmla="*/ 536639 h 590550"/>
              <a:gd name="connsiteX65" fmla="*/ 327089 w 590550"/>
              <a:gd name="connsiteY65" fmla="*/ 505939 h 590550"/>
              <a:gd name="connsiteX66" fmla="*/ 316773 w 590550"/>
              <a:gd name="connsiteY66" fmla="*/ 485289 h 590550"/>
              <a:gd name="connsiteX67" fmla="*/ 319611 w 590550"/>
              <a:gd name="connsiteY67" fmla="*/ 480755 h 590550"/>
              <a:gd name="connsiteX68" fmla="*/ 338909 w 590550"/>
              <a:gd name="connsiteY68" fmla="*/ 434264 h 590550"/>
              <a:gd name="connsiteX69" fmla="*/ 340100 w 590550"/>
              <a:gd name="connsiteY69" fmla="*/ 429054 h 590550"/>
              <a:gd name="connsiteX70" fmla="*/ 361950 w 590550"/>
              <a:gd name="connsiteY70" fmla="*/ 421767 h 590550"/>
              <a:gd name="connsiteX71" fmla="*/ 361950 w 590550"/>
              <a:gd name="connsiteY71" fmla="*/ 378343 h 590550"/>
              <a:gd name="connsiteX72" fmla="*/ 340090 w 590550"/>
              <a:gd name="connsiteY72" fmla="*/ 371056 h 590550"/>
              <a:gd name="connsiteX73" fmla="*/ 338900 w 590550"/>
              <a:gd name="connsiteY73" fmla="*/ 365846 h 590550"/>
              <a:gd name="connsiteX74" fmla="*/ 331460 w 590550"/>
              <a:gd name="connsiteY74" fmla="*/ 342900 h 590550"/>
              <a:gd name="connsiteX75" fmla="*/ 310801 w 590550"/>
              <a:gd name="connsiteY75" fmla="*/ 342900 h 590550"/>
              <a:gd name="connsiteX76" fmla="*/ 323850 w 590550"/>
              <a:gd name="connsiteY76" fmla="*/ 400050 h 590550"/>
              <a:gd name="connsiteX77" fmla="*/ 190500 w 590550"/>
              <a:gd name="connsiteY77" fmla="*/ 533400 h 590550"/>
              <a:gd name="connsiteX78" fmla="*/ 57150 w 590550"/>
              <a:gd name="connsiteY78" fmla="*/ 400050 h 590550"/>
              <a:gd name="connsiteX79" fmla="*/ 114300 w 590550"/>
              <a:gd name="connsiteY79" fmla="*/ 290865 h 590550"/>
              <a:gd name="connsiteX80" fmla="*/ 114300 w 590550"/>
              <a:gd name="connsiteY80" fmla="*/ 268319 h 590550"/>
              <a:gd name="connsiteX81" fmla="*/ 109795 w 590550"/>
              <a:gd name="connsiteY81" fmla="*/ 270939 h 590550"/>
              <a:gd name="connsiteX82" fmla="*/ 105261 w 590550"/>
              <a:gd name="connsiteY82" fmla="*/ 273777 h 590550"/>
              <a:gd name="connsiteX83" fmla="*/ 190500 w 590550"/>
              <a:gd name="connsiteY83" fmla="*/ 228600 h 590550"/>
              <a:gd name="connsiteX84" fmla="*/ 190500 w 590550"/>
              <a:gd name="connsiteY84" fmla="*/ 266700 h 590550"/>
              <a:gd name="connsiteX85" fmla="*/ 299780 w 590550"/>
              <a:gd name="connsiteY85" fmla="*/ 323850 h 590550"/>
              <a:gd name="connsiteX86" fmla="*/ 314325 w 590550"/>
              <a:gd name="connsiteY86" fmla="*/ 323850 h 590550"/>
              <a:gd name="connsiteX87" fmla="*/ 314325 w 590550"/>
              <a:gd name="connsiteY87" fmla="*/ 281407 h 590550"/>
              <a:gd name="connsiteX88" fmla="*/ 296380 w 590550"/>
              <a:gd name="connsiteY88" fmla="*/ 263462 h 590550"/>
              <a:gd name="connsiteX89" fmla="*/ 275730 w 590550"/>
              <a:gd name="connsiteY89" fmla="*/ 273777 h 590550"/>
              <a:gd name="connsiteX90" fmla="*/ 271196 w 590550"/>
              <a:gd name="connsiteY90" fmla="*/ 270939 h 590550"/>
              <a:gd name="connsiteX91" fmla="*/ 224704 w 590550"/>
              <a:gd name="connsiteY91" fmla="*/ 251641 h 590550"/>
              <a:gd name="connsiteX92" fmla="*/ 219494 w 590550"/>
              <a:gd name="connsiteY92" fmla="*/ 250450 h 590550"/>
              <a:gd name="connsiteX93" fmla="*/ 212207 w 590550"/>
              <a:gd name="connsiteY93" fmla="*/ 228600 h 590550"/>
              <a:gd name="connsiteX94" fmla="*/ 147133 w 590550"/>
              <a:gd name="connsiteY94" fmla="*/ 98498 h 590550"/>
              <a:gd name="connsiteX95" fmla="*/ 110661 w 590550"/>
              <a:gd name="connsiteY95" fmla="*/ 171450 h 590550"/>
              <a:gd name="connsiteX96" fmla="*/ 133350 w 590550"/>
              <a:gd name="connsiteY96" fmla="*/ 171450 h 590550"/>
              <a:gd name="connsiteX97" fmla="*/ 133350 w 590550"/>
              <a:gd name="connsiteY97" fmla="*/ 457200 h 590550"/>
              <a:gd name="connsiteX98" fmla="*/ 171450 w 590550"/>
              <a:gd name="connsiteY98" fmla="*/ 457200 h 590550"/>
              <a:gd name="connsiteX99" fmla="*/ 171450 w 590550"/>
              <a:gd name="connsiteY99" fmla="*/ 171450 h 590550"/>
              <a:gd name="connsiteX100" fmla="*/ 194139 w 590550"/>
              <a:gd name="connsiteY100" fmla="*/ 171450 h 590550"/>
              <a:gd name="connsiteX101" fmla="*/ 157658 w 590550"/>
              <a:gd name="connsiteY101" fmla="*/ 98498 h 590550"/>
              <a:gd name="connsiteX102" fmla="*/ 147133 w 590550"/>
              <a:gd name="connsiteY102" fmla="*/ 98498 h 590550"/>
              <a:gd name="connsiteX103" fmla="*/ 347158 w 590550"/>
              <a:gd name="connsiteY103" fmla="*/ 60398 h 590550"/>
              <a:gd name="connsiteX104" fmla="*/ 310686 w 590550"/>
              <a:gd name="connsiteY104" fmla="*/ 133350 h 590550"/>
              <a:gd name="connsiteX105" fmla="*/ 333375 w 590550"/>
              <a:gd name="connsiteY105" fmla="*/ 133350 h 590550"/>
              <a:gd name="connsiteX106" fmla="*/ 333375 w 590550"/>
              <a:gd name="connsiteY106" fmla="*/ 323850 h 590550"/>
              <a:gd name="connsiteX107" fmla="*/ 371475 w 590550"/>
              <a:gd name="connsiteY107" fmla="*/ 323850 h 590550"/>
              <a:gd name="connsiteX108" fmla="*/ 371475 w 590550"/>
              <a:gd name="connsiteY108" fmla="*/ 133350 h 590550"/>
              <a:gd name="connsiteX109" fmla="*/ 394164 w 590550"/>
              <a:gd name="connsiteY109" fmla="*/ 133350 h 590550"/>
              <a:gd name="connsiteX110" fmla="*/ 357683 w 590550"/>
              <a:gd name="connsiteY110" fmla="*/ 60398 h 590550"/>
              <a:gd name="connsiteX111" fmla="*/ 347158 w 590550"/>
              <a:gd name="connsiteY111" fmla="*/ 60398 h 590550"/>
              <a:gd name="connsiteX112" fmla="*/ 509083 w 590550"/>
              <a:gd name="connsiteY112" fmla="*/ 22298 h 590550"/>
              <a:gd name="connsiteX113" fmla="*/ 472611 w 590550"/>
              <a:gd name="connsiteY113" fmla="*/ 95250 h 590550"/>
              <a:gd name="connsiteX114" fmla="*/ 495300 w 590550"/>
              <a:gd name="connsiteY114" fmla="*/ 95250 h 590550"/>
              <a:gd name="connsiteX115" fmla="*/ 495300 w 590550"/>
              <a:gd name="connsiteY115" fmla="*/ 209550 h 590550"/>
              <a:gd name="connsiteX116" fmla="*/ 533400 w 590550"/>
              <a:gd name="connsiteY116" fmla="*/ 209550 h 590550"/>
              <a:gd name="connsiteX117" fmla="*/ 533400 w 590550"/>
              <a:gd name="connsiteY117" fmla="*/ 95250 h 590550"/>
              <a:gd name="connsiteX118" fmla="*/ 556089 w 590550"/>
              <a:gd name="connsiteY118" fmla="*/ 95250 h 590550"/>
              <a:gd name="connsiteX119" fmla="*/ 519608 w 590550"/>
              <a:gd name="connsiteY119" fmla="*/ 22298 h 590550"/>
              <a:gd name="connsiteX120" fmla="*/ 509083 w 590550"/>
              <a:gd name="connsiteY120" fmla="*/ 22298 h 590550"/>
              <a:gd name="connsiteX121" fmla="*/ 514350 w 590550"/>
              <a:gd name="connsiteY121" fmla="*/ 0 h 590550"/>
              <a:gd name="connsiteX122" fmla="*/ 536658 w 590550"/>
              <a:gd name="connsiteY122" fmla="*/ 13792 h 590550"/>
              <a:gd name="connsiteX123" fmla="*/ 586911 w 590550"/>
              <a:gd name="connsiteY123" fmla="*/ 114300 h 590550"/>
              <a:gd name="connsiteX124" fmla="*/ 552450 w 590550"/>
              <a:gd name="connsiteY124" fmla="*/ 114300 h 590550"/>
              <a:gd name="connsiteX125" fmla="*/ 552450 w 590550"/>
              <a:gd name="connsiteY125" fmla="*/ 209550 h 590550"/>
              <a:gd name="connsiteX126" fmla="*/ 590550 w 590550"/>
              <a:gd name="connsiteY126" fmla="*/ 209550 h 590550"/>
              <a:gd name="connsiteX127" fmla="*/ 590550 w 590550"/>
              <a:gd name="connsiteY127" fmla="*/ 228600 h 590550"/>
              <a:gd name="connsiteX128" fmla="*/ 447675 w 590550"/>
              <a:gd name="connsiteY128" fmla="*/ 228600 h 590550"/>
              <a:gd name="connsiteX129" fmla="*/ 447675 w 590550"/>
              <a:gd name="connsiteY129" fmla="*/ 342900 h 590550"/>
              <a:gd name="connsiteX130" fmla="*/ 352025 w 590550"/>
              <a:gd name="connsiteY130" fmla="*/ 342900 h 590550"/>
              <a:gd name="connsiteX131" fmla="*/ 356178 w 590550"/>
              <a:gd name="connsiteY131" fmla="*/ 356340 h 590550"/>
              <a:gd name="connsiteX132" fmla="*/ 381000 w 590550"/>
              <a:gd name="connsiteY132" fmla="*/ 364617 h 590550"/>
              <a:gd name="connsiteX133" fmla="*/ 381000 w 590550"/>
              <a:gd name="connsiteY133" fmla="*/ 435493 h 590550"/>
              <a:gd name="connsiteX134" fmla="*/ 356168 w 590550"/>
              <a:gd name="connsiteY134" fmla="*/ 443770 h 590550"/>
              <a:gd name="connsiteX135" fmla="*/ 338538 w 590550"/>
              <a:gd name="connsiteY135" fmla="*/ 486251 h 590550"/>
              <a:gd name="connsiteX136" fmla="*/ 350253 w 590550"/>
              <a:gd name="connsiteY136" fmla="*/ 509692 h 590550"/>
              <a:gd name="connsiteX137" fmla="*/ 300142 w 590550"/>
              <a:gd name="connsiteY137" fmla="*/ 559813 h 590550"/>
              <a:gd name="connsiteX138" fmla="*/ 276692 w 590550"/>
              <a:gd name="connsiteY138" fmla="*/ 548088 h 590550"/>
              <a:gd name="connsiteX139" fmla="*/ 234210 w 590550"/>
              <a:gd name="connsiteY139" fmla="*/ 565728 h 590550"/>
              <a:gd name="connsiteX140" fmla="*/ 225933 w 590550"/>
              <a:gd name="connsiteY140" fmla="*/ 590550 h 590550"/>
              <a:gd name="connsiteX141" fmla="*/ 155057 w 590550"/>
              <a:gd name="connsiteY141" fmla="*/ 590550 h 590550"/>
              <a:gd name="connsiteX142" fmla="*/ 146780 w 590550"/>
              <a:gd name="connsiteY142" fmla="*/ 565718 h 590550"/>
              <a:gd name="connsiteX143" fmla="*/ 104299 w 590550"/>
              <a:gd name="connsiteY143" fmla="*/ 548088 h 590550"/>
              <a:gd name="connsiteX144" fmla="*/ 80858 w 590550"/>
              <a:gd name="connsiteY144" fmla="*/ 559803 h 590550"/>
              <a:gd name="connsiteX145" fmla="*/ 30737 w 590550"/>
              <a:gd name="connsiteY145" fmla="*/ 509683 h 590550"/>
              <a:gd name="connsiteX146" fmla="*/ 42453 w 590550"/>
              <a:gd name="connsiteY146" fmla="*/ 486242 h 590550"/>
              <a:gd name="connsiteX147" fmla="*/ 24822 w 590550"/>
              <a:gd name="connsiteY147" fmla="*/ 443760 h 590550"/>
              <a:gd name="connsiteX148" fmla="*/ 0 w 590550"/>
              <a:gd name="connsiteY148" fmla="*/ 435483 h 590550"/>
              <a:gd name="connsiteX149" fmla="*/ 0 w 590550"/>
              <a:gd name="connsiteY149" fmla="*/ 364607 h 590550"/>
              <a:gd name="connsiteX150" fmla="*/ 24832 w 590550"/>
              <a:gd name="connsiteY150" fmla="*/ 356330 h 590550"/>
              <a:gd name="connsiteX151" fmla="*/ 42462 w 590550"/>
              <a:gd name="connsiteY151" fmla="*/ 313849 h 590550"/>
              <a:gd name="connsiteX152" fmla="*/ 30747 w 590550"/>
              <a:gd name="connsiteY152" fmla="*/ 290408 h 590550"/>
              <a:gd name="connsiteX153" fmla="*/ 80867 w 590550"/>
              <a:gd name="connsiteY153" fmla="*/ 240287 h 590550"/>
              <a:gd name="connsiteX154" fmla="*/ 104308 w 590550"/>
              <a:gd name="connsiteY154" fmla="*/ 252012 h 590550"/>
              <a:gd name="connsiteX155" fmla="*/ 114300 w 590550"/>
              <a:gd name="connsiteY155" fmla="*/ 246840 h 590550"/>
              <a:gd name="connsiteX156" fmla="*/ 114300 w 590550"/>
              <a:gd name="connsiteY156" fmla="*/ 190500 h 590550"/>
              <a:gd name="connsiteX157" fmla="*/ 79839 w 590550"/>
              <a:gd name="connsiteY157" fmla="*/ 190500 h 590550"/>
              <a:gd name="connsiteX158" fmla="*/ 130092 w 590550"/>
              <a:gd name="connsiteY158" fmla="*/ 89983 h 590550"/>
              <a:gd name="connsiteX159" fmla="*/ 152400 w 590550"/>
              <a:gd name="connsiteY159" fmla="*/ 76200 h 590550"/>
              <a:gd name="connsiteX160" fmla="*/ 174708 w 590550"/>
              <a:gd name="connsiteY160" fmla="*/ 89992 h 590550"/>
              <a:gd name="connsiteX161" fmla="*/ 224961 w 590550"/>
              <a:gd name="connsiteY161" fmla="*/ 190500 h 590550"/>
              <a:gd name="connsiteX162" fmla="*/ 190500 w 590550"/>
              <a:gd name="connsiteY162" fmla="*/ 190500 h 590550"/>
              <a:gd name="connsiteX163" fmla="*/ 190500 w 590550"/>
              <a:gd name="connsiteY163" fmla="*/ 209550 h 590550"/>
              <a:gd name="connsiteX164" fmla="*/ 225943 w 590550"/>
              <a:gd name="connsiteY164" fmla="*/ 209550 h 590550"/>
              <a:gd name="connsiteX165" fmla="*/ 234220 w 590550"/>
              <a:gd name="connsiteY165" fmla="*/ 234372 h 590550"/>
              <a:gd name="connsiteX166" fmla="*/ 276701 w 590550"/>
              <a:gd name="connsiteY166" fmla="*/ 252012 h 590550"/>
              <a:gd name="connsiteX167" fmla="*/ 300152 w 590550"/>
              <a:gd name="connsiteY167" fmla="*/ 240287 h 590550"/>
              <a:gd name="connsiteX168" fmla="*/ 314325 w 590550"/>
              <a:gd name="connsiteY168" fmla="*/ 254470 h 590550"/>
              <a:gd name="connsiteX169" fmla="*/ 314325 w 590550"/>
              <a:gd name="connsiteY169" fmla="*/ 152400 h 590550"/>
              <a:gd name="connsiteX170" fmla="*/ 279864 w 590550"/>
              <a:gd name="connsiteY170" fmla="*/ 152400 h 590550"/>
              <a:gd name="connsiteX171" fmla="*/ 330117 w 590550"/>
              <a:gd name="connsiteY171" fmla="*/ 51883 h 590550"/>
              <a:gd name="connsiteX172" fmla="*/ 352425 w 590550"/>
              <a:gd name="connsiteY172" fmla="*/ 38100 h 590550"/>
              <a:gd name="connsiteX173" fmla="*/ 374733 w 590550"/>
              <a:gd name="connsiteY173" fmla="*/ 51892 h 590550"/>
              <a:gd name="connsiteX174" fmla="*/ 424986 w 590550"/>
              <a:gd name="connsiteY174" fmla="*/ 152400 h 590550"/>
              <a:gd name="connsiteX175" fmla="*/ 390525 w 590550"/>
              <a:gd name="connsiteY175" fmla="*/ 152400 h 590550"/>
              <a:gd name="connsiteX176" fmla="*/ 390525 w 590550"/>
              <a:gd name="connsiteY176" fmla="*/ 323850 h 590550"/>
              <a:gd name="connsiteX177" fmla="*/ 428625 w 590550"/>
              <a:gd name="connsiteY177" fmla="*/ 323850 h 590550"/>
              <a:gd name="connsiteX178" fmla="*/ 428625 w 590550"/>
              <a:gd name="connsiteY178" fmla="*/ 209550 h 590550"/>
              <a:gd name="connsiteX179" fmla="*/ 476250 w 590550"/>
              <a:gd name="connsiteY179" fmla="*/ 209550 h 590550"/>
              <a:gd name="connsiteX180" fmla="*/ 476250 w 590550"/>
              <a:gd name="connsiteY180" fmla="*/ 114300 h 590550"/>
              <a:gd name="connsiteX181" fmla="*/ 441789 w 590550"/>
              <a:gd name="connsiteY181" fmla="*/ 114300 h 590550"/>
              <a:gd name="connsiteX182" fmla="*/ 492042 w 590550"/>
              <a:gd name="connsiteY182" fmla="*/ 13783 h 590550"/>
              <a:gd name="connsiteX183" fmla="*/ 514350 w 590550"/>
              <a:gd name="connsiteY183" fmla="*/ 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90550" h="590550">
                <a:moveTo>
                  <a:pt x="533400" y="495300"/>
                </a:moveTo>
                <a:lnTo>
                  <a:pt x="552450" y="495300"/>
                </a:lnTo>
                <a:lnTo>
                  <a:pt x="552450" y="514350"/>
                </a:lnTo>
                <a:lnTo>
                  <a:pt x="533400" y="514350"/>
                </a:lnTo>
                <a:close/>
                <a:moveTo>
                  <a:pt x="495300" y="495300"/>
                </a:moveTo>
                <a:lnTo>
                  <a:pt x="514350" y="495300"/>
                </a:lnTo>
                <a:lnTo>
                  <a:pt x="514350" y="514350"/>
                </a:lnTo>
                <a:lnTo>
                  <a:pt x="495300" y="514350"/>
                </a:lnTo>
                <a:close/>
                <a:moveTo>
                  <a:pt x="457200" y="495300"/>
                </a:moveTo>
                <a:lnTo>
                  <a:pt x="476250" y="495300"/>
                </a:lnTo>
                <a:lnTo>
                  <a:pt x="476250" y="514350"/>
                </a:lnTo>
                <a:lnTo>
                  <a:pt x="457200" y="514350"/>
                </a:lnTo>
                <a:close/>
                <a:moveTo>
                  <a:pt x="419100" y="495300"/>
                </a:moveTo>
                <a:lnTo>
                  <a:pt x="438150" y="495300"/>
                </a:lnTo>
                <a:lnTo>
                  <a:pt x="438150" y="514350"/>
                </a:lnTo>
                <a:lnTo>
                  <a:pt x="419100" y="514350"/>
                </a:lnTo>
                <a:close/>
                <a:moveTo>
                  <a:pt x="419100" y="457200"/>
                </a:moveTo>
                <a:lnTo>
                  <a:pt x="552450" y="457200"/>
                </a:lnTo>
                <a:lnTo>
                  <a:pt x="552450" y="476250"/>
                </a:lnTo>
                <a:lnTo>
                  <a:pt x="419100" y="476250"/>
                </a:lnTo>
                <a:close/>
                <a:moveTo>
                  <a:pt x="419100" y="419100"/>
                </a:moveTo>
                <a:lnTo>
                  <a:pt x="552450" y="419100"/>
                </a:lnTo>
                <a:lnTo>
                  <a:pt x="552450" y="438150"/>
                </a:lnTo>
                <a:lnTo>
                  <a:pt x="419100" y="438150"/>
                </a:lnTo>
                <a:close/>
                <a:moveTo>
                  <a:pt x="247650" y="342900"/>
                </a:moveTo>
                <a:lnTo>
                  <a:pt x="247650" y="476250"/>
                </a:lnTo>
                <a:lnTo>
                  <a:pt x="105547" y="476250"/>
                </a:lnTo>
                <a:cubicBezTo>
                  <a:pt x="126492" y="499567"/>
                  <a:pt x="156762" y="514350"/>
                  <a:pt x="190500" y="514350"/>
                </a:cubicBezTo>
                <a:cubicBezTo>
                  <a:pt x="253527" y="514350"/>
                  <a:pt x="304800" y="463077"/>
                  <a:pt x="304800" y="400050"/>
                </a:cubicBezTo>
                <a:cubicBezTo>
                  <a:pt x="304800" y="379219"/>
                  <a:pt x="299104" y="359740"/>
                  <a:pt x="289331" y="342900"/>
                </a:cubicBezTo>
                <a:close/>
                <a:moveTo>
                  <a:pt x="114300" y="315068"/>
                </a:moveTo>
                <a:cubicBezTo>
                  <a:pt x="90259" y="336575"/>
                  <a:pt x="76200" y="367141"/>
                  <a:pt x="76200" y="400050"/>
                </a:cubicBezTo>
                <a:cubicBezTo>
                  <a:pt x="76200" y="420881"/>
                  <a:pt x="81896" y="440360"/>
                  <a:pt x="91669" y="457200"/>
                </a:cubicBezTo>
                <a:lnTo>
                  <a:pt x="114300" y="457200"/>
                </a:lnTo>
                <a:close/>
                <a:moveTo>
                  <a:pt x="190500" y="285750"/>
                </a:moveTo>
                <a:lnTo>
                  <a:pt x="190500" y="457200"/>
                </a:lnTo>
                <a:lnTo>
                  <a:pt x="228600" y="457200"/>
                </a:lnTo>
                <a:lnTo>
                  <a:pt x="228600" y="323850"/>
                </a:lnTo>
                <a:lnTo>
                  <a:pt x="275453" y="323850"/>
                </a:lnTo>
                <a:cubicBezTo>
                  <a:pt x="254508" y="300533"/>
                  <a:pt x="224238" y="285750"/>
                  <a:pt x="190500" y="285750"/>
                </a:cubicBezTo>
                <a:close/>
                <a:moveTo>
                  <a:pt x="84611" y="263462"/>
                </a:moveTo>
                <a:lnTo>
                  <a:pt x="53912" y="294161"/>
                </a:lnTo>
                <a:lnTo>
                  <a:pt x="64227" y="314811"/>
                </a:lnTo>
                <a:lnTo>
                  <a:pt x="61389" y="319345"/>
                </a:lnTo>
                <a:cubicBezTo>
                  <a:pt x="52359" y="333766"/>
                  <a:pt x="45863" y="349406"/>
                  <a:pt x="42091" y="365836"/>
                </a:cubicBezTo>
                <a:lnTo>
                  <a:pt x="40900" y="371046"/>
                </a:lnTo>
                <a:lnTo>
                  <a:pt x="19050" y="378333"/>
                </a:lnTo>
                <a:lnTo>
                  <a:pt x="19050" y="421757"/>
                </a:lnTo>
                <a:lnTo>
                  <a:pt x="40900" y="429054"/>
                </a:lnTo>
                <a:lnTo>
                  <a:pt x="42091" y="434264"/>
                </a:lnTo>
                <a:cubicBezTo>
                  <a:pt x="45863" y="450694"/>
                  <a:pt x="52349" y="466334"/>
                  <a:pt x="61389" y="480755"/>
                </a:cubicBezTo>
                <a:lnTo>
                  <a:pt x="64227" y="485289"/>
                </a:lnTo>
                <a:lnTo>
                  <a:pt x="53912" y="505939"/>
                </a:lnTo>
                <a:lnTo>
                  <a:pt x="84611" y="536639"/>
                </a:lnTo>
                <a:lnTo>
                  <a:pt x="105261" y="526323"/>
                </a:lnTo>
                <a:lnTo>
                  <a:pt x="109795" y="529161"/>
                </a:lnTo>
                <a:cubicBezTo>
                  <a:pt x="124216" y="538191"/>
                  <a:pt x="139856" y="544687"/>
                  <a:pt x="156286" y="548459"/>
                </a:cubicBezTo>
                <a:lnTo>
                  <a:pt x="161496" y="549650"/>
                </a:lnTo>
                <a:lnTo>
                  <a:pt x="168783" y="571500"/>
                </a:lnTo>
                <a:lnTo>
                  <a:pt x="212207" y="571500"/>
                </a:lnTo>
                <a:lnTo>
                  <a:pt x="219504" y="549650"/>
                </a:lnTo>
                <a:lnTo>
                  <a:pt x="224714" y="548459"/>
                </a:lnTo>
                <a:cubicBezTo>
                  <a:pt x="241144" y="544687"/>
                  <a:pt x="256784" y="538201"/>
                  <a:pt x="271205" y="529161"/>
                </a:cubicBezTo>
                <a:lnTo>
                  <a:pt x="275739" y="526323"/>
                </a:lnTo>
                <a:lnTo>
                  <a:pt x="296389" y="536639"/>
                </a:lnTo>
                <a:lnTo>
                  <a:pt x="327089" y="505939"/>
                </a:lnTo>
                <a:lnTo>
                  <a:pt x="316773" y="485289"/>
                </a:lnTo>
                <a:lnTo>
                  <a:pt x="319611" y="480755"/>
                </a:lnTo>
                <a:cubicBezTo>
                  <a:pt x="328641" y="466334"/>
                  <a:pt x="335137" y="450694"/>
                  <a:pt x="338909" y="434264"/>
                </a:cubicBezTo>
                <a:lnTo>
                  <a:pt x="340100" y="429054"/>
                </a:lnTo>
                <a:lnTo>
                  <a:pt x="361950" y="421767"/>
                </a:lnTo>
                <a:lnTo>
                  <a:pt x="361950" y="378343"/>
                </a:lnTo>
                <a:lnTo>
                  <a:pt x="340090" y="371056"/>
                </a:lnTo>
                <a:lnTo>
                  <a:pt x="338900" y="365846"/>
                </a:lnTo>
                <a:cubicBezTo>
                  <a:pt x="337099" y="358016"/>
                  <a:pt x="334489" y="350368"/>
                  <a:pt x="331460" y="342900"/>
                </a:cubicBezTo>
                <a:lnTo>
                  <a:pt x="310801" y="342900"/>
                </a:lnTo>
                <a:cubicBezTo>
                  <a:pt x="319078" y="360255"/>
                  <a:pt x="323850" y="379581"/>
                  <a:pt x="323850" y="400050"/>
                </a:cubicBezTo>
                <a:cubicBezTo>
                  <a:pt x="323850" y="473583"/>
                  <a:pt x="264033" y="533400"/>
                  <a:pt x="190500" y="533400"/>
                </a:cubicBezTo>
                <a:cubicBezTo>
                  <a:pt x="116967" y="533400"/>
                  <a:pt x="57150" y="473583"/>
                  <a:pt x="57150" y="400050"/>
                </a:cubicBezTo>
                <a:cubicBezTo>
                  <a:pt x="57150" y="356187"/>
                  <a:pt x="78515" y="315887"/>
                  <a:pt x="114300" y="290865"/>
                </a:cubicBezTo>
                <a:lnTo>
                  <a:pt x="114300" y="268319"/>
                </a:lnTo>
                <a:cubicBezTo>
                  <a:pt x="112795" y="269196"/>
                  <a:pt x="111262" y="270015"/>
                  <a:pt x="109795" y="270939"/>
                </a:cubicBezTo>
                <a:lnTo>
                  <a:pt x="105261" y="273777"/>
                </a:lnTo>
                <a:close/>
                <a:moveTo>
                  <a:pt x="190500" y="228600"/>
                </a:moveTo>
                <a:lnTo>
                  <a:pt x="190500" y="266700"/>
                </a:lnTo>
                <a:cubicBezTo>
                  <a:pt x="235696" y="266700"/>
                  <a:pt x="275654" y="289350"/>
                  <a:pt x="299780" y="323850"/>
                </a:cubicBezTo>
                <a:lnTo>
                  <a:pt x="314325" y="323850"/>
                </a:lnTo>
                <a:lnTo>
                  <a:pt x="314325" y="281407"/>
                </a:lnTo>
                <a:lnTo>
                  <a:pt x="296380" y="263462"/>
                </a:lnTo>
                <a:lnTo>
                  <a:pt x="275730" y="273777"/>
                </a:lnTo>
                <a:lnTo>
                  <a:pt x="271196" y="270939"/>
                </a:lnTo>
                <a:cubicBezTo>
                  <a:pt x="256775" y="261909"/>
                  <a:pt x="241135" y="255413"/>
                  <a:pt x="224704" y="251641"/>
                </a:cubicBezTo>
                <a:lnTo>
                  <a:pt x="219494" y="250450"/>
                </a:lnTo>
                <a:lnTo>
                  <a:pt x="212207" y="228600"/>
                </a:lnTo>
                <a:close/>
                <a:moveTo>
                  <a:pt x="147133" y="98498"/>
                </a:moveTo>
                <a:lnTo>
                  <a:pt x="110661" y="171450"/>
                </a:lnTo>
                <a:lnTo>
                  <a:pt x="133350" y="171450"/>
                </a:lnTo>
                <a:lnTo>
                  <a:pt x="133350" y="457200"/>
                </a:lnTo>
                <a:lnTo>
                  <a:pt x="171450" y="457200"/>
                </a:lnTo>
                <a:lnTo>
                  <a:pt x="171450" y="171450"/>
                </a:lnTo>
                <a:lnTo>
                  <a:pt x="194139" y="171450"/>
                </a:lnTo>
                <a:lnTo>
                  <a:pt x="157658" y="98498"/>
                </a:lnTo>
                <a:cubicBezTo>
                  <a:pt x="155658" y="94488"/>
                  <a:pt x="149142" y="94488"/>
                  <a:pt x="147133" y="98498"/>
                </a:cubicBezTo>
                <a:close/>
                <a:moveTo>
                  <a:pt x="347158" y="60398"/>
                </a:moveTo>
                <a:lnTo>
                  <a:pt x="310686" y="133350"/>
                </a:lnTo>
                <a:lnTo>
                  <a:pt x="333375" y="133350"/>
                </a:lnTo>
                <a:lnTo>
                  <a:pt x="333375" y="323850"/>
                </a:lnTo>
                <a:lnTo>
                  <a:pt x="371475" y="323850"/>
                </a:lnTo>
                <a:lnTo>
                  <a:pt x="371475" y="133350"/>
                </a:lnTo>
                <a:lnTo>
                  <a:pt x="394164" y="133350"/>
                </a:lnTo>
                <a:lnTo>
                  <a:pt x="357683" y="60398"/>
                </a:lnTo>
                <a:cubicBezTo>
                  <a:pt x="355683" y="56388"/>
                  <a:pt x="349167" y="56388"/>
                  <a:pt x="347158" y="60398"/>
                </a:cubicBezTo>
                <a:close/>
                <a:moveTo>
                  <a:pt x="509083" y="22298"/>
                </a:moveTo>
                <a:lnTo>
                  <a:pt x="472611" y="95250"/>
                </a:lnTo>
                <a:lnTo>
                  <a:pt x="495300" y="95250"/>
                </a:lnTo>
                <a:lnTo>
                  <a:pt x="495300" y="209550"/>
                </a:lnTo>
                <a:lnTo>
                  <a:pt x="533400" y="209550"/>
                </a:lnTo>
                <a:lnTo>
                  <a:pt x="533400" y="95250"/>
                </a:lnTo>
                <a:lnTo>
                  <a:pt x="556089" y="95250"/>
                </a:lnTo>
                <a:lnTo>
                  <a:pt x="519608" y="22298"/>
                </a:lnTo>
                <a:cubicBezTo>
                  <a:pt x="517608" y="18288"/>
                  <a:pt x="511092" y="18288"/>
                  <a:pt x="509083" y="22298"/>
                </a:cubicBezTo>
                <a:close/>
                <a:moveTo>
                  <a:pt x="514350" y="0"/>
                </a:moveTo>
                <a:cubicBezTo>
                  <a:pt x="523865" y="0"/>
                  <a:pt x="532409" y="5286"/>
                  <a:pt x="536658" y="13792"/>
                </a:cubicBezTo>
                <a:lnTo>
                  <a:pt x="586911" y="114300"/>
                </a:lnTo>
                <a:lnTo>
                  <a:pt x="552450" y="114300"/>
                </a:lnTo>
                <a:lnTo>
                  <a:pt x="552450" y="209550"/>
                </a:lnTo>
                <a:lnTo>
                  <a:pt x="590550" y="209550"/>
                </a:lnTo>
                <a:lnTo>
                  <a:pt x="590550" y="228600"/>
                </a:lnTo>
                <a:lnTo>
                  <a:pt x="447675" y="228600"/>
                </a:lnTo>
                <a:lnTo>
                  <a:pt x="447675" y="342900"/>
                </a:lnTo>
                <a:lnTo>
                  <a:pt x="352025" y="342900"/>
                </a:lnTo>
                <a:cubicBezTo>
                  <a:pt x="353587" y="347329"/>
                  <a:pt x="354987" y="351806"/>
                  <a:pt x="356178" y="356340"/>
                </a:cubicBezTo>
                <a:lnTo>
                  <a:pt x="381000" y="364617"/>
                </a:lnTo>
                <a:lnTo>
                  <a:pt x="381000" y="435493"/>
                </a:lnTo>
                <a:lnTo>
                  <a:pt x="356168" y="443770"/>
                </a:lnTo>
                <a:cubicBezTo>
                  <a:pt x="352254" y="458638"/>
                  <a:pt x="346339" y="472888"/>
                  <a:pt x="338538" y="486251"/>
                </a:cubicBezTo>
                <a:lnTo>
                  <a:pt x="350253" y="509692"/>
                </a:lnTo>
                <a:lnTo>
                  <a:pt x="300142" y="559813"/>
                </a:lnTo>
                <a:lnTo>
                  <a:pt x="276692" y="548088"/>
                </a:lnTo>
                <a:cubicBezTo>
                  <a:pt x="263328" y="555898"/>
                  <a:pt x="249079" y="561813"/>
                  <a:pt x="234210" y="565728"/>
                </a:cubicBezTo>
                <a:lnTo>
                  <a:pt x="225933" y="590550"/>
                </a:lnTo>
                <a:lnTo>
                  <a:pt x="155057" y="590550"/>
                </a:lnTo>
                <a:lnTo>
                  <a:pt x="146780" y="565718"/>
                </a:lnTo>
                <a:cubicBezTo>
                  <a:pt x="131912" y="561804"/>
                  <a:pt x="117662" y="555889"/>
                  <a:pt x="104299" y="548088"/>
                </a:cubicBezTo>
                <a:lnTo>
                  <a:pt x="80858" y="559803"/>
                </a:lnTo>
                <a:lnTo>
                  <a:pt x="30737" y="509683"/>
                </a:lnTo>
                <a:lnTo>
                  <a:pt x="42453" y="486242"/>
                </a:lnTo>
                <a:cubicBezTo>
                  <a:pt x="34652" y="472878"/>
                  <a:pt x="28737" y="458629"/>
                  <a:pt x="24822" y="443760"/>
                </a:cubicBezTo>
                <a:lnTo>
                  <a:pt x="0" y="435483"/>
                </a:lnTo>
                <a:lnTo>
                  <a:pt x="0" y="364607"/>
                </a:lnTo>
                <a:lnTo>
                  <a:pt x="24832" y="356330"/>
                </a:lnTo>
                <a:cubicBezTo>
                  <a:pt x="28746" y="341462"/>
                  <a:pt x="34661" y="327212"/>
                  <a:pt x="42462" y="313849"/>
                </a:cubicBezTo>
                <a:lnTo>
                  <a:pt x="30747" y="290408"/>
                </a:lnTo>
                <a:lnTo>
                  <a:pt x="80867" y="240287"/>
                </a:lnTo>
                <a:lnTo>
                  <a:pt x="104308" y="252012"/>
                </a:lnTo>
                <a:cubicBezTo>
                  <a:pt x="107556" y="250117"/>
                  <a:pt x="110947" y="248517"/>
                  <a:pt x="114300" y="246840"/>
                </a:cubicBezTo>
                <a:lnTo>
                  <a:pt x="114300" y="190500"/>
                </a:lnTo>
                <a:lnTo>
                  <a:pt x="79839" y="190500"/>
                </a:lnTo>
                <a:lnTo>
                  <a:pt x="130092" y="89983"/>
                </a:lnTo>
                <a:cubicBezTo>
                  <a:pt x="134341" y="81486"/>
                  <a:pt x="142885" y="76200"/>
                  <a:pt x="152400" y="76200"/>
                </a:cubicBezTo>
                <a:cubicBezTo>
                  <a:pt x="161915" y="76200"/>
                  <a:pt x="170459" y="81486"/>
                  <a:pt x="174708" y="89992"/>
                </a:cubicBezTo>
                <a:lnTo>
                  <a:pt x="224961" y="190500"/>
                </a:lnTo>
                <a:lnTo>
                  <a:pt x="190500" y="190500"/>
                </a:lnTo>
                <a:lnTo>
                  <a:pt x="190500" y="209550"/>
                </a:lnTo>
                <a:lnTo>
                  <a:pt x="225943" y="209550"/>
                </a:lnTo>
                <a:lnTo>
                  <a:pt x="234220" y="234372"/>
                </a:lnTo>
                <a:cubicBezTo>
                  <a:pt x="249088" y="238296"/>
                  <a:pt x="263338" y="244202"/>
                  <a:pt x="276701" y="252012"/>
                </a:cubicBezTo>
                <a:lnTo>
                  <a:pt x="300152" y="240287"/>
                </a:lnTo>
                <a:lnTo>
                  <a:pt x="314325" y="254470"/>
                </a:lnTo>
                <a:lnTo>
                  <a:pt x="314325" y="152400"/>
                </a:lnTo>
                <a:lnTo>
                  <a:pt x="279864" y="152400"/>
                </a:lnTo>
                <a:lnTo>
                  <a:pt x="330117" y="51883"/>
                </a:lnTo>
                <a:cubicBezTo>
                  <a:pt x="334366" y="43386"/>
                  <a:pt x="342910" y="38100"/>
                  <a:pt x="352425" y="38100"/>
                </a:cubicBezTo>
                <a:cubicBezTo>
                  <a:pt x="361940" y="38100"/>
                  <a:pt x="370484" y="43386"/>
                  <a:pt x="374733" y="51892"/>
                </a:cubicBezTo>
                <a:lnTo>
                  <a:pt x="424986" y="152400"/>
                </a:lnTo>
                <a:lnTo>
                  <a:pt x="390525" y="152400"/>
                </a:lnTo>
                <a:lnTo>
                  <a:pt x="390525" y="323850"/>
                </a:lnTo>
                <a:lnTo>
                  <a:pt x="428625" y="323850"/>
                </a:lnTo>
                <a:lnTo>
                  <a:pt x="428625" y="209550"/>
                </a:lnTo>
                <a:lnTo>
                  <a:pt x="476250" y="209550"/>
                </a:lnTo>
                <a:lnTo>
                  <a:pt x="476250" y="114300"/>
                </a:lnTo>
                <a:lnTo>
                  <a:pt x="441789" y="114300"/>
                </a:lnTo>
                <a:lnTo>
                  <a:pt x="492042" y="13783"/>
                </a:lnTo>
                <a:cubicBezTo>
                  <a:pt x="496291" y="5286"/>
                  <a:pt x="504835" y="0"/>
                  <a:pt x="514350" y="0"/>
                </a:cubicBezTo>
                <a:close/>
              </a:path>
            </a:pathLst>
          </a:custGeom>
          <a:solidFill>
            <a:schemeClr val="tx2"/>
          </a:solidFill>
          <a:ln w="14883" cap="flat">
            <a:noFill/>
            <a:prstDash val="solid"/>
            <a:miter/>
          </a:ln>
        </p:spPr>
        <p:txBody>
          <a:bodyPr rtlCol="0" anchor="ctr"/>
          <a:lstStyle/>
          <a:p>
            <a:endParaRPr lang="en-US" dirty="0"/>
          </a:p>
        </p:txBody>
      </p:sp>
    </p:spTree>
    <p:extLst>
      <p:ext uri="{BB962C8B-B14F-4D97-AF65-F5344CB8AC3E}">
        <p14:creationId xmlns:p14="http://schemas.microsoft.com/office/powerpoint/2010/main" val="19264501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78BCCE-A1DB-4035-83E8-16DCD7508E98}"/>
              </a:ext>
            </a:extLst>
          </p:cNvPr>
          <p:cNvGraphicFramePr>
            <a:graphicFrameLocks noChangeAspect="1"/>
          </p:cNvGraphicFramePr>
          <p:nvPr>
            <p:custDataLst>
              <p:tags r:id="rId1"/>
            </p:custDataLst>
            <p:extLst>
              <p:ext uri="{D42A27DB-BD31-4B8C-83A1-F6EECF244321}">
                <p14:modId xmlns:p14="http://schemas.microsoft.com/office/powerpoint/2010/main" val="199742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D878BCCE-A1DB-4035-83E8-16DCD7508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25B5F2-019B-498B-8FBB-68A94520CA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43" name="Picture 42">
            <a:extLst>
              <a:ext uri="{FF2B5EF4-FFF2-40B4-BE49-F238E27FC236}">
                <a16:creationId xmlns:a16="http://schemas.microsoft.com/office/drawing/2014/main" id="{9C436393-2A94-4CF1-9706-AA2A494CBDAC}"/>
              </a:ext>
            </a:extLst>
          </p:cNvPr>
          <p:cNvPicPr>
            <a:picLocks noChangeAspect="1"/>
          </p:cNvPicPr>
          <p:nvPr/>
        </p:nvPicPr>
        <p:blipFill>
          <a:blip r:embed="rId6"/>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128A019D-C14D-49BE-A4FF-F930CE5E1C13}"/>
              </a:ext>
            </a:extLst>
          </p:cNvPr>
          <p:cNvSpPr/>
          <p:nvPr/>
        </p:nvSpPr>
        <p:spPr>
          <a:xfrm>
            <a:off x="0" y="0"/>
            <a:ext cx="12192000" cy="6858000"/>
          </a:xfrm>
          <a:prstGeom prst="rect">
            <a:avLst/>
          </a:prstGeom>
          <a:gradFill flip="none" rotWithShape="1">
            <a:gsLst>
              <a:gs pos="32000">
                <a:schemeClr val="tx2">
                  <a:lumMod val="50000"/>
                  <a:alpha val="90000"/>
                </a:schemeClr>
              </a:gs>
              <a:gs pos="61000">
                <a:schemeClr val="tx2">
                  <a:lumMod val="75000"/>
                  <a:alpha val="85000"/>
                </a:schemeClr>
              </a:gs>
              <a:gs pos="86000">
                <a:srgbClr val="036DFF">
                  <a:alpha val="75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644E45AF-B821-457B-BCB3-E11B229E3C53}"/>
              </a:ext>
            </a:extLst>
          </p:cNvPr>
          <p:cNvSpPr>
            <a:spLocks noGrp="1"/>
          </p:cNvSpPr>
          <p:nvPr>
            <p:ph type="title"/>
          </p:nvPr>
        </p:nvSpPr>
        <p:spPr>
          <a:xfrm>
            <a:off x="550863" y="560588"/>
            <a:ext cx="11089972" cy="443198"/>
          </a:xfrm>
        </p:spPr>
        <p:txBody>
          <a:bodyPr vert="horz"/>
          <a:lstStyle/>
          <a:p>
            <a:r>
              <a:rPr lang="en-IN" dirty="0">
                <a:solidFill>
                  <a:schemeClr val="accent3">
                    <a:lumMod val="60000"/>
                    <a:lumOff val="40000"/>
                  </a:schemeClr>
                </a:solidFill>
              </a:rPr>
              <a:t>The engagement models</a:t>
            </a:r>
          </a:p>
        </p:txBody>
      </p:sp>
      <p:cxnSp>
        <p:nvCxnSpPr>
          <p:cNvPr id="23" name="Straight Connector 22">
            <a:extLst>
              <a:ext uri="{FF2B5EF4-FFF2-40B4-BE49-F238E27FC236}">
                <a16:creationId xmlns:a16="http://schemas.microsoft.com/office/drawing/2014/main" id="{013F65E9-47CA-4E9C-942B-059AA16EF0B0}"/>
              </a:ext>
            </a:extLst>
          </p:cNvPr>
          <p:cNvCxnSpPr>
            <a:cxnSpLocks/>
          </p:cNvCxnSpPr>
          <p:nvPr/>
        </p:nvCxnSpPr>
        <p:spPr>
          <a:xfrm>
            <a:off x="539400" y="484910"/>
            <a:ext cx="540000" cy="0"/>
          </a:xfrm>
          <a:prstGeom prst="line">
            <a:avLst/>
          </a:prstGeom>
          <a:ln w="381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DC64B593-44E5-58F7-0A49-93E8E77751FC}"/>
              </a:ext>
            </a:extLst>
          </p:cNvPr>
          <p:cNvSpPr>
            <a:spLocks/>
          </p:cNvSpPr>
          <p:nvPr/>
        </p:nvSpPr>
        <p:spPr>
          <a:xfrm>
            <a:off x="2372888" y="1416173"/>
            <a:ext cx="3548403" cy="4852307"/>
          </a:xfrm>
          <a:prstGeom prst="roundRect">
            <a:avLst>
              <a:gd name="adj" fmla="val 5834"/>
            </a:avLst>
          </a:prstGeom>
          <a:gradFill flip="none" rotWithShape="1">
            <a:gsLst>
              <a:gs pos="0">
                <a:schemeClr val="tx2">
                  <a:lumMod val="60000"/>
                  <a:lumOff val="40000"/>
                  <a:alpha val="27000"/>
                </a:schemeClr>
              </a:gs>
              <a:gs pos="100000">
                <a:schemeClr val="accent1">
                  <a:lumMod val="20000"/>
                  <a:lumOff val="80000"/>
                  <a:alpha val="7000"/>
                </a:schemeClr>
              </a:gs>
            </a:gsLst>
            <a:lin ang="16200000" scaled="1"/>
            <a:tileRect/>
          </a:gradFill>
          <a:ln w="9525" cap="flat" cmpd="sng">
            <a:noFill/>
            <a:prstDash val="solid"/>
            <a:miter/>
            <a:headEnd type="none" w="med" len="med"/>
            <a:tailEnd type="none" w="med" len="med"/>
          </a:ln>
        </p:spPr>
        <p:txBody>
          <a:bodyPr lIns="168808" tIns="84392" rIns="84392" bIns="84392" anchor="t" anchorCtr="0">
            <a:noAutofit/>
          </a:bodyPr>
          <a:lstStyle/>
          <a:p>
            <a:pPr algn="ctr">
              <a:buSzPct val="25000"/>
            </a:pPr>
            <a:endParaRPr lang="en-US" b="1">
              <a:solidFill>
                <a:schemeClr val="tx2"/>
              </a:solidFill>
              <a:latin typeface="Arial"/>
              <a:cs typeface="Arial"/>
            </a:endParaRPr>
          </a:p>
        </p:txBody>
      </p:sp>
      <p:sp>
        <p:nvSpPr>
          <p:cNvPr id="31" name="Rectangle: Rounded Corners 30">
            <a:extLst>
              <a:ext uri="{FF2B5EF4-FFF2-40B4-BE49-F238E27FC236}">
                <a16:creationId xmlns:a16="http://schemas.microsoft.com/office/drawing/2014/main" id="{C1B687CE-47E5-D849-3995-6F4B4EE9E7B4}"/>
              </a:ext>
            </a:extLst>
          </p:cNvPr>
          <p:cNvSpPr>
            <a:spLocks/>
          </p:cNvSpPr>
          <p:nvPr/>
        </p:nvSpPr>
        <p:spPr>
          <a:xfrm>
            <a:off x="6134619" y="1416173"/>
            <a:ext cx="5506218" cy="4852307"/>
          </a:xfrm>
          <a:prstGeom prst="roundRect">
            <a:avLst>
              <a:gd name="adj" fmla="val 3820"/>
            </a:avLst>
          </a:prstGeom>
          <a:gradFill flip="none" rotWithShape="1">
            <a:gsLst>
              <a:gs pos="0">
                <a:schemeClr val="tx2">
                  <a:lumMod val="60000"/>
                  <a:lumOff val="40000"/>
                  <a:alpha val="27000"/>
                </a:schemeClr>
              </a:gs>
              <a:gs pos="100000">
                <a:schemeClr val="accent1">
                  <a:lumMod val="20000"/>
                  <a:lumOff val="80000"/>
                  <a:alpha val="7000"/>
                </a:schemeClr>
              </a:gs>
            </a:gsLst>
            <a:lin ang="16200000" scaled="1"/>
            <a:tileRect/>
          </a:gradFill>
          <a:ln w="9525" cap="flat" cmpd="sng">
            <a:noFill/>
            <a:prstDash val="solid"/>
            <a:miter/>
            <a:headEnd type="none" w="med" len="med"/>
            <a:tailEnd type="none" w="med" len="med"/>
          </a:ln>
        </p:spPr>
        <p:txBody>
          <a:bodyPr lIns="168808" tIns="84392" rIns="84392" bIns="84392" anchor="t" anchorCtr="0">
            <a:noAutofit/>
          </a:bodyPr>
          <a:lstStyle/>
          <a:p>
            <a:pPr algn="ctr">
              <a:buSzPct val="25000"/>
            </a:pPr>
            <a:endParaRPr lang="en-US" b="1" dirty="0">
              <a:solidFill>
                <a:schemeClr val="tx2"/>
              </a:solidFill>
              <a:latin typeface="Arial"/>
              <a:cs typeface="Arial"/>
            </a:endParaRPr>
          </a:p>
        </p:txBody>
      </p:sp>
      <p:sp>
        <p:nvSpPr>
          <p:cNvPr id="109" name="TextBox 108">
            <a:extLst>
              <a:ext uri="{FF2B5EF4-FFF2-40B4-BE49-F238E27FC236}">
                <a16:creationId xmlns:a16="http://schemas.microsoft.com/office/drawing/2014/main" id="{9FB572BA-A937-4C8F-8AD4-57D0D3FF6A0D}"/>
              </a:ext>
            </a:extLst>
          </p:cNvPr>
          <p:cNvSpPr txBox="1"/>
          <p:nvPr/>
        </p:nvSpPr>
        <p:spPr>
          <a:xfrm>
            <a:off x="505881" y="6414295"/>
            <a:ext cx="10722189" cy="153888"/>
          </a:xfrm>
          <a:prstGeom prst="rect">
            <a:avLst/>
          </a:prstGeom>
        </p:spPr>
        <p:txBody>
          <a:bodyPr vert="horz" wrap="square" lIns="0" tIns="0" rIns="0" bIns="0" rtlCol="0">
            <a:spAutoFit/>
          </a:bodyPr>
          <a:lstStyle/>
          <a:p>
            <a:pPr algn="l">
              <a:buClr>
                <a:schemeClr val="tx2"/>
              </a:buClr>
            </a:pPr>
            <a:r>
              <a:rPr lang="en-US" sz="1000" dirty="0">
                <a:solidFill>
                  <a:schemeClr val="bg1"/>
                </a:solidFill>
              </a:rPr>
              <a:t>Notes: 1/ </a:t>
            </a:r>
            <a:r>
              <a:rPr lang="en-US" sz="1000" b="1" dirty="0">
                <a:solidFill>
                  <a:schemeClr val="bg1"/>
                </a:solidFill>
              </a:rPr>
              <a:t>Our Master Service Agreement with the Firm includes clauses related to confidentiality. 2/  For research requests, someone from the McK C&amp;I or Knowledge network needs to be in the loop. </a:t>
            </a:r>
          </a:p>
        </p:txBody>
      </p:sp>
      <p:cxnSp>
        <p:nvCxnSpPr>
          <p:cNvPr id="37" name="Straight Connector 36">
            <a:extLst>
              <a:ext uri="{FF2B5EF4-FFF2-40B4-BE49-F238E27FC236}">
                <a16:creationId xmlns:a16="http://schemas.microsoft.com/office/drawing/2014/main" id="{69C40C56-D7CE-36C6-45FD-2B11FDE401F3}"/>
              </a:ext>
            </a:extLst>
          </p:cNvPr>
          <p:cNvCxnSpPr>
            <a:cxnSpLocks/>
          </p:cNvCxnSpPr>
          <p:nvPr/>
        </p:nvCxnSpPr>
        <p:spPr>
          <a:xfrm>
            <a:off x="550862" y="2889279"/>
            <a:ext cx="11034918" cy="0"/>
          </a:xfrm>
          <a:prstGeom prst="line">
            <a:avLst/>
          </a:prstGeom>
          <a:ln w="12700">
            <a:solidFill>
              <a:schemeClr val="bg1"/>
            </a:solidFill>
            <a:prstDash val="dash"/>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AC2CA0-1CEA-FE4E-DD15-0C35C3C718DB}"/>
              </a:ext>
            </a:extLst>
          </p:cNvPr>
          <p:cNvCxnSpPr>
            <a:cxnSpLocks/>
          </p:cNvCxnSpPr>
          <p:nvPr/>
        </p:nvCxnSpPr>
        <p:spPr>
          <a:xfrm>
            <a:off x="550862" y="4208888"/>
            <a:ext cx="11034918" cy="0"/>
          </a:xfrm>
          <a:prstGeom prst="line">
            <a:avLst/>
          </a:prstGeom>
          <a:ln w="12700">
            <a:solidFill>
              <a:schemeClr val="bg1"/>
            </a:solidFill>
            <a:prstDash val="dash"/>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6FB3747-F228-7A04-C483-51A3B1D99CE5}"/>
              </a:ext>
            </a:extLst>
          </p:cNvPr>
          <p:cNvCxnSpPr>
            <a:cxnSpLocks/>
          </p:cNvCxnSpPr>
          <p:nvPr/>
        </p:nvCxnSpPr>
        <p:spPr>
          <a:xfrm>
            <a:off x="550862" y="5282276"/>
            <a:ext cx="11034918" cy="0"/>
          </a:xfrm>
          <a:prstGeom prst="line">
            <a:avLst/>
          </a:prstGeom>
          <a:ln w="12700">
            <a:solidFill>
              <a:schemeClr val="bg1"/>
            </a:solidFill>
            <a:prstDash val="dash"/>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DF4883DA-645F-4466-9C6B-7F43A61A5E41}"/>
              </a:ext>
            </a:extLst>
          </p:cNvPr>
          <p:cNvSpPr txBox="1">
            <a:spLocks/>
          </p:cNvSpPr>
          <p:nvPr/>
        </p:nvSpPr>
        <p:spPr>
          <a:xfrm>
            <a:off x="2513096" y="1549866"/>
            <a:ext cx="3484017" cy="369332"/>
          </a:xfrm>
          <a:prstGeom prst="rect">
            <a:avLst/>
          </a:prstGeom>
        </p:spPr>
        <p:txBody>
          <a:bodyPr vert="horz" wrap="square" lIns="0" tIns="0" rIns="0" bIns="0" rtlCol="0">
            <a:spAutoFit/>
          </a:bodyPr>
          <a:lstStyle/>
          <a:p>
            <a:r>
              <a:rPr lang="en-US" sz="2400" b="1" dirty="0">
                <a:solidFill>
                  <a:srgbClr val="45E1D2"/>
                </a:solidFill>
                <a:latin typeface="Calibri"/>
                <a:cs typeface="Calibri"/>
              </a:rPr>
              <a:t>Ad hoc requests support</a:t>
            </a:r>
          </a:p>
        </p:txBody>
      </p:sp>
      <p:sp>
        <p:nvSpPr>
          <p:cNvPr id="106" name="TextBox 105">
            <a:extLst>
              <a:ext uri="{FF2B5EF4-FFF2-40B4-BE49-F238E27FC236}">
                <a16:creationId xmlns:a16="http://schemas.microsoft.com/office/drawing/2014/main" id="{747147CA-7326-4DA1-9DC2-2C3D73D34E28}"/>
              </a:ext>
            </a:extLst>
          </p:cNvPr>
          <p:cNvSpPr txBox="1">
            <a:spLocks/>
          </p:cNvSpPr>
          <p:nvPr/>
        </p:nvSpPr>
        <p:spPr>
          <a:xfrm>
            <a:off x="6274827" y="1549866"/>
            <a:ext cx="5215002" cy="369332"/>
          </a:xfrm>
          <a:prstGeom prst="rect">
            <a:avLst/>
          </a:prstGeom>
        </p:spPr>
        <p:txBody>
          <a:bodyPr vert="horz" wrap="square" lIns="0" tIns="0" rIns="0" bIns="0" rtlCol="0">
            <a:spAutoFit/>
          </a:bodyPr>
          <a:lstStyle>
            <a:defPPr>
              <a:defRPr lang="en-US"/>
            </a:defPPr>
            <a:lvl1pPr algn="ctr">
              <a:defRPr b="1">
                <a:solidFill>
                  <a:srgbClr val="45E1D2"/>
                </a:solidFill>
              </a:defRPr>
            </a:lvl1pPr>
          </a:lstStyle>
          <a:p>
            <a:pPr algn="l"/>
            <a:r>
              <a:rPr lang="en-US" sz="2400" dirty="0">
                <a:latin typeface="Calibri"/>
                <a:cs typeface="Calibri"/>
              </a:rPr>
              <a:t>Dedicated support </a:t>
            </a:r>
          </a:p>
        </p:txBody>
      </p:sp>
      <p:grpSp>
        <p:nvGrpSpPr>
          <p:cNvPr id="7" name="Group 6">
            <a:extLst>
              <a:ext uri="{FF2B5EF4-FFF2-40B4-BE49-F238E27FC236}">
                <a16:creationId xmlns:a16="http://schemas.microsoft.com/office/drawing/2014/main" id="{79725C51-ACFC-F14E-F7EE-4CA3B1108AF3}"/>
              </a:ext>
            </a:extLst>
          </p:cNvPr>
          <p:cNvGrpSpPr/>
          <p:nvPr/>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A0B826DB-87E1-2A0E-412D-4B7029EA32AC}"/>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DECC1B37-C269-8012-F163-3AAE96ADAAA1}"/>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373218EE-74ED-AAC0-1938-7D5F863E3C01}"/>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1" name="Freeform: Shape 10">
              <a:extLst>
                <a:ext uri="{FF2B5EF4-FFF2-40B4-BE49-F238E27FC236}">
                  <a16:creationId xmlns:a16="http://schemas.microsoft.com/office/drawing/2014/main" id="{F46B036A-7FC0-905E-6CF0-9B50C3BCAB76}"/>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27E32EF5-37D4-1007-4679-D1ADE487661C}"/>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3A89BAC0-5EDC-8CBF-DF75-705C3865FAA6}"/>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573ED114-E375-CB8F-ED4D-989EAF4E763F}"/>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B903172-F051-731D-6918-A0364C6B4222}"/>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7181D5AF-FF3D-0B19-811D-76B1D3736DBF}"/>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B340666E-02BC-8462-D2B7-68D538B02229}"/>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2F14CF5C-AF6B-23A8-BB83-0E3FF6F264D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B138E32-2C16-73CF-8049-F71D9BCEAA6A}"/>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6AEE39C8-01E9-B1D9-2A0D-AC15B28C90F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1" name="Slide Number Placeholder 5">
            <a:extLst>
              <a:ext uri="{FF2B5EF4-FFF2-40B4-BE49-F238E27FC236}">
                <a16:creationId xmlns:a16="http://schemas.microsoft.com/office/drawing/2014/main" id="{E0D4E127-F5EE-9D64-4601-20A7A11C2BD3}"/>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11</a:t>
            </a:fld>
            <a:endParaRPr lang="en-IN" dirty="0"/>
          </a:p>
        </p:txBody>
      </p:sp>
      <p:sp>
        <p:nvSpPr>
          <p:cNvPr id="22" name="Copyright">
            <a:extLst>
              <a:ext uri="{FF2B5EF4-FFF2-40B4-BE49-F238E27FC236}">
                <a16:creationId xmlns:a16="http://schemas.microsoft.com/office/drawing/2014/main" id="{DC2C367F-1F83-1D28-5CBB-F657461A225C}"/>
              </a:ext>
            </a:extLst>
          </p:cNvPr>
          <p:cNvSpPr txBox="1"/>
          <p:nvPr/>
        </p:nvSpPr>
        <p:spPr>
          <a:xfrm rot="16200000">
            <a:off x="11216246"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53" name="TextBox 52">
            <a:extLst>
              <a:ext uri="{FF2B5EF4-FFF2-40B4-BE49-F238E27FC236}">
                <a16:creationId xmlns:a16="http://schemas.microsoft.com/office/drawing/2014/main" id="{DF8FF21A-0CAC-1B13-FB18-43B3FCF6CE6F}"/>
              </a:ext>
            </a:extLst>
          </p:cNvPr>
          <p:cNvSpPr txBox="1">
            <a:spLocks/>
          </p:cNvSpPr>
          <p:nvPr/>
        </p:nvSpPr>
        <p:spPr>
          <a:xfrm>
            <a:off x="2513096" y="4376250"/>
            <a:ext cx="3076027" cy="738664"/>
          </a:xfrm>
          <a:prstGeom prst="rect">
            <a:avLst/>
          </a:prstGeom>
        </p:spPr>
        <p:txBody>
          <a:bodyPr vert="horz" wrap="square" lIns="0" tIns="0" rIns="0" bIns="0" rtlCol="0" anchor="ctr">
            <a:noAutofit/>
          </a:bodyPr>
          <a:lstStyle/>
          <a:p>
            <a:pPr marL="285750" indent="-285750" algn="l">
              <a:buClr>
                <a:srgbClr val="45E1D2"/>
              </a:buClr>
              <a:buFont typeface="Wingdings" panose="05000000000000000000" pitchFamily="2" charset="2"/>
              <a:buChar char="§"/>
            </a:pPr>
            <a:r>
              <a:rPr lang="en-US" sz="1600" b="1" dirty="0">
                <a:solidFill>
                  <a:schemeClr val="bg1"/>
                </a:solidFill>
                <a:hlinkClick r:id="rId7">
                  <a:extLst>
                    <a:ext uri="{A12FA001-AC4F-418D-AE19-62706E023703}">
                      <ahyp:hlinkClr xmlns:ahyp="http://schemas.microsoft.com/office/drawing/2018/hyperlinkcolor" val="tx"/>
                    </a:ext>
                  </a:extLst>
                </a:hlinkClick>
              </a:rPr>
              <a:t>mckinsey@infomineo.com</a:t>
            </a:r>
            <a:endParaRPr lang="en-US" sz="1600" b="1" dirty="0">
              <a:solidFill>
                <a:schemeClr val="bg1"/>
              </a:solidFill>
            </a:endParaRPr>
          </a:p>
        </p:txBody>
      </p:sp>
      <p:sp>
        <p:nvSpPr>
          <p:cNvPr id="58" name="TextBox 57">
            <a:extLst>
              <a:ext uri="{FF2B5EF4-FFF2-40B4-BE49-F238E27FC236}">
                <a16:creationId xmlns:a16="http://schemas.microsoft.com/office/drawing/2014/main" id="{6690DD76-5439-794A-B7E7-900F6DC27340}"/>
              </a:ext>
            </a:extLst>
          </p:cNvPr>
          <p:cNvSpPr txBox="1">
            <a:spLocks/>
          </p:cNvSpPr>
          <p:nvPr/>
        </p:nvSpPr>
        <p:spPr>
          <a:xfrm>
            <a:off x="6274827" y="4376250"/>
            <a:ext cx="5215002" cy="738664"/>
          </a:xfrm>
          <a:prstGeom prst="rect">
            <a:avLst/>
          </a:prstGeom>
        </p:spPr>
        <p:txBody>
          <a:bodyPr vert="horz" wrap="square" lIns="0" tIns="0" rIns="0" bIns="0" rtlCol="0" anchor="ctr">
            <a:spAutoFit/>
          </a:bodyPr>
          <a:lstStyle/>
          <a:p>
            <a:pPr marL="285750" indent="-285750" algn="l">
              <a:buClr>
                <a:srgbClr val="45E1D2"/>
              </a:buClr>
              <a:buFont typeface="Wingdings" panose="05000000000000000000" pitchFamily="2" charset="2"/>
              <a:buChar char="§"/>
            </a:pPr>
            <a:r>
              <a:rPr lang="en-US" sz="1600" b="1" dirty="0">
                <a:solidFill>
                  <a:schemeClr val="bg1"/>
                </a:solidFill>
              </a:rPr>
              <a:t>Research: </a:t>
            </a:r>
            <a:r>
              <a:rPr lang="en-US" sz="1600" b="1" dirty="0">
                <a:solidFill>
                  <a:schemeClr val="bg1"/>
                </a:solidFill>
                <a:hlinkClick r:id="rId7">
                  <a:extLst>
                    <a:ext uri="{A12FA001-AC4F-418D-AE19-62706E023703}">
                      <ahyp:hlinkClr xmlns:ahyp="http://schemas.microsoft.com/office/drawing/2018/hyperlinkcolor" val="tx"/>
                    </a:ext>
                  </a:extLst>
                </a:hlinkClick>
              </a:rPr>
              <a:t>mckinsey@infomineo.com</a:t>
            </a:r>
            <a:endParaRPr lang="en-US" sz="1600" b="1" dirty="0">
              <a:solidFill>
                <a:schemeClr val="bg1"/>
              </a:solidFill>
            </a:endParaRPr>
          </a:p>
          <a:p>
            <a:pPr marL="285750" indent="-285750" algn="l">
              <a:buClr>
                <a:srgbClr val="45E1D2"/>
              </a:buClr>
              <a:buFont typeface="Wingdings" panose="05000000000000000000" pitchFamily="2" charset="2"/>
              <a:buChar char="§"/>
            </a:pPr>
            <a:r>
              <a:rPr lang="en-US" sz="1600" dirty="0">
                <a:solidFill>
                  <a:schemeClr val="bg1"/>
                </a:solidFill>
              </a:rPr>
              <a:t>A dedicated email can be created (e.g., </a:t>
            </a:r>
            <a:r>
              <a:rPr lang="en-US" sz="1600" b="1" dirty="0">
                <a:solidFill>
                  <a:schemeClr val="bg1"/>
                </a:solidFill>
                <a:hlinkClick r:id="rId8">
                  <a:extLst>
                    <a:ext uri="{A12FA001-AC4F-418D-AE19-62706E023703}">
                      <ahyp:hlinkClr xmlns:ahyp="http://schemas.microsoft.com/office/drawing/2018/hyperlinkcolor" val="tx"/>
                    </a:ext>
                  </a:extLst>
                </a:hlinkClick>
              </a:rPr>
              <a:t>Mck_hc@infomineo.com</a:t>
            </a:r>
            <a:r>
              <a:rPr lang="en-US" sz="1600" b="1" dirty="0">
                <a:solidFill>
                  <a:schemeClr val="bg1"/>
                </a:solidFill>
              </a:rPr>
              <a:t> </a:t>
            </a:r>
            <a:r>
              <a:rPr lang="en-US" sz="1600" dirty="0">
                <a:solidFill>
                  <a:schemeClr val="bg1"/>
                </a:solidFill>
              </a:rPr>
              <a:t>for the McK Healthcare team)</a:t>
            </a:r>
          </a:p>
        </p:txBody>
      </p:sp>
      <p:sp>
        <p:nvSpPr>
          <p:cNvPr id="42" name="Freeform: Shape 41">
            <a:extLst>
              <a:ext uri="{FF2B5EF4-FFF2-40B4-BE49-F238E27FC236}">
                <a16:creationId xmlns:a16="http://schemas.microsoft.com/office/drawing/2014/main" id="{4065B3B6-03DD-8840-7517-54C8A151613B}"/>
              </a:ext>
            </a:extLst>
          </p:cNvPr>
          <p:cNvSpPr>
            <a:spLocks noChangeAspect="1"/>
          </p:cNvSpPr>
          <p:nvPr/>
        </p:nvSpPr>
        <p:spPr>
          <a:xfrm flipH="1">
            <a:off x="544908" y="4529429"/>
            <a:ext cx="358506" cy="432306"/>
          </a:xfrm>
          <a:custGeom>
            <a:avLst/>
            <a:gdLst>
              <a:gd name="connsiteX0" fmla="*/ 1752355 w 3074991"/>
              <a:gd name="connsiteY0" fmla="*/ 3386387 h 3708000"/>
              <a:gd name="connsiteX1" fmla="*/ 1601008 w 3074991"/>
              <a:gd name="connsiteY1" fmla="*/ 3386387 h 3708000"/>
              <a:gd name="connsiteX2" fmla="*/ 1601008 w 3074991"/>
              <a:gd name="connsiteY2" fmla="*/ 3537735 h 3708000"/>
              <a:gd name="connsiteX3" fmla="*/ 1752355 w 3074991"/>
              <a:gd name="connsiteY3" fmla="*/ 3537735 h 3708000"/>
              <a:gd name="connsiteX4" fmla="*/ 1752355 w 3074991"/>
              <a:gd name="connsiteY4" fmla="*/ 1570224 h 3708000"/>
              <a:gd name="connsiteX5" fmla="*/ 1601008 w 3074991"/>
              <a:gd name="connsiteY5" fmla="*/ 1570224 h 3708000"/>
              <a:gd name="connsiteX6" fmla="*/ 1601008 w 3074991"/>
              <a:gd name="connsiteY6" fmla="*/ 1721572 h 3708000"/>
              <a:gd name="connsiteX7" fmla="*/ 1752355 w 3074991"/>
              <a:gd name="connsiteY7" fmla="*/ 1721572 h 3708000"/>
              <a:gd name="connsiteX8" fmla="*/ 1752355 w 3074991"/>
              <a:gd name="connsiteY8" fmla="*/ 964837 h 3708000"/>
              <a:gd name="connsiteX9" fmla="*/ 1601008 w 3074991"/>
              <a:gd name="connsiteY9" fmla="*/ 964837 h 3708000"/>
              <a:gd name="connsiteX10" fmla="*/ 1601008 w 3074991"/>
              <a:gd name="connsiteY10" fmla="*/ 1418878 h 3708000"/>
              <a:gd name="connsiteX11" fmla="*/ 1752355 w 3074991"/>
              <a:gd name="connsiteY11" fmla="*/ 1418878 h 3708000"/>
              <a:gd name="connsiteX12" fmla="*/ 1676681 w 3074991"/>
              <a:gd name="connsiteY12" fmla="*/ 813489 h 3708000"/>
              <a:gd name="connsiteX13" fmla="*/ 2206396 w 3074991"/>
              <a:gd name="connsiteY13" fmla="*/ 1343204 h 3708000"/>
              <a:gd name="connsiteX14" fmla="*/ 1676681 w 3074991"/>
              <a:gd name="connsiteY14" fmla="*/ 1872919 h 3708000"/>
              <a:gd name="connsiteX15" fmla="*/ 1146965 w 3074991"/>
              <a:gd name="connsiteY15" fmla="*/ 1343204 h 3708000"/>
              <a:gd name="connsiteX16" fmla="*/ 1676681 w 3074991"/>
              <a:gd name="connsiteY16" fmla="*/ 813489 h 3708000"/>
              <a:gd name="connsiteX17" fmla="*/ 1676681 w 3074991"/>
              <a:gd name="connsiteY17" fmla="*/ 662142 h 3708000"/>
              <a:gd name="connsiteX18" fmla="*/ 995618 w 3074991"/>
              <a:gd name="connsiteY18" fmla="*/ 1343204 h 3708000"/>
              <a:gd name="connsiteX19" fmla="*/ 1676681 w 3074991"/>
              <a:gd name="connsiteY19" fmla="*/ 2024265 h 3708000"/>
              <a:gd name="connsiteX20" fmla="*/ 2357743 w 3074991"/>
              <a:gd name="connsiteY20" fmla="*/ 1343204 h 3708000"/>
              <a:gd name="connsiteX21" fmla="*/ 1676681 w 3074991"/>
              <a:gd name="connsiteY21" fmla="*/ 662142 h 3708000"/>
              <a:gd name="connsiteX22" fmla="*/ 1676682 w 3074991"/>
              <a:gd name="connsiteY22" fmla="*/ 359449 h 3708000"/>
              <a:gd name="connsiteX23" fmla="*/ 692924 w 3074991"/>
              <a:gd name="connsiteY23" fmla="*/ 1343205 h 3708000"/>
              <a:gd name="connsiteX24" fmla="*/ 1268044 w 3074991"/>
              <a:gd name="connsiteY24" fmla="*/ 2243719 h 3708000"/>
              <a:gd name="connsiteX25" fmla="*/ 1601008 w 3074991"/>
              <a:gd name="connsiteY25" fmla="*/ 2781001 h 3708000"/>
              <a:gd name="connsiteX26" fmla="*/ 1601008 w 3074991"/>
              <a:gd name="connsiteY26" fmla="*/ 3235042 h 3708000"/>
              <a:gd name="connsiteX27" fmla="*/ 1752355 w 3074991"/>
              <a:gd name="connsiteY27" fmla="*/ 3235042 h 3708000"/>
              <a:gd name="connsiteX28" fmla="*/ 1752355 w 3074991"/>
              <a:gd name="connsiteY28" fmla="*/ 2781001 h 3708000"/>
              <a:gd name="connsiteX29" fmla="*/ 1328583 w 3074991"/>
              <a:gd name="connsiteY29" fmla="*/ 2107508 h 3708000"/>
              <a:gd name="connsiteX30" fmla="*/ 844272 w 3074991"/>
              <a:gd name="connsiteY30" fmla="*/ 1343205 h 3708000"/>
              <a:gd name="connsiteX31" fmla="*/ 1676682 w 3074991"/>
              <a:gd name="connsiteY31" fmla="*/ 510796 h 3708000"/>
              <a:gd name="connsiteX32" fmla="*/ 2509091 w 3074991"/>
              <a:gd name="connsiteY32" fmla="*/ 1343205 h 3708000"/>
              <a:gd name="connsiteX33" fmla="*/ 2660438 w 3074991"/>
              <a:gd name="connsiteY33" fmla="*/ 1343205 h 3708000"/>
              <a:gd name="connsiteX34" fmla="*/ 1676682 w 3074991"/>
              <a:gd name="connsiteY34" fmla="*/ 359449 h 3708000"/>
              <a:gd name="connsiteX35" fmla="*/ 1807253 w 3074991"/>
              <a:gd name="connsiteY35" fmla="*/ 0 h 3708000"/>
              <a:gd name="connsiteX36" fmla="*/ 1785614 w 3074991"/>
              <a:gd name="connsiteY36" fmla="*/ 5410 h 3708000"/>
              <a:gd name="connsiteX37" fmla="*/ 1724560 w 3074991"/>
              <a:gd name="connsiteY37" fmla="*/ 3864 h 3708000"/>
              <a:gd name="connsiteX38" fmla="*/ 1124855 w 3074991"/>
              <a:gd name="connsiteY38" fmla="*/ 86556 h 3708000"/>
              <a:gd name="connsiteX39" fmla="*/ 404590 w 3074991"/>
              <a:gd name="connsiteY39" fmla="*/ 628301 h 3708000"/>
              <a:gd name="connsiteX40" fmla="*/ 283257 w 3074991"/>
              <a:gd name="connsiteY40" fmla="*/ 1194775 h 3708000"/>
              <a:gd name="connsiteX41" fmla="*/ 313397 w 3074991"/>
              <a:gd name="connsiteY41" fmla="*/ 1413483 h 3708000"/>
              <a:gd name="connsiteX42" fmla="*/ 324217 w 3074991"/>
              <a:gd name="connsiteY42" fmla="*/ 1473763 h 3708000"/>
              <a:gd name="connsiteX43" fmla="*/ 318034 w 3074991"/>
              <a:gd name="connsiteY43" fmla="*/ 1485355 h 3708000"/>
              <a:gd name="connsiteX44" fmla="*/ 189746 w 3074991"/>
              <a:gd name="connsiteY44" fmla="*/ 1660012 h 3708000"/>
              <a:gd name="connsiteX45" fmla="*/ 97008 w 3074991"/>
              <a:gd name="connsiteY45" fmla="*/ 1777480 h 3708000"/>
              <a:gd name="connsiteX46" fmla="*/ 87735 w 3074991"/>
              <a:gd name="connsiteY46" fmla="*/ 1789072 h 3708000"/>
              <a:gd name="connsiteX47" fmla="*/ 1179 w 3074991"/>
              <a:gd name="connsiteY47" fmla="*/ 1952137 h 3708000"/>
              <a:gd name="connsiteX48" fmla="*/ 181246 w 3074991"/>
              <a:gd name="connsiteY48" fmla="*/ 2123702 h 3708000"/>
              <a:gd name="connsiteX49" fmla="*/ 247708 w 3074991"/>
              <a:gd name="connsiteY49" fmla="*/ 2143022 h 3708000"/>
              <a:gd name="connsiteX50" fmla="*/ 241525 w 3074991"/>
              <a:gd name="connsiteY50" fmla="*/ 2159252 h 3708000"/>
              <a:gd name="connsiteX51" fmla="*/ 237661 w 3074991"/>
              <a:gd name="connsiteY51" fmla="*/ 2170071 h 3708000"/>
              <a:gd name="connsiteX52" fmla="*/ 214477 w 3074991"/>
              <a:gd name="connsiteY52" fmla="*/ 2278266 h 3708000"/>
              <a:gd name="connsiteX53" fmla="*/ 232252 w 3074991"/>
              <a:gd name="connsiteY53" fmla="*/ 2325408 h 3708000"/>
              <a:gd name="connsiteX54" fmla="*/ 219886 w 3074991"/>
              <a:gd name="connsiteY54" fmla="*/ 2403462 h 3708000"/>
              <a:gd name="connsiteX55" fmla="*/ 281712 w 3074991"/>
              <a:gd name="connsiteY55" fmla="*/ 2509338 h 3708000"/>
              <a:gd name="connsiteX56" fmla="*/ 287894 w 3074991"/>
              <a:gd name="connsiteY56" fmla="*/ 2516293 h 3708000"/>
              <a:gd name="connsiteX57" fmla="*/ 290986 w 3074991"/>
              <a:gd name="connsiteY57" fmla="*/ 2519385 h 3708000"/>
              <a:gd name="connsiteX58" fmla="*/ 289440 w 3074991"/>
              <a:gd name="connsiteY58" fmla="*/ 2522476 h 3708000"/>
              <a:gd name="connsiteX59" fmla="*/ 287122 w 3074991"/>
              <a:gd name="connsiteY59" fmla="*/ 2527885 h 3708000"/>
              <a:gd name="connsiteX60" fmla="*/ 232252 w 3074991"/>
              <a:gd name="connsiteY60" fmla="*/ 2733455 h 3708000"/>
              <a:gd name="connsiteX61" fmla="*/ 233025 w 3074991"/>
              <a:gd name="connsiteY61" fmla="*/ 2738864 h 3708000"/>
              <a:gd name="connsiteX62" fmla="*/ 234570 w 3074991"/>
              <a:gd name="connsiteY62" fmla="*/ 2744274 h 3708000"/>
              <a:gd name="connsiteX63" fmla="*/ 550652 w 3074991"/>
              <a:gd name="connsiteY63" fmla="*/ 2978438 h 3708000"/>
              <a:gd name="connsiteX64" fmla="*/ 579247 w 3074991"/>
              <a:gd name="connsiteY64" fmla="*/ 2979984 h 3708000"/>
              <a:gd name="connsiteX65" fmla="*/ 586202 w 3074991"/>
              <a:gd name="connsiteY65" fmla="*/ 2979984 h 3708000"/>
              <a:gd name="connsiteX66" fmla="*/ 858233 w 3074991"/>
              <a:gd name="connsiteY66" fmla="*/ 3003168 h 3708000"/>
              <a:gd name="connsiteX67" fmla="*/ 892237 w 3074991"/>
              <a:gd name="connsiteY67" fmla="*/ 3042582 h 3708000"/>
              <a:gd name="connsiteX68" fmla="*/ 910784 w 3074991"/>
              <a:gd name="connsiteY68" fmla="*/ 3664700 h 3708000"/>
              <a:gd name="connsiteX69" fmla="*/ 955608 w 3074991"/>
              <a:gd name="connsiteY69" fmla="*/ 3707978 h 3708000"/>
              <a:gd name="connsiteX70" fmla="*/ 1015888 w 3074991"/>
              <a:gd name="connsiteY70" fmla="*/ 3707205 h 3708000"/>
              <a:gd name="connsiteX71" fmla="*/ 1059939 w 3074991"/>
              <a:gd name="connsiteY71" fmla="*/ 3662381 h 3708000"/>
              <a:gd name="connsiteX72" fmla="*/ 1017434 w 3074991"/>
              <a:gd name="connsiteY72" fmla="*/ 2942116 h 3708000"/>
              <a:gd name="connsiteX73" fmla="*/ 592384 w 3074991"/>
              <a:gd name="connsiteY73" fmla="*/ 2832376 h 3708000"/>
              <a:gd name="connsiteX74" fmla="*/ 587747 w 3074991"/>
              <a:gd name="connsiteY74" fmla="*/ 2832376 h 3708000"/>
              <a:gd name="connsiteX75" fmla="*/ 559153 w 3074991"/>
              <a:gd name="connsiteY75" fmla="*/ 2830830 h 3708000"/>
              <a:gd name="connsiteX76" fmla="*/ 381405 w 3074991"/>
              <a:gd name="connsiteY76" fmla="*/ 2724181 h 3708000"/>
              <a:gd name="connsiteX77" fmla="*/ 381405 w 3074991"/>
              <a:gd name="connsiteY77" fmla="*/ 2722636 h 3708000"/>
              <a:gd name="connsiteX78" fmla="*/ 381405 w 3074991"/>
              <a:gd name="connsiteY78" fmla="*/ 2719544 h 3708000"/>
              <a:gd name="connsiteX79" fmla="*/ 381405 w 3074991"/>
              <a:gd name="connsiteY79" fmla="*/ 2716453 h 3708000"/>
              <a:gd name="connsiteX80" fmla="*/ 426229 w 3074991"/>
              <a:gd name="connsiteY80" fmla="*/ 2587392 h 3708000"/>
              <a:gd name="connsiteX81" fmla="*/ 434730 w 3074991"/>
              <a:gd name="connsiteY81" fmla="*/ 2568072 h 3708000"/>
              <a:gd name="connsiteX82" fmla="*/ 449414 w 3074991"/>
              <a:gd name="connsiteY82" fmla="*/ 2525567 h 3708000"/>
              <a:gd name="connsiteX83" fmla="*/ 403817 w 3074991"/>
              <a:gd name="connsiteY83" fmla="*/ 2422010 h 3708000"/>
              <a:gd name="connsiteX84" fmla="*/ 396089 w 3074991"/>
              <a:gd name="connsiteY84" fmla="*/ 2411190 h 3708000"/>
              <a:gd name="connsiteX85" fmla="*/ 372905 w 3074991"/>
              <a:gd name="connsiteY85" fmla="*/ 2386460 h 3708000"/>
              <a:gd name="connsiteX86" fmla="*/ 401498 w 3074991"/>
              <a:gd name="connsiteY86" fmla="*/ 2314588 h 3708000"/>
              <a:gd name="connsiteX87" fmla="*/ 400725 w 3074991"/>
              <a:gd name="connsiteY87" fmla="*/ 2311497 h 3708000"/>
              <a:gd name="connsiteX88" fmla="*/ 399953 w 3074991"/>
              <a:gd name="connsiteY88" fmla="*/ 2308406 h 3708000"/>
              <a:gd name="connsiteX89" fmla="*/ 378314 w 3074991"/>
              <a:gd name="connsiteY89" fmla="*/ 2268992 h 3708000"/>
              <a:gd name="connsiteX90" fmla="*/ 375223 w 3074991"/>
              <a:gd name="connsiteY90" fmla="*/ 2265127 h 3708000"/>
              <a:gd name="connsiteX91" fmla="*/ 372905 w 3074991"/>
              <a:gd name="connsiteY91" fmla="*/ 2262809 h 3708000"/>
              <a:gd name="connsiteX92" fmla="*/ 370586 w 3074991"/>
              <a:gd name="connsiteY92" fmla="*/ 2260491 h 3708000"/>
              <a:gd name="connsiteX93" fmla="*/ 365949 w 3074991"/>
              <a:gd name="connsiteY93" fmla="*/ 2255854 h 3708000"/>
              <a:gd name="connsiteX94" fmla="*/ 375223 w 3074991"/>
              <a:gd name="connsiteY94" fmla="*/ 2229578 h 3708000"/>
              <a:gd name="connsiteX95" fmla="*/ 377541 w 3074991"/>
              <a:gd name="connsiteY95" fmla="*/ 2222623 h 3708000"/>
              <a:gd name="connsiteX96" fmla="*/ 400725 w 3074991"/>
              <a:gd name="connsiteY96" fmla="*/ 2132204 h 3708000"/>
              <a:gd name="connsiteX97" fmla="*/ 400725 w 3074991"/>
              <a:gd name="connsiteY97" fmla="*/ 2129884 h 3708000"/>
              <a:gd name="connsiteX98" fmla="*/ 400725 w 3074991"/>
              <a:gd name="connsiteY98" fmla="*/ 2127567 h 3708000"/>
              <a:gd name="connsiteX99" fmla="*/ 214477 w 3074991"/>
              <a:gd name="connsiteY99" fmla="*/ 1977640 h 3708000"/>
              <a:gd name="connsiteX100" fmla="*/ 150334 w 3074991"/>
              <a:gd name="connsiteY100" fmla="*/ 1959865 h 3708000"/>
              <a:gd name="connsiteX101" fmla="*/ 203658 w 3074991"/>
              <a:gd name="connsiteY101" fmla="*/ 1881038 h 3708000"/>
              <a:gd name="connsiteX102" fmla="*/ 307987 w 3074991"/>
              <a:gd name="connsiteY102" fmla="*/ 1748886 h 3708000"/>
              <a:gd name="connsiteX103" fmla="*/ 441685 w 3074991"/>
              <a:gd name="connsiteY103" fmla="*/ 1564956 h 3708000"/>
              <a:gd name="connsiteX104" fmla="*/ 444004 w 3074991"/>
              <a:gd name="connsiteY104" fmla="*/ 1561091 h 3708000"/>
              <a:gd name="connsiteX105" fmla="*/ 447867 w 3074991"/>
              <a:gd name="connsiteY105" fmla="*/ 1554909 h 3708000"/>
              <a:gd name="connsiteX106" fmla="*/ 452504 w 3074991"/>
              <a:gd name="connsiteY106" fmla="*/ 1547181 h 3708000"/>
              <a:gd name="connsiteX107" fmla="*/ 458687 w 3074991"/>
              <a:gd name="connsiteY107" fmla="*/ 1382571 h 3708000"/>
              <a:gd name="connsiteX108" fmla="*/ 430865 w 3074991"/>
              <a:gd name="connsiteY108" fmla="*/ 1188593 h 3708000"/>
              <a:gd name="connsiteX109" fmla="*/ 541378 w 3074991"/>
              <a:gd name="connsiteY109" fmla="*/ 681625 h 3708000"/>
              <a:gd name="connsiteX110" fmla="*/ 1163496 w 3074991"/>
              <a:gd name="connsiteY110" fmla="*/ 227981 h 3708000"/>
              <a:gd name="connsiteX111" fmla="*/ 1726880 w 3074991"/>
              <a:gd name="connsiteY111" fmla="*/ 152245 h 3708000"/>
              <a:gd name="connsiteX112" fmla="*/ 1792569 w 3074991"/>
              <a:gd name="connsiteY112" fmla="*/ 153791 h 3708000"/>
              <a:gd name="connsiteX113" fmla="*/ 2755498 w 3074991"/>
              <a:gd name="connsiteY113" fmla="*/ 717175 h 3708000"/>
              <a:gd name="connsiteX114" fmla="*/ 2919335 w 3074991"/>
              <a:gd name="connsiteY114" fmla="*/ 1292923 h 3708000"/>
              <a:gd name="connsiteX115" fmla="*/ 2920109 w 3074991"/>
              <a:gd name="connsiteY115" fmla="*/ 1311471 h 3708000"/>
              <a:gd name="connsiteX116" fmla="*/ 2764772 w 3074991"/>
              <a:gd name="connsiteY116" fmla="*/ 2055695 h 3708000"/>
              <a:gd name="connsiteX117" fmla="*/ 2672807 w 3074991"/>
              <a:gd name="connsiteY117" fmla="*/ 2269765 h 3708000"/>
              <a:gd name="connsiteX118" fmla="*/ 2456418 w 3074991"/>
              <a:gd name="connsiteY118" fmla="*/ 3088951 h 3708000"/>
              <a:gd name="connsiteX119" fmla="*/ 2456418 w 3074991"/>
              <a:gd name="connsiteY119" fmla="*/ 3663154 h 3708000"/>
              <a:gd name="connsiteX120" fmla="*/ 2500469 w 3074991"/>
              <a:gd name="connsiteY120" fmla="*/ 3707205 h 3708000"/>
              <a:gd name="connsiteX121" fmla="*/ 2566931 w 3074991"/>
              <a:gd name="connsiteY121" fmla="*/ 3707205 h 3708000"/>
              <a:gd name="connsiteX122" fmla="*/ 2610982 w 3074991"/>
              <a:gd name="connsiteY122" fmla="*/ 3663154 h 3708000"/>
              <a:gd name="connsiteX123" fmla="*/ 2610982 w 3074991"/>
              <a:gd name="connsiteY123" fmla="*/ 3088951 h 3708000"/>
              <a:gd name="connsiteX124" fmla="*/ 2819642 w 3074991"/>
              <a:gd name="connsiteY124" fmla="*/ 2331590 h 3708000"/>
              <a:gd name="connsiteX125" fmla="*/ 3074672 w 3074991"/>
              <a:gd name="connsiteY125" fmla="*/ 1311471 h 3708000"/>
              <a:gd name="connsiteX126" fmla="*/ 3073899 w 3074991"/>
              <a:gd name="connsiteY126" fmla="*/ 1279786 h 3708000"/>
              <a:gd name="connsiteX127" fmla="*/ 2936337 w 3074991"/>
              <a:gd name="connsiteY127" fmla="*/ 724903 h 3708000"/>
              <a:gd name="connsiteX128" fmla="*/ 1807253 w 3074991"/>
              <a:gd name="connsiteY128" fmla="*/ 0 h 37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3074991" h="3708000">
                <a:moveTo>
                  <a:pt x="1752355" y="3386387"/>
                </a:moveTo>
                <a:lnTo>
                  <a:pt x="1601008" y="3386387"/>
                </a:lnTo>
                <a:lnTo>
                  <a:pt x="1601008" y="3537735"/>
                </a:lnTo>
                <a:lnTo>
                  <a:pt x="1752355" y="3537735"/>
                </a:lnTo>
                <a:close/>
                <a:moveTo>
                  <a:pt x="1752355" y="1570224"/>
                </a:moveTo>
                <a:lnTo>
                  <a:pt x="1601008" y="1570224"/>
                </a:lnTo>
                <a:lnTo>
                  <a:pt x="1601008" y="1721572"/>
                </a:lnTo>
                <a:lnTo>
                  <a:pt x="1752355" y="1721572"/>
                </a:lnTo>
                <a:close/>
                <a:moveTo>
                  <a:pt x="1752355" y="964837"/>
                </a:moveTo>
                <a:lnTo>
                  <a:pt x="1601008" y="964837"/>
                </a:lnTo>
                <a:lnTo>
                  <a:pt x="1601008" y="1418878"/>
                </a:lnTo>
                <a:lnTo>
                  <a:pt x="1752355" y="1418878"/>
                </a:lnTo>
                <a:close/>
                <a:moveTo>
                  <a:pt x="1676681" y="813489"/>
                </a:moveTo>
                <a:cubicBezTo>
                  <a:pt x="1971808" y="813489"/>
                  <a:pt x="2206396" y="1048078"/>
                  <a:pt x="2206396" y="1343204"/>
                </a:cubicBezTo>
                <a:cubicBezTo>
                  <a:pt x="2206396" y="1638330"/>
                  <a:pt x="1971808" y="1872919"/>
                  <a:pt x="1676681" y="1872919"/>
                </a:cubicBezTo>
                <a:cubicBezTo>
                  <a:pt x="1381554" y="1872919"/>
                  <a:pt x="1146965" y="1638330"/>
                  <a:pt x="1146965" y="1343204"/>
                </a:cubicBezTo>
                <a:cubicBezTo>
                  <a:pt x="1146965" y="1048078"/>
                  <a:pt x="1381554" y="813489"/>
                  <a:pt x="1676681" y="813489"/>
                </a:cubicBezTo>
                <a:close/>
                <a:moveTo>
                  <a:pt x="1676681" y="662142"/>
                </a:moveTo>
                <a:cubicBezTo>
                  <a:pt x="1298313" y="662142"/>
                  <a:pt x="995618" y="964837"/>
                  <a:pt x="995618" y="1343204"/>
                </a:cubicBezTo>
                <a:cubicBezTo>
                  <a:pt x="995618" y="1721571"/>
                  <a:pt x="1298313" y="2024265"/>
                  <a:pt x="1676681" y="2024265"/>
                </a:cubicBezTo>
                <a:cubicBezTo>
                  <a:pt x="2055049" y="2024265"/>
                  <a:pt x="2357743" y="1721571"/>
                  <a:pt x="2357743" y="1343204"/>
                </a:cubicBezTo>
                <a:cubicBezTo>
                  <a:pt x="2357743" y="964837"/>
                  <a:pt x="2055049" y="662142"/>
                  <a:pt x="1676681" y="662142"/>
                </a:cubicBezTo>
                <a:close/>
                <a:moveTo>
                  <a:pt x="1676682" y="359449"/>
                </a:moveTo>
                <a:cubicBezTo>
                  <a:pt x="1131831" y="359449"/>
                  <a:pt x="692924" y="798355"/>
                  <a:pt x="692924" y="1343205"/>
                </a:cubicBezTo>
                <a:cubicBezTo>
                  <a:pt x="692924" y="1721572"/>
                  <a:pt x="919946" y="2077238"/>
                  <a:pt x="1268044" y="2243719"/>
                </a:cubicBezTo>
                <a:cubicBezTo>
                  <a:pt x="1472363" y="2342095"/>
                  <a:pt x="1601008" y="2546414"/>
                  <a:pt x="1601008" y="2781001"/>
                </a:cubicBezTo>
                <a:lnTo>
                  <a:pt x="1601008" y="3235042"/>
                </a:lnTo>
                <a:lnTo>
                  <a:pt x="1752355" y="3235042"/>
                </a:lnTo>
                <a:lnTo>
                  <a:pt x="1752355" y="2781001"/>
                </a:lnTo>
                <a:cubicBezTo>
                  <a:pt x="1752355" y="2493442"/>
                  <a:pt x="1593441" y="2228584"/>
                  <a:pt x="1328583" y="2107508"/>
                </a:cubicBezTo>
                <a:cubicBezTo>
                  <a:pt x="1033455" y="1963728"/>
                  <a:pt x="844272" y="1668600"/>
                  <a:pt x="844272" y="1343205"/>
                </a:cubicBezTo>
                <a:cubicBezTo>
                  <a:pt x="844272" y="881596"/>
                  <a:pt x="1215073" y="510796"/>
                  <a:pt x="1676682" y="510796"/>
                </a:cubicBezTo>
                <a:cubicBezTo>
                  <a:pt x="2138290" y="510796"/>
                  <a:pt x="2509091" y="881596"/>
                  <a:pt x="2509091" y="1343205"/>
                </a:cubicBezTo>
                <a:lnTo>
                  <a:pt x="2660438" y="1343205"/>
                </a:lnTo>
                <a:cubicBezTo>
                  <a:pt x="2660438" y="798355"/>
                  <a:pt x="2221531" y="359449"/>
                  <a:pt x="1676682" y="359449"/>
                </a:cubicBezTo>
                <a:close/>
                <a:moveTo>
                  <a:pt x="1807253" y="0"/>
                </a:moveTo>
                <a:cubicBezTo>
                  <a:pt x="1799524" y="0"/>
                  <a:pt x="1792569" y="2318"/>
                  <a:pt x="1785614" y="5410"/>
                </a:cubicBezTo>
                <a:cubicBezTo>
                  <a:pt x="1767066" y="4637"/>
                  <a:pt x="1747745" y="3864"/>
                  <a:pt x="1724560" y="3864"/>
                </a:cubicBezTo>
                <a:cubicBezTo>
                  <a:pt x="1577725" y="3864"/>
                  <a:pt x="1342789" y="25504"/>
                  <a:pt x="1124855" y="86556"/>
                </a:cubicBezTo>
                <a:cubicBezTo>
                  <a:pt x="751584" y="187022"/>
                  <a:pt x="502738" y="374044"/>
                  <a:pt x="404590" y="628301"/>
                </a:cubicBezTo>
                <a:cubicBezTo>
                  <a:pt x="311852" y="870193"/>
                  <a:pt x="275529" y="1039440"/>
                  <a:pt x="283257" y="1194775"/>
                </a:cubicBezTo>
                <a:cubicBezTo>
                  <a:pt x="287122" y="1287514"/>
                  <a:pt x="303351" y="1366342"/>
                  <a:pt x="313397" y="1413483"/>
                </a:cubicBezTo>
                <a:cubicBezTo>
                  <a:pt x="316489" y="1428939"/>
                  <a:pt x="321899" y="1457533"/>
                  <a:pt x="324217" y="1473763"/>
                </a:cubicBezTo>
                <a:cubicBezTo>
                  <a:pt x="321899" y="1477627"/>
                  <a:pt x="319580" y="1481491"/>
                  <a:pt x="318034" y="1485355"/>
                </a:cubicBezTo>
                <a:cubicBezTo>
                  <a:pt x="307987" y="1501584"/>
                  <a:pt x="282485" y="1537134"/>
                  <a:pt x="189746" y="1660012"/>
                </a:cubicBezTo>
                <a:cubicBezTo>
                  <a:pt x="150334" y="1711791"/>
                  <a:pt x="119420" y="1749658"/>
                  <a:pt x="97008" y="1777480"/>
                </a:cubicBezTo>
                <a:lnTo>
                  <a:pt x="87735" y="1789072"/>
                </a:lnTo>
                <a:cubicBezTo>
                  <a:pt x="32092" y="1857853"/>
                  <a:pt x="8907" y="1886448"/>
                  <a:pt x="1179" y="1952137"/>
                </a:cubicBezTo>
                <a:cubicBezTo>
                  <a:pt x="-13505" y="2077333"/>
                  <a:pt x="112465" y="2107473"/>
                  <a:pt x="181246" y="2123702"/>
                </a:cubicBezTo>
                <a:cubicBezTo>
                  <a:pt x="197475" y="2127567"/>
                  <a:pt x="231478" y="2136067"/>
                  <a:pt x="247708" y="2143022"/>
                </a:cubicBezTo>
                <a:cubicBezTo>
                  <a:pt x="245390" y="2148432"/>
                  <a:pt x="243844" y="2154614"/>
                  <a:pt x="241525" y="2159252"/>
                </a:cubicBezTo>
                <a:lnTo>
                  <a:pt x="237661" y="2170071"/>
                </a:lnTo>
                <a:cubicBezTo>
                  <a:pt x="219886" y="2216440"/>
                  <a:pt x="211386" y="2245807"/>
                  <a:pt x="214477" y="2278266"/>
                </a:cubicBezTo>
                <a:cubicBezTo>
                  <a:pt x="217568" y="2296813"/>
                  <a:pt x="223751" y="2312269"/>
                  <a:pt x="232252" y="2325408"/>
                </a:cubicBezTo>
                <a:cubicBezTo>
                  <a:pt x="222205" y="2344728"/>
                  <a:pt x="215250" y="2371003"/>
                  <a:pt x="219886" y="2403462"/>
                </a:cubicBezTo>
                <a:cubicBezTo>
                  <a:pt x="225296" y="2448286"/>
                  <a:pt x="256982" y="2482289"/>
                  <a:pt x="281712" y="2509338"/>
                </a:cubicBezTo>
                <a:lnTo>
                  <a:pt x="287894" y="2516293"/>
                </a:lnTo>
                <a:cubicBezTo>
                  <a:pt x="288667" y="2517066"/>
                  <a:pt x="290212" y="2518612"/>
                  <a:pt x="290986" y="2519385"/>
                </a:cubicBezTo>
                <a:cubicBezTo>
                  <a:pt x="290212" y="2520158"/>
                  <a:pt x="290212" y="2521703"/>
                  <a:pt x="289440" y="2522476"/>
                </a:cubicBezTo>
                <a:lnTo>
                  <a:pt x="287122" y="2527885"/>
                </a:lnTo>
                <a:cubicBezTo>
                  <a:pt x="260073" y="2584301"/>
                  <a:pt x="222978" y="2660810"/>
                  <a:pt x="232252" y="2733455"/>
                </a:cubicBezTo>
                <a:lnTo>
                  <a:pt x="233025" y="2738864"/>
                </a:lnTo>
                <a:lnTo>
                  <a:pt x="234570" y="2744274"/>
                </a:lnTo>
                <a:cubicBezTo>
                  <a:pt x="244617" y="2824647"/>
                  <a:pt x="267802" y="2965300"/>
                  <a:pt x="550652" y="2978438"/>
                </a:cubicBezTo>
                <a:lnTo>
                  <a:pt x="579247" y="2979984"/>
                </a:lnTo>
                <a:lnTo>
                  <a:pt x="586202" y="2979984"/>
                </a:lnTo>
                <a:cubicBezTo>
                  <a:pt x="688987" y="2984620"/>
                  <a:pt x="803363" y="2990030"/>
                  <a:pt x="858233" y="3003168"/>
                </a:cubicBezTo>
                <a:cubicBezTo>
                  <a:pt x="876781" y="3007805"/>
                  <a:pt x="889919" y="3023262"/>
                  <a:pt x="892237" y="3042582"/>
                </a:cubicBezTo>
                <a:cubicBezTo>
                  <a:pt x="903829" y="3155414"/>
                  <a:pt x="909239" y="3534866"/>
                  <a:pt x="910784" y="3664700"/>
                </a:cubicBezTo>
                <a:cubicBezTo>
                  <a:pt x="910784" y="3689430"/>
                  <a:pt x="930878" y="3708751"/>
                  <a:pt x="955608" y="3707978"/>
                </a:cubicBezTo>
                <a:lnTo>
                  <a:pt x="1015888" y="3707205"/>
                </a:lnTo>
                <a:cubicBezTo>
                  <a:pt x="1040618" y="3707205"/>
                  <a:pt x="1059939" y="3687111"/>
                  <a:pt x="1059939" y="3662381"/>
                </a:cubicBezTo>
                <a:cubicBezTo>
                  <a:pt x="1058393" y="3507818"/>
                  <a:pt x="1049119" y="2998532"/>
                  <a:pt x="1017434" y="2942116"/>
                </a:cubicBezTo>
                <a:cubicBezTo>
                  <a:pt x="966428" y="2850150"/>
                  <a:pt x="841232" y="2843968"/>
                  <a:pt x="592384" y="2832376"/>
                </a:cubicBezTo>
                <a:lnTo>
                  <a:pt x="587747" y="2832376"/>
                </a:lnTo>
                <a:lnTo>
                  <a:pt x="559153" y="2830830"/>
                </a:lnTo>
                <a:cubicBezTo>
                  <a:pt x="396862" y="2823875"/>
                  <a:pt x="388360" y="2782143"/>
                  <a:pt x="381405" y="2724181"/>
                </a:cubicBezTo>
                <a:lnTo>
                  <a:pt x="381405" y="2722636"/>
                </a:lnTo>
                <a:lnTo>
                  <a:pt x="381405" y="2719544"/>
                </a:lnTo>
                <a:lnTo>
                  <a:pt x="381405" y="2716453"/>
                </a:lnTo>
                <a:cubicBezTo>
                  <a:pt x="377541" y="2684768"/>
                  <a:pt x="411545" y="2615986"/>
                  <a:pt x="426229" y="2587392"/>
                </a:cubicBezTo>
                <a:cubicBezTo>
                  <a:pt x="429320" y="2579664"/>
                  <a:pt x="432411" y="2573482"/>
                  <a:pt x="434730" y="2568072"/>
                </a:cubicBezTo>
                <a:cubicBezTo>
                  <a:pt x="441685" y="2552615"/>
                  <a:pt x="447094" y="2540250"/>
                  <a:pt x="449414" y="2525567"/>
                </a:cubicBezTo>
                <a:cubicBezTo>
                  <a:pt x="457141" y="2479198"/>
                  <a:pt x="426229" y="2445967"/>
                  <a:pt x="403817" y="2422010"/>
                </a:cubicBezTo>
                <a:lnTo>
                  <a:pt x="396089" y="2411190"/>
                </a:lnTo>
                <a:cubicBezTo>
                  <a:pt x="389906" y="2405008"/>
                  <a:pt x="379087" y="2394188"/>
                  <a:pt x="372905" y="2386460"/>
                </a:cubicBezTo>
                <a:cubicBezTo>
                  <a:pt x="396089" y="2366367"/>
                  <a:pt x="405362" y="2342410"/>
                  <a:pt x="401498" y="2314588"/>
                </a:cubicBezTo>
                <a:lnTo>
                  <a:pt x="400725" y="2311497"/>
                </a:lnTo>
                <a:lnTo>
                  <a:pt x="399953" y="2308406"/>
                </a:lnTo>
                <a:cubicBezTo>
                  <a:pt x="395316" y="2289858"/>
                  <a:pt x="385270" y="2278266"/>
                  <a:pt x="378314" y="2268992"/>
                </a:cubicBezTo>
                <a:lnTo>
                  <a:pt x="375223" y="2265127"/>
                </a:lnTo>
                <a:lnTo>
                  <a:pt x="372905" y="2262809"/>
                </a:lnTo>
                <a:lnTo>
                  <a:pt x="370586" y="2260491"/>
                </a:lnTo>
                <a:cubicBezTo>
                  <a:pt x="369040" y="2258945"/>
                  <a:pt x="367495" y="2257400"/>
                  <a:pt x="365949" y="2255854"/>
                </a:cubicBezTo>
                <a:cubicBezTo>
                  <a:pt x="369040" y="2247353"/>
                  <a:pt x="372905" y="2235760"/>
                  <a:pt x="375223" y="2229578"/>
                </a:cubicBezTo>
                <a:lnTo>
                  <a:pt x="377541" y="2222623"/>
                </a:lnTo>
                <a:cubicBezTo>
                  <a:pt x="391452" y="2186301"/>
                  <a:pt x="400725" y="2157706"/>
                  <a:pt x="400725" y="2132204"/>
                </a:cubicBezTo>
                <a:lnTo>
                  <a:pt x="400725" y="2129884"/>
                </a:lnTo>
                <a:lnTo>
                  <a:pt x="400725" y="2127567"/>
                </a:lnTo>
                <a:cubicBezTo>
                  <a:pt x="392225" y="2022463"/>
                  <a:pt x="285576" y="1995414"/>
                  <a:pt x="214477" y="1977640"/>
                </a:cubicBezTo>
                <a:cubicBezTo>
                  <a:pt x="199021" y="1973776"/>
                  <a:pt x="166562" y="1966820"/>
                  <a:pt x="150334" y="1959865"/>
                </a:cubicBezTo>
                <a:cubicBezTo>
                  <a:pt x="153424" y="1945182"/>
                  <a:pt x="161152" y="1934362"/>
                  <a:pt x="203658" y="1881038"/>
                </a:cubicBezTo>
                <a:cubicBezTo>
                  <a:pt x="229160" y="1850125"/>
                  <a:pt x="263165" y="1808392"/>
                  <a:pt x="307987" y="1748886"/>
                </a:cubicBezTo>
                <a:cubicBezTo>
                  <a:pt x="406135" y="1618280"/>
                  <a:pt x="429320" y="1583503"/>
                  <a:pt x="441685" y="1564956"/>
                </a:cubicBezTo>
                <a:lnTo>
                  <a:pt x="444004" y="1561091"/>
                </a:lnTo>
                <a:lnTo>
                  <a:pt x="447867" y="1554909"/>
                </a:lnTo>
                <a:cubicBezTo>
                  <a:pt x="449414" y="1552591"/>
                  <a:pt x="450186" y="1551044"/>
                  <a:pt x="452504" y="1547181"/>
                </a:cubicBezTo>
                <a:cubicBezTo>
                  <a:pt x="484190" y="1504675"/>
                  <a:pt x="473371" y="1453670"/>
                  <a:pt x="458687" y="1382571"/>
                </a:cubicBezTo>
                <a:cubicBezTo>
                  <a:pt x="448641" y="1333110"/>
                  <a:pt x="433957" y="1264329"/>
                  <a:pt x="430865" y="1188593"/>
                </a:cubicBezTo>
                <a:cubicBezTo>
                  <a:pt x="425456" y="1048713"/>
                  <a:pt x="459459" y="892604"/>
                  <a:pt x="541378" y="681625"/>
                </a:cubicBezTo>
                <a:cubicBezTo>
                  <a:pt x="641844" y="418867"/>
                  <a:pt x="934743" y="289807"/>
                  <a:pt x="1163496" y="227981"/>
                </a:cubicBezTo>
                <a:cubicBezTo>
                  <a:pt x="1412343" y="159200"/>
                  <a:pt x="1640324" y="152245"/>
                  <a:pt x="1726880" y="152245"/>
                </a:cubicBezTo>
                <a:cubicBezTo>
                  <a:pt x="1752382" y="152245"/>
                  <a:pt x="1776339" y="153018"/>
                  <a:pt x="1792569" y="153791"/>
                </a:cubicBezTo>
                <a:cubicBezTo>
                  <a:pt x="2361362" y="197841"/>
                  <a:pt x="2631075" y="528608"/>
                  <a:pt x="2755498" y="717175"/>
                </a:cubicBezTo>
                <a:cubicBezTo>
                  <a:pt x="2856738" y="885649"/>
                  <a:pt x="2916244" y="1081944"/>
                  <a:pt x="2919335" y="1292923"/>
                </a:cubicBezTo>
                <a:cubicBezTo>
                  <a:pt x="2919335" y="1299106"/>
                  <a:pt x="2920109" y="1305288"/>
                  <a:pt x="2920109" y="1311471"/>
                </a:cubicBezTo>
                <a:cubicBezTo>
                  <a:pt x="2920109" y="1605915"/>
                  <a:pt x="2851328" y="1840079"/>
                  <a:pt x="2764772" y="2055695"/>
                </a:cubicBezTo>
                <a:cubicBezTo>
                  <a:pt x="2735405" y="2128339"/>
                  <a:pt x="2704493" y="2199438"/>
                  <a:pt x="2672807" y="2269765"/>
                </a:cubicBezTo>
                <a:cubicBezTo>
                  <a:pt x="2564613" y="2532523"/>
                  <a:pt x="2456418" y="2779824"/>
                  <a:pt x="2456418" y="3088951"/>
                </a:cubicBezTo>
                <a:lnTo>
                  <a:pt x="2456418" y="3663154"/>
                </a:lnTo>
                <a:cubicBezTo>
                  <a:pt x="2456418" y="3687111"/>
                  <a:pt x="2475739" y="3707205"/>
                  <a:pt x="2500469" y="3707205"/>
                </a:cubicBezTo>
                <a:lnTo>
                  <a:pt x="2566931" y="3707205"/>
                </a:lnTo>
                <a:cubicBezTo>
                  <a:pt x="2590888" y="3707205"/>
                  <a:pt x="2610982" y="3687885"/>
                  <a:pt x="2610982" y="3663154"/>
                </a:cubicBezTo>
                <a:lnTo>
                  <a:pt x="2610982" y="3088951"/>
                </a:lnTo>
                <a:cubicBezTo>
                  <a:pt x="2610982" y="2810737"/>
                  <a:pt x="2711448" y="2578892"/>
                  <a:pt x="2819642" y="2331590"/>
                </a:cubicBezTo>
                <a:cubicBezTo>
                  <a:pt x="2935564" y="2053376"/>
                  <a:pt x="3074672" y="1736521"/>
                  <a:pt x="3074672" y="1311471"/>
                </a:cubicBezTo>
                <a:cubicBezTo>
                  <a:pt x="3075444" y="1301425"/>
                  <a:pt x="3074672" y="1290605"/>
                  <a:pt x="3073899" y="1279786"/>
                </a:cubicBezTo>
                <a:cubicBezTo>
                  <a:pt x="3080854" y="1079626"/>
                  <a:pt x="3034485" y="890285"/>
                  <a:pt x="2936337" y="724903"/>
                </a:cubicBezTo>
                <a:cubicBezTo>
                  <a:pt x="2726904" y="307582"/>
                  <a:pt x="2302628" y="17002"/>
                  <a:pt x="1807253" y="0"/>
                </a:cubicBezTo>
                <a:close/>
              </a:path>
            </a:pathLst>
          </a:custGeom>
          <a:solidFill>
            <a:srgbClr val="45E1D2"/>
          </a:solidFill>
          <a:ln w="774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latin typeface="Arial Narrow" charset="0"/>
            </a:endParaRPr>
          </a:p>
        </p:txBody>
      </p:sp>
      <p:sp>
        <p:nvSpPr>
          <p:cNvPr id="56" name="TextBox 55">
            <a:extLst>
              <a:ext uri="{FF2B5EF4-FFF2-40B4-BE49-F238E27FC236}">
                <a16:creationId xmlns:a16="http://schemas.microsoft.com/office/drawing/2014/main" id="{048C5F41-7CDB-9160-7BC4-5ACBFCC7CF37}"/>
              </a:ext>
            </a:extLst>
          </p:cNvPr>
          <p:cNvSpPr txBox="1">
            <a:spLocks/>
          </p:cNvSpPr>
          <p:nvPr/>
        </p:nvSpPr>
        <p:spPr>
          <a:xfrm>
            <a:off x="2513096" y="3056641"/>
            <a:ext cx="3076027" cy="984885"/>
          </a:xfrm>
          <a:prstGeom prst="rect">
            <a:avLst/>
          </a:prstGeom>
        </p:spPr>
        <p:txBody>
          <a:bodyPr vert="horz" wrap="square" lIns="0" tIns="0" rIns="0" bIns="0" rtlCol="0" anchor="ctr">
            <a:noAutofit/>
          </a:bodyPr>
          <a:lstStyle/>
          <a:p>
            <a:pPr marL="285750" indent="-285750" algn="l">
              <a:buClr>
                <a:srgbClr val="45E1D2"/>
              </a:buClr>
              <a:buFont typeface="Wingdings" panose="05000000000000000000" pitchFamily="2" charset="2"/>
              <a:buChar char="§"/>
            </a:pPr>
            <a:r>
              <a:rPr lang="en-US" sz="1600" dirty="0">
                <a:solidFill>
                  <a:schemeClr val="bg1"/>
                </a:solidFill>
              </a:rPr>
              <a:t>You send us the request details with context, scope of work, DL, format and the charge code </a:t>
            </a:r>
          </a:p>
        </p:txBody>
      </p:sp>
      <p:sp>
        <p:nvSpPr>
          <p:cNvPr id="57" name="TextBox 56">
            <a:extLst>
              <a:ext uri="{FF2B5EF4-FFF2-40B4-BE49-F238E27FC236}">
                <a16:creationId xmlns:a16="http://schemas.microsoft.com/office/drawing/2014/main" id="{F84C517E-5A5F-9BF2-9962-9F14F8258D57}"/>
              </a:ext>
            </a:extLst>
          </p:cNvPr>
          <p:cNvSpPr txBox="1">
            <a:spLocks/>
          </p:cNvSpPr>
          <p:nvPr/>
        </p:nvSpPr>
        <p:spPr>
          <a:xfrm>
            <a:off x="6274827" y="3056641"/>
            <a:ext cx="5215002" cy="984885"/>
          </a:xfrm>
          <a:prstGeom prst="rect">
            <a:avLst/>
          </a:prstGeom>
        </p:spPr>
        <p:txBody>
          <a:bodyPr vert="horz" wrap="square" lIns="0" tIns="0" rIns="0" bIns="0" rtlCol="0" anchor="ctr">
            <a:noAutofit/>
          </a:bodyPr>
          <a:lstStyle/>
          <a:p>
            <a:pPr marL="285750" indent="-285750" algn="l">
              <a:buClr>
                <a:srgbClr val="45E1D2"/>
              </a:buClr>
              <a:buFont typeface="Wingdings" panose="05000000000000000000" pitchFamily="2" charset="2"/>
              <a:buChar char="§"/>
            </a:pPr>
            <a:r>
              <a:rPr lang="en-US" sz="1600" dirty="0">
                <a:solidFill>
                  <a:schemeClr val="bg1"/>
                </a:solidFill>
              </a:rPr>
              <a:t>You send us an email explaining the need or capacity reservation request. A call is planned to  clarify the scope and needs </a:t>
            </a:r>
            <a:r>
              <a:rPr lang="en-US" sz="1600" b="1" dirty="0">
                <a:solidFill>
                  <a:schemeClr val="bg1"/>
                </a:solidFill>
              </a:rPr>
              <a:t>(# of analysts to be staffed, #days of support, languages and seniority requirements</a:t>
            </a:r>
            <a:r>
              <a:rPr lang="en-US" sz="1600" dirty="0">
                <a:solidFill>
                  <a:schemeClr val="bg1"/>
                </a:solidFill>
              </a:rPr>
              <a:t>)</a:t>
            </a:r>
          </a:p>
        </p:txBody>
      </p:sp>
      <p:sp>
        <p:nvSpPr>
          <p:cNvPr id="44" name="Freeform: Shape 43">
            <a:extLst>
              <a:ext uri="{FF2B5EF4-FFF2-40B4-BE49-F238E27FC236}">
                <a16:creationId xmlns:a16="http://schemas.microsoft.com/office/drawing/2014/main" id="{886A228A-77AB-FB33-2D1F-83AEF4118E39}"/>
              </a:ext>
            </a:extLst>
          </p:cNvPr>
          <p:cNvSpPr>
            <a:spLocks noChangeAspect="1"/>
          </p:cNvSpPr>
          <p:nvPr/>
        </p:nvSpPr>
        <p:spPr>
          <a:xfrm>
            <a:off x="555301" y="3302327"/>
            <a:ext cx="493658" cy="493512"/>
          </a:xfrm>
          <a:custGeom>
            <a:avLst/>
            <a:gdLst>
              <a:gd name="connsiteX0" fmla="*/ 846782 w 1943056"/>
              <a:gd name="connsiteY0" fmla="*/ 1781273 h 1942479"/>
              <a:gd name="connsiteX1" fmla="*/ 846782 w 1943056"/>
              <a:gd name="connsiteY1" fmla="*/ 1813514 h 1942479"/>
              <a:gd name="connsiteX2" fmla="*/ 911265 w 1943056"/>
              <a:gd name="connsiteY2" fmla="*/ 1877996 h 1942479"/>
              <a:gd name="connsiteX3" fmla="*/ 1040229 w 1943056"/>
              <a:gd name="connsiteY3" fmla="*/ 1877996 h 1942479"/>
              <a:gd name="connsiteX4" fmla="*/ 1104712 w 1943056"/>
              <a:gd name="connsiteY4" fmla="*/ 1813514 h 1942479"/>
              <a:gd name="connsiteX5" fmla="*/ 1104712 w 1943056"/>
              <a:gd name="connsiteY5" fmla="*/ 1781273 h 1942479"/>
              <a:gd name="connsiteX6" fmla="*/ 846782 w 1943056"/>
              <a:gd name="connsiteY6" fmla="*/ 1652308 h 1942479"/>
              <a:gd name="connsiteX7" fmla="*/ 846782 w 1943056"/>
              <a:gd name="connsiteY7" fmla="*/ 1716790 h 1942479"/>
              <a:gd name="connsiteX8" fmla="*/ 1104712 w 1943056"/>
              <a:gd name="connsiteY8" fmla="*/ 1716790 h 1942479"/>
              <a:gd name="connsiteX9" fmla="*/ 1104712 w 1943056"/>
              <a:gd name="connsiteY9" fmla="*/ 1652308 h 1942479"/>
              <a:gd name="connsiteX10" fmla="*/ 1394883 w 1943056"/>
              <a:gd name="connsiteY10" fmla="*/ 1458861 h 1942479"/>
              <a:gd name="connsiteX11" fmla="*/ 1459365 w 1943056"/>
              <a:gd name="connsiteY11" fmla="*/ 1458861 h 1942479"/>
              <a:gd name="connsiteX12" fmla="*/ 1459365 w 1943056"/>
              <a:gd name="connsiteY12" fmla="*/ 1684549 h 1942479"/>
              <a:gd name="connsiteX13" fmla="*/ 1394883 w 1943056"/>
              <a:gd name="connsiteY13" fmla="*/ 1684549 h 1942479"/>
              <a:gd name="connsiteX14" fmla="*/ 943506 w 1943056"/>
              <a:gd name="connsiteY14" fmla="*/ 1426621 h 1942479"/>
              <a:gd name="connsiteX15" fmla="*/ 1007988 w 1943056"/>
              <a:gd name="connsiteY15" fmla="*/ 1426621 h 1942479"/>
              <a:gd name="connsiteX16" fmla="*/ 1007988 w 1943056"/>
              <a:gd name="connsiteY16" fmla="*/ 1523344 h 1942479"/>
              <a:gd name="connsiteX17" fmla="*/ 943506 w 1943056"/>
              <a:gd name="connsiteY17" fmla="*/ 1523344 h 1942479"/>
              <a:gd name="connsiteX18" fmla="*/ 1576733 w 1943056"/>
              <a:gd name="connsiteY18" fmla="*/ 1369626 h 1942479"/>
              <a:gd name="connsiteX19" fmla="*/ 1770189 w 1943056"/>
              <a:gd name="connsiteY19" fmla="*/ 1530808 h 1942479"/>
              <a:gd name="connsiteX20" fmla="*/ 1728914 w 1943056"/>
              <a:gd name="connsiteY20" fmla="*/ 1580349 h 1942479"/>
              <a:gd name="connsiteX21" fmla="*/ 1535457 w 1943056"/>
              <a:gd name="connsiteY21" fmla="*/ 1419167 h 1942479"/>
              <a:gd name="connsiteX22" fmla="*/ 1588330 w 1943056"/>
              <a:gd name="connsiteY22" fmla="*/ 1200932 h 1942479"/>
              <a:gd name="connsiteX23" fmla="*/ 1814018 w 1943056"/>
              <a:gd name="connsiteY23" fmla="*/ 1200932 h 1942479"/>
              <a:gd name="connsiteX24" fmla="*/ 1814018 w 1943056"/>
              <a:gd name="connsiteY24" fmla="*/ 1265414 h 1942479"/>
              <a:gd name="connsiteX25" fmla="*/ 1588330 w 1943056"/>
              <a:gd name="connsiteY25" fmla="*/ 1265414 h 1942479"/>
              <a:gd name="connsiteX26" fmla="*/ 419135 w 1943056"/>
              <a:gd name="connsiteY26" fmla="*/ 1007484 h 1942479"/>
              <a:gd name="connsiteX27" fmla="*/ 297702 w 1943056"/>
              <a:gd name="connsiteY27" fmla="*/ 1092666 h 1942479"/>
              <a:gd name="connsiteX28" fmla="*/ 375281 w 1943056"/>
              <a:gd name="connsiteY28" fmla="*/ 1257425 h 1942479"/>
              <a:gd name="connsiteX29" fmla="*/ 540040 w 1943056"/>
              <a:gd name="connsiteY29" fmla="*/ 1179846 h 1942479"/>
              <a:gd name="connsiteX30" fmla="*/ 420360 w 1943056"/>
              <a:gd name="connsiteY30" fmla="*/ 1007484 h 1942479"/>
              <a:gd name="connsiteX31" fmla="*/ 419135 w 1943056"/>
              <a:gd name="connsiteY31" fmla="*/ 1007484 h 1942479"/>
              <a:gd name="connsiteX32" fmla="*/ 369580 w 1943056"/>
              <a:gd name="connsiteY32" fmla="*/ 835445 h 1942479"/>
              <a:gd name="connsiteX33" fmla="*/ 363938 w 1943056"/>
              <a:gd name="connsiteY33" fmla="*/ 862270 h 1942479"/>
              <a:gd name="connsiteX34" fmla="*/ 353956 w 1943056"/>
              <a:gd name="connsiteY34" fmla="*/ 885555 h 1942479"/>
              <a:gd name="connsiteX35" fmla="*/ 264281 w 1943056"/>
              <a:gd name="connsiteY35" fmla="*/ 902120 h 1942479"/>
              <a:gd name="connsiteX36" fmla="*/ 197251 w 1943056"/>
              <a:gd name="connsiteY36" fmla="*/ 855951 h 1942479"/>
              <a:gd name="connsiteX37" fmla="*/ 138508 w 1943056"/>
              <a:gd name="connsiteY37" fmla="*/ 914565 h 1942479"/>
              <a:gd name="connsiteX38" fmla="*/ 184677 w 1943056"/>
              <a:gd name="connsiteY38" fmla="*/ 981691 h 1942479"/>
              <a:gd name="connsiteX39" fmla="*/ 194564 w 1943056"/>
              <a:gd name="connsiteY39" fmla="*/ 1004766 h 1942479"/>
              <a:gd name="connsiteX40" fmla="*/ 144859 w 1943056"/>
              <a:gd name="connsiteY40" fmla="*/ 1081220 h 1942479"/>
              <a:gd name="connsiteX41" fmla="*/ 64482 w 1943056"/>
              <a:gd name="connsiteY41" fmla="*/ 1098147 h 1942479"/>
              <a:gd name="connsiteX42" fmla="*/ 64482 w 1943056"/>
              <a:gd name="connsiteY42" fmla="*/ 1174752 h 1942479"/>
              <a:gd name="connsiteX43" fmla="*/ 144859 w 1943056"/>
              <a:gd name="connsiteY43" fmla="*/ 1191678 h 1942479"/>
              <a:gd name="connsiteX44" fmla="*/ 168196 w 1943056"/>
              <a:gd name="connsiteY44" fmla="*/ 1201705 h 1942479"/>
              <a:gd name="connsiteX45" fmla="*/ 184645 w 1943056"/>
              <a:gd name="connsiteY45" fmla="*/ 1291400 h 1942479"/>
              <a:gd name="connsiteX46" fmla="*/ 138508 w 1943056"/>
              <a:gd name="connsiteY46" fmla="*/ 1358333 h 1942479"/>
              <a:gd name="connsiteX47" fmla="*/ 197251 w 1943056"/>
              <a:gd name="connsiteY47" fmla="*/ 1416947 h 1942479"/>
              <a:gd name="connsiteX48" fmla="*/ 264248 w 1943056"/>
              <a:gd name="connsiteY48" fmla="*/ 1370907 h 1942479"/>
              <a:gd name="connsiteX49" fmla="*/ 287559 w 1943056"/>
              <a:gd name="connsiteY49" fmla="*/ 1360903 h 1942479"/>
              <a:gd name="connsiteX50" fmla="*/ 363938 w 1943056"/>
              <a:gd name="connsiteY50" fmla="*/ 1410725 h 1942479"/>
              <a:gd name="connsiteX51" fmla="*/ 380833 w 1943056"/>
              <a:gd name="connsiteY51" fmla="*/ 1491102 h 1942479"/>
              <a:gd name="connsiteX52" fmla="*/ 457470 w 1943056"/>
              <a:gd name="connsiteY52" fmla="*/ 1491102 h 1942479"/>
              <a:gd name="connsiteX53" fmla="*/ 474364 w 1943056"/>
              <a:gd name="connsiteY53" fmla="*/ 1410596 h 1942479"/>
              <a:gd name="connsiteX54" fmla="*/ 484369 w 1943056"/>
              <a:gd name="connsiteY54" fmla="*/ 1387286 h 1942479"/>
              <a:gd name="connsiteX55" fmla="*/ 574054 w 1943056"/>
              <a:gd name="connsiteY55" fmla="*/ 1370778 h 1942479"/>
              <a:gd name="connsiteX56" fmla="*/ 641019 w 1943056"/>
              <a:gd name="connsiteY56" fmla="*/ 1416947 h 1942479"/>
              <a:gd name="connsiteX57" fmla="*/ 710176 w 1943056"/>
              <a:gd name="connsiteY57" fmla="*/ 1347919 h 1942479"/>
              <a:gd name="connsiteX58" fmla="*/ 645210 w 1943056"/>
              <a:gd name="connsiteY58" fmla="*/ 1265414 h 1942479"/>
              <a:gd name="connsiteX59" fmla="*/ 590110 w 1943056"/>
              <a:gd name="connsiteY59" fmla="*/ 1225274 h 1942479"/>
              <a:gd name="connsiteX60" fmla="*/ 440949 w 1943056"/>
              <a:gd name="connsiteY60" fmla="*/ 1328948 h 1942479"/>
              <a:gd name="connsiteX61" fmla="*/ 225962 w 1943056"/>
              <a:gd name="connsiteY61" fmla="*/ 1159763 h 1942479"/>
              <a:gd name="connsiteX62" fmla="*/ 395148 w 1943056"/>
              <a:gd name="connsiteY62" fmla="*/ 944775 h 1942479"/>
              <a:gd name="connsiteX63" fmla="*/ 369580 w 1943056"/>
              <a:gd name="connsiteY63" fmla="*/ 835445 h 1942479"/>
              <a:gd name="connsiteX64" fmla="*/ 290864 w 1943056"/>
              <a:gd name="connsiteY64" fmla="*/ 492589 h 1942479"/>
              <a:gd name="connsiteX65" fmla="*/ 306496 w 1943056"/>
              <a:gd name="connsiteY65" fmla="*/ 555116 h 1942479"/>
              <a:gd name="connsiteX66" fmla="*/ 48571 w 1943056"/>
              <a:gd name="connsiteY66" fmla="*/ 619596 h 1942479"/>
              <a:gd name="connsiteX67" fmla="*/ 32940 w 1943056"/>
              <a:gd name="connsiteY67" fmla="*/ 557070 h 1942479"/>
              <a:gd name="connsiteX68" fmla="*/ 1386372 w 1943056"/>
              <a:gd name="connsiteY68" fmla="*/ 371172 h 1942479"/>
              <a:gd name="connsiteX69" fmla="*/ 1192924 w 1943056"/>
              <a:gd name="connsiteY69" fmla="*/ 564620 h 1942479"/>
              <a:gd name="connsiteX70" fmla="*/ 1386372 w 1943056"/>
              <a:gd name="connsiteY70" fmla="*/ 758067 h 1942479"/>
              <a:gd name="connsiteX71" fmla="*/ 1579819 w 1943056"/>
              <a:gd name="connsiteY71" fmla="*/ 564620 h 1942479"/>
              <a:gd name="connsiteX72" fmla="*/ 1386372 w 1943056"/>
              <a:gd name="connsiteY72" fmla="*/ 371172 h 1942479"/>
              <a:gd name="connsiteX73" fmla="*/ 734939 w 1943056"/>
              <a:gd name="connsiteY73" fmla="*/ 367626 h 1942479"/>
              <a:gd name="connsiteX74" fmla="*/ 769404 w 1943056"/>
              <a:gd name="connsiteY74" fmla="*/ 422178 h 1942479"/>
              <a:gd name="connsiteX75" fmla="*/ 615134 w 1943056"/>
              <a:gd name="connsiteY75" fmla="*/ 608828 h 1942479"/>
              <a:gd name="connsiteX76" fmla="*/ 834725 w 1943056"/>
              <a:gd name="connsiteY76" fmla="*/ 1109980 h 1942479"/>
              <a:gd name="connsiteX77" fmla="*/ 1007989 w 1943056"/>
              <a:gd name="connsiteY77" fmla="*/ 1362138 h 1942479"/>
              <a:gd name="connsiteX78" fmla="*/ 943507 w 1943056"/>
              <a:gd name="connsiteY78" fmla="*/ 1362138 h 1942479"/>
              <a:gd name="connsiteX79" fmla="*/ 811318 w 1943056"/>
              <a:gd name="connsiteY79" fmla="*/ 1169981 h 1942479"/>
              <a:gd name="connsiteX80" fmla="*/ 593625 w 1943056"/>
              <a:gd name="connsiteY80" fmla="*/ 990130 h 1942479"/>
              <a:gd name="connsiteX81" fmla="*/ 734939 w 1943056"/>
              <a:gd name="connsiteY81" fmla="*/ 367626 h 1942479"/>
              <a:gd name="connsiteX82" fmla="*/ 1386372 w 1943056"/>
              <a:gd name="connsiteY82" fmla="*/ 306690 h 1942479"/>
              <a:gd name="connsiteX83" fmla="*/ 1644302 w 1943056"/>
              <a:gd name="connsiteY83" fmla="*/ 564620 h 1942479"/>
              <a:gd name="connsiteX84" fmla="*/ 1386372 w 1943056"/>
              <a:gd name="connsiteY84" fmla="*/ 822550 h 1942479"/>
              <a:gd name="connsiteX85" fmla="*/ 1128442 w 1943056"/>
              <a:gd name="connsiteY85" fmla="*/ 564620 h 1942479"/>
              <a:gd name="connsiteX86" fmla="*/ 1386372 w 1943056"/>
              <a:gd name="connsiteY86" fmla="*/ 306690 h 1942479"/>
              <a:gd name="connsiteX87" fmla="*/ 123953 w 1943056"/>
              <a:gd name="connsiteY87" fmla="*/ 175258 h 1942479"/>
              <a:gd name="connsiteX88" fmla="*/ 349632 w 1943056"/>
              <a:gd name="connsiteY88" fmla="*/ 336460 h 1942479"/>
              <a:gd name="connsiteX89" fmla="*/ 312171 w 1943056"/>
              <a:gd name="connsiteY89" fmla="*/ 388905 h 1942479"/>
              <a:gd name="connsiteX90" fmla="*/ 86491 w 1943056"/>
              <a:gd name="connsiteY90" fmla="*/ 227703 h 1942479"/>
              <a:gd name="connsiteX91" fmla="*/ 1390981 w 1943056"/>
              <a:gd name="connsiteY91" fmla="*/ 76746 h 1942479"/>
              <a:gd name="connsiteX92" fmla="*/ 1377633 w 1943056"/>
              <a:gd name="connsiteY92" fmla="*/ 170245 h 1942479"/>
              <a:gd name="connsiteX93" fmla="*/ 1339908 w 1943056"/>
              <a:gd name="connsiteY93" fmla="*/ 233938 h 1942479"/>
              <a:gd name="connsiteX94" fmla="*/ 1204498 w 1943056"/>
              <a:gd name="connsiteY94" fmla="*/ 214577 h 1942479"/>
              <a:gd name="connsiteX95" fmla="*/ 1147818 w 1943056"/>
              <a:gd name="connsiteY95" fmla="*/ 139036 h 1942479"/>
              <a:gd name="connsiteX96" fmla="*/ 1044646 w 1943056"/>
              <a:gd name="connsiteY96" fmla="*/ 216415 h 1942479"/>
              <a:gd name="connsiteX97" fmla="*/ 1101488 w 1943056"/>
              <a:gd name="connsiteY97" fmla="*/ 292020 h 1942479"/>
              <a:gd name="connsiteX98" fmla="*/ 1119862 w 1943056"/>
              <a:gd name="connsiteY98" fmla="*/ 363773 h 1942479"/>
              <a:gd name="connsiteX99" fmla="*/ 1010406 w 1943056"/>
              <a:gd name="connsiteY99" fmla="*/ 445811 h 1942479"/>
              <a:gd name="connsiteX100" fmla="*/ 916907 w 1943056"/>
              <a:gd name="connsiteY100" fmla="*/ 432463 h 1942479"/>
              <a:gd name="connsiteX101" fmla="*/ 898658 w 1943056"/>
              <a:gd name="connsiteY101" fmla="*/ 560106 h 1942479"/>
              <a:gd name="connsiteX102" fmla="*/ 992158 w 1943056"/>
              <a:gd name="connsiteY102" fmla="*/ 573453 h 1942479"/>
              <a:gd name="connsiteX103" fmla="*/ 1055850 w 1943056"/>
              <a:gd name="connsiteY103" fmla="*/ 611179 h 1942479"/>
              <a:gd name="connsiteX104" fmla="*/ 1036489 w 1943056"/>
              <a:gd name="connsiteY104" fmla="*/ 746589 h 1942479"/>
              <a:gd name="connsiteX105" fmla="*/ 960980 w 1943056"/>
              <a:gd name="connsiteY105" fmla="*/ 803269 h 1942479"/>
              <a:gd name="connsiteX106" fmla="*/ 1038359 w 1943056"/>
              <a:gd name="connsiteY106" fmla="*/ 906440 h 1942479"/>
              <a:gd name="connsiteX107" fmla="*/ 1113900 w 1943056"/>
              <a:gd name="connsiteY107" fmla="*/ 849793 h 1942479"/>
              <a:gd name="connsiteX108" fmla="*/ 1185653 w 1943056"/>
              <a:gd name="connsiteY108" fmla="*/ 831418 h 1942479"/>
              <a:gd name="connsiteX109" fmla="*/ 1267691 w 1943056"/>
              <a:gd name="connsiteY109" fmla="*/ 940874 h 1942479"/>
              <a:gd name="connsiteX110" fmla="*/ 1254343 w 1943056"/>
              <a:gd name="connsiteY110" fmla="*/ 1034373 h 1942479"/>
              <a:gd name="connsiteX111" fmla="*/ 1381986 w 1943056"/>
              <a:gd name="connsiteY111" fmla="*/ 1052622 h 1942479"/>
              <a:gd name="connsiteX112" fmla="*/ 1395044 w 1943056"/>
              <a:gd name="connsiteY112" fmla="*/ 958994 h 1942479"/>
              <a:gd name="connsiteX113" fmla="*/ 1432769 w 1943056"/>
              <a:gd name="connsiteY113" fmla="*/ 895301 h 1942479"/>
              <a:gd name="connsiteX114" fmla="*/ 1568179 w 1943056"/>
              <a:gd name="connsiteY114" fmla="*/ 914662 h 1942479"/>
              <a:gd name="connsiteX115" fmla="*/ 1624859 w 1943056"/>
              <a:gd name="connsiteY115" fmla="*/ 990171 h 1942479"/>
              <a:gd name="connsiteX116" fmla="*/ 1728031 w 1943056"/>
              <a:gd name="connsiteY116" fmla="*/ 912792 h 1942479"/>
              <a:gd name="connsiteX117" fmla="*/ 1671383 w 1943056"/>
              <a:gd name="connsiteY117" fmla="*/ 837251 h 1942479"/>
              <a:gd name="connsiteX118" fmla="*/ 1653005 w 1943056"/>
              <a:gd name="connsiteY118" fmla="*/ 765540 h 1942479"/>
              <a:gd name="connsiteX119" fmla="*/ 1762432 w 1943056"/>
              <a:gd name="connsiteY119" fmla="*/ 683460 h 1942479"/>
              <a:gd name="connsiteX120" fmla="*/ 1855931 w 1943056"/>
              <a:gd name="connsiteY120" fmla="*/ 696808 h 1942479"/>
              <a:gd name="connsiteX121" fmla="*/ 1874277 w 1943056"/>
              <a:gd name="connsiteY121" fmla="*/ 569198 h 1942479"/>
              <a:gd name="connsiteX122" fmla="*/ 1780777 w 1943056"/>
              <a:gd name="connsiteY122" fmla="*/ 555850 h 1942479"/>
              <a:gd name="connsiteX123" fmla="*/ 1717085 w 1943056"/>
              <a:gd name="connsiteY123" fmla="*/ 518124 h 1942479"/>
              <a:gd name="connsiteX124" fmla="*/ 1736446 w 1943056"/>
              <a:gd name="connsiteY124" fmla="*/ 382715 h 1942479"/>
              <a:gd name="connsiteX125" fmla="*/ 1811987 w 1943056"/>
              <a:gd name="connsiteY125" fmla="*/ 326035 h 1942479"/>
              <a:gd name="connsiteX126" fmla="*/ 1734608 w 1943056"/>
              <a:gd name="connsiteY126" fmla="*/ 222863 h 1942479"/>
              <a:gd name="connsiteX127" fmla="*/ 1659067 w 1943056"/>
              <a:gd name="connsiteY127" fmla="*/ 279511 h 1942479"/>
              <a:gd name="connsiteX128" fmla="*/ 1587356 w 1943056"/>
              <a:gd name="connsiteY128" fmla="*/ 297888 h 1942479"/>
              <a:gd name="connsiteX129" fmla="*/ 1505276 w 1943056"/>
              <a:gd name="connsiteY129" fmla="*/ 188461 h 1942479"/>
              <a:gd name="connsiteX130" fmla="*/ 1518624 w 1943056"/>
              <a:gd name="connsiteY130" fmla="*/ 94962 h 1942479"/>
              <a:gd name="connsiteX131" fmla="*/ 1368154 w 1943056"/>
              <a:gd name="connsiteY131" fmla="*/ 8330 h 1942479"/>
              <a:gd name="connsiteX132" fmla="*/ 1559538 w 1943056"/>
              <a:gd name="connsiteY132" fmla="*/ 35670 h 1942479"/>
              <a:gd name="connsiteX133" fmla="*/ 1559574 w 1943056"/>
              <a:gd name="connsiteY133" fmla="*/ 35676 h 1942479"/>
              <a:gd name="connsiteX134" fmla="*/ 1586911 w 1943056"/>
              <a:gd name="connsiteY134" fmla="*/ 72167 h 1942479"/>
              <a:gd name="connsiteX135" fmla="*/ 1568985 w 1943056"/>
              <a:gd name="connsiteY135" fmla="*/ 197586 h 1942479"/>
              <a:gd name="connsiteX136" fmla="*/ 1575204 w 1943056"/>
              <a:gd name="connsiteY136" fmla="*/ 221729 h 1942479"/>
              <a:gd name="connsiteX137" fmla="*/ 1620377 w 1943056"/>
              <a:gd name="connsiteY137" fmla="*/ 227925 h 1942479"/>
              <a:gd name="connsiteX138" fmla="*/ 1721711 w 1943056"/>
              <a:gd name="connsiteY138" fmla="*/ 151900 h 1942479"/>
              <a:gd name="connsiteX139" fmla="*/ 1766849 w 1943056"/>
              <a:gd name="connsiteY139" fmla="*/ 158348 h 1942479"/>
              <a:gd name="connsiteX140" fmla="*/ 1882917 w 1943056"/>
              <a:gd name="connsiteY140" fmla="*/ 313106 h 1942479"/>
              <a:gd name="connsiteX141" fmla="*/ 1876469 w 1943056"/>
              <a:gd name="connsiteY141" fmla="*/ 358244 h 1942479"/>
              <a:gd name="connsiteX142" fmla="*/ 1775103 w 1943056"/>
              <a:gd name="connsiteY142" fmla="*/ 434268 h 1942479"/>
              <a:gd name="connsiteX143" fmla="*/ 1762529 w 1943056"/>
              <a:gd name="connsiteY143" fmla="*/ 455515 h 1942479"/>
              <a:gd name="connsiteX144" fmla="*/ 1789901 w 1943056"/>
              <a:gd name="connsiteY144" fmla="*/ 491980 h 1942479"/>
              <a:gd name="connsiteX145" fmla="*/ 1915320 w 1943056"/>
              <a:gd name="connsiteY145" fmla="*/ 509874 h 1942479"/>
              <a:gd name="connsiteX146" fmla="*/ 1915384 w 1943056"/>
              <a:gd name="connsiteY146" fmla="*/ 509938 h 1942479"/>
              <a:gd name="connsiteX147" fmla="*/ 1915394 w 1943056"/>
              <a:gd name="connsiteY147" fmla="*/ 509938 h 1942479"/>
              <a:gd name="connsiteX148" fmla="*/ 1942725 w 1943056"/>
              <a:gd name="connsiteY148" fmla="*/ 546435 h 1942479"/>
              <a:gd name="connsiteX149" fmla="*/ 1915384 w 1943056"/>
              <a:gd name="connsiteY149" fmla="*/ 737948 h 1942479"/>
              <a:gd name="connsiteX150" fmla="*/ 1915384 w 1943056"/>
              <a:gd name="connsiteY150" fmla="*/ 737958 h 1942479"/>
              <a:gd name="connsiteX151" fmla="*/ 1878887 w 1943056"/>
              <a:gd name="connsiteY151" fmla="*/ 765289 h 1942479"/>
              <a:gd name="connsiteX152" fmla="*/ 1753469 w 1943056"/>
              <a:gd name="connsiteY152" fmla="*/ 747395 h 1942479"/>
              <a:gd name="connsiteX153" fmla="*/ 1721228 w 1943056"/>
              <a:gd name="connsiteY153" fmla="*/ 762870 h 1942479"/>
              <a:gd name="connsiteX154" fmla="*/ 1723162 w 1943056"/>
              <a:gd name="connsiteY154" fmla="*/ 798658 h 1942479"/>
              <a:gd name="connsiteX155" fmla="*/ 1799155 w 1943056"/>
              <a:gd name="connsiteY155" fmla="*/ 899992 h 1942479"/>
              <a:gd name="connsiteX156" fmla="*/ 1792706 w 1943056"/>
              <a:gd name="connsiteY156" fmla="*/ 945130 h 1942479"/>
              <a:gd name="connsiteX157" fmla="*/ 1637949 w 1943056"/>
              <a:gd name="connsiteY157" fmla="*/ 1061198 h 1942479"/>
              <a:gd name="connsiteX158" fmla="*/ 1592811 w 1943056"/>
              <a:gd name="connsiteY158" fmla="*/ 1054750 h 1942479"/>
              <a:gd name="connsiteX159" fmla="*/ 1516786 w 1943056"/>
              <a:gd name="connsiteY159" fmla="*/ 953416 h 1942479"/>
              <a:gd name="connsiteX160" fmla="*/ 1495539 w 1943056"/>
              <a:gd name="connsiteY160" fmla="*/ 940842 h 1942479"/>
              <a:gd name="connsiteX161" fmla="*/ 1459075 w 1943056"/>
              <a:gd name="connsiteY161" fmla="*/ 968215 h 1942479"/>
              <a:gd name="connsiteX162" fmla="*/ 1441181 w 1943056"/>
              <a:gd name="connsiteY162" fmla="*/ 1093633 h 1942479"/>
              <a:gd name="connsiteX163" fmla="*/ 1409230 w 1943056"/>
              <a:gd name="connsiteY163" fmla="*/ 1121296 h 1942479"/>
              <a:gd name="connsiteX164" fmla="*/ 1404684 w 1943056"/>
              <a:gd name="connsiteY164" fmla="*/ 1121006 h 1942479"/>
              <a:gd name="connsiteX165" fmla="*/ 1213171 w 1943056"/>
              <a:gd name="connsiteY165" fmla="*/ 1093633 h 1942479"/>
              <a:gd name="connsiteX166" fmla="*/ 1213161 w 1943056"/>
              <a:gd name="connsiteY166" fmla="*/ 1093633 h 1942479"/>
              <a:gd name="connsiteX167" fmla="*/ 1185830 w 1943056"/>
              <a:gd name="connsiteY167" fmla="*/ 1057136 h 1942479"/>
              <a:gd name="connsiteX168" fmla="*/ 1203724 w 1943056"/>
              <a:gd name="connsiteY168" fmla="*/ 931718 h 1942479"/>
              <a:gd name="connsiteX169" fmla="*/ 1197621 w 1943056"/>
              <a:gd name="connsiteY169" fmla="*/ 907891 h 1942479"/>
              <a:gd name="connsiteX170" fmla="*/ 1152493 w 1943056"/>
              <a:gd name="connsiteY170" fmla="*/ 901379 h 1942479"/>
              <a:gd name="connsiteX171" fmla="*/ 1051127 w 1943056"/>
              <a:gd name="connsiteY171" fmla="*/ 977371 h 1942479"/>
              <a:gd name="connsiteX172" fmla="*/ 1005989 w 1943056"/>
              <a:gd name="connsiteY172" fmla="*/ 970923 h 1942479"/>
              <a:gd name="connsiteX173" fmla="*/ 889921 w 1943056"/>
              <a:gd name="connsiteY173" fmla="*/ 816165 h 1942479"/>
              <a:gd name="connsiteX174" fmla="*/ 896369 w 1943056"/>
              <a:gd name="connsiteY174" fmla="*/ 771027 h 1942479"/>
              <a:gd name="connsiteX175" fmla="*/ 997703 w 1943056"/>
              <a:gd name="connsiteY175" fmla="*/ 695035 h 1942479"/>
              <a:gd name="connsiteX176" fmla="*/ 1010277 w 1943056"/>
              <a:gd name="connsiteY176" fmla="*/ 673788 h 1942479"/>
              <a:gd name="connsiteX177" fmla="*/ 982904 w 1943056"/>
              <a:gd name="connsiteY177" fmla="*/ 637323 h 1942479"/>
              <a:gd name="connsiteX178" fmla="*/ 857486 w 1943056"/>
              <a:gd name="connsiteY178" fmla="*/ 619397 h 1942479"/>
              <a:gd name="connsiteX179" fmla="*/ 857451 w 1943056"/>
              <a:gd name="connsiteY179" fmla="*/ 619391 h 1942479"/>
              <a:gd name="connsiteX180" fmla="*/ 830113 w 1943056"/>
              <a:gd name="connsiteY180" fmla="*/ 582900 h 1942479"/>
              <a:gd name="connsiteX181" fmla="*/ 857486 w 1943056"/>
              <a:gd name="connsiteY181" fmla="*/ 391420 h 1942479"/>
              <a:gd name="connsiteX182" fmla="*/ 857493 w 1943056"/>
              <a:gd name="connsiteY182" fmla="*/ 391384 h 1942479"/>
              <a:gd name="connsiteX183" fmla="*/ 893983 w 1943056"/>
              <a:gd name="connsiteY183" fmla="*/ 364047 h 1942479"/>
              <a:gd name="connsiteX184" fmla="*/ 1019402 w 1943056"/>
              <a:gd name="connsiteY184" fmla="*/ 381973 h 1942479"/>
              <a:gd name="connsiteX185" fmla="*/ 1051643 w 1943056"/>
              <a:gd name="connsiteY185" fmla="*/ 366465 h 1942479"/>
              <a:gd name="connsiteX186" fmla="*/ 1049708 w 1943056"/>
              <a:gd name="connsiteY186" fmla="*/ 330677 h 1942479"/>
              <a:gd name="connsiteX187" fmla="*/ 973716 w 1943056"/>
              <a:gd name="connsiteY187" fmla="*/ 229343 h 1942479"/>
              <a:gd name="connsiteX188" fmla="*/ 967558 w 1943056"/>
              <a:gd name="connsiteY188" fmla="*/ 205453 h 1942479"/>
              <a:gd name="connsiteX189" fmla="*/ 968815 w 1943056"/>
              <a:gd name="connsiteY189" fmla="*/ 201938 h 1942479"/>
              <a:gd name="connsiteX190" fmla="*/ 508066 w 1943056"/>
              <a:gd name="connsiteY190" fmla="*/ 457656 h 1942479"/>
              <a:gd name="connsiteX191" fmla="*/ 680031 w 1943056"/>
              <a:gd name="connsiteY191" fmla="*/ 1211087 h 1942479"/>
              <a:gd name="connsiteX192" fmla="*/ 782300 w 1943056"/>
              <a:gd name="connsiteY192" fmla="*/ 1393057 h 1942479"/>
              <a:gd name="connsiteX193" fmla="*/ 782300 w 1943056"/>
              <a:gd name="connsiteY193" fmla="*/ 1523343 h 1942479"/>
              <a:gd name="connsiteX194" fmla="*/ 846782 w 1943056"/>
              <a:gd name="connsiteY194" fmla="*/ 1587826 h 1942479"/>
              <a:gd name="connsiteX195" fmla="*/ 1104712 w 1943056"/>
              <a:gd name="connsiteY195" fmla="*/ 1587826 h 1942479"/>
              <a:gd name="connsiteX196" fmla="*/ 1169194 w 1943056"/>
              <a:gd name="connsiteY196" fmla="*/ 1523343 h 1942479"/>
              <a:gd name="connsiteX197" fmla="*/ 1169194 w 1943056"/>
              <a:gd name="connsiteY197" fmla="*/ 1395733 h 1942479"/>
              <a:gd name="connsiteX198" fmla="*/ 1273204 w 1943056"/>
              <a:gd name="connsiteY198" fmla="*/ 1209991 h 1942479"/>
              <a:gd name="connsiteX199" fmla="*/ 1341136 w 1943056"/>
              <a:gd name="connsiteY199" fmla="*/ 1158051 h 1942479"/>
              <a:gd name="connsiteX200" fmla="*/ 1384146 w 1943056"/>
              <a:gd name="connsiteY200" fmla="*/ 1206090 h 1942479"/>
              <a:gd name="connsiteX201" fmla="*/ 1308250 w 1943056"/>
              <a:gd name="connsiteY201" fmla="*/ 1264124 h 1942479"/>
              <a:gd name="connsiteX202" fmla="*/ 1233676 w 1943056"/>
              <a:gd name="connsiteY202" fmla="*/ 1395733 h 1942479"/>
              <a:gd name="connsiteX203" fmla="*/ 1233676 w 1943056"/>
              <a:gd name="connsiteY203" fmla="*/ 1523343 h 1942479"/>
              <a:gd name="connsiteX204" fmla="*/ 1169194 w 1943056"/>
              <a:gd name="connsiteY204" fmla="*/ 1634382 h 1942479"/>
              <a:gd name="connsiteX205" fmla="*/ 1169194 w 1943056"/>
              <a:gd name="connsiteY205" fmla="*/ 1813514 h 1942479"/>
              <a:gd name="connsiteX206" fmla="*/ 1040229 w 1943056"/>
              <a:gd name="connsiteY206" fmla="*/ 1942479 h 1942479"/>
              <a:gd name="connsiteX207" fmla="*/ 911265 w 1943056"/>
              <a:gd name="connsiteY207" fmla="*/ 1942479 h 1942479"/>
              <a:gd name="connsiteX208" fmla="*/ 782300 w 1943056"/>
              <a:gd name="connsiteY208" fmla="*/ 1813514 h 1942479"/>
              <a:gd name="connsiteX209" fmla="*/ 782300 w 1943056"/>
              <a:gd name="connsiteY209" fmla="*/ 1634382 h 1942479"/>
              <a:gd name="connsiteX210" fmla="*/ 717817 w 1943056"/>
              <a:gd name="connsiteY210" fmla="*/ 1523343 h 1942479"/>
              <a:gd name="connsiteX211" fmla="*/ 717817 w 1943056"/>
              <a:gd name="connsiteY211" fmla="*/ 1431456 h 1942479"/>
              <a:gd name="connsiteX212" fmla="*/ 667747 w 1943056"/>
              <a:gd name="connsiteY212" fmla="*/ 1481688 h 1942479"/>
              <a:gd name="connsiteX213" fmla="*/ 626672 w 1943056"/>
              <a:gd name="connsiteY213" fmla="*/ 1485428 h 1942479"/>
              <a:gd name="connsiteX214" fmla="*/ 537589 w 1943056"/>
              <a:gd name="connsiteY214" fmla="*/ 1424169 h 1942479"/>
              <a:gd name="connsiteX215" fmla="*/ 515311 w 1943056"/>
              <a:gd name="connsiteY215" fmla="*/ 1530146 h 1942479"/>
              <a:gd name="connsiteX216" fmla="*/ 483746 w 1943056"/>
              <a:gd name="connsiteY216" fmla="*/ 1555746 h 1942479"/>
              <a:gd name="connsiteX217" fmla="*/ 354782 w 1943056"/>
              <a:gd name="connsiteY217" fmla="*/ 1555746 h 1942479"/>
              <a:gd name="connsiteX218" fmla="*/ 323250 w 1943056"/>
              <a:gd name="connsiteY218" fmla="*/ 1529953 h 1942479"/>
              <a:gd name="connsiteX219" fmla="*/ 300971 w 1943056"/>
              <a:gd name="connsiteY219" fmla="*/ 1423976 h 1942479"/>
              <a:gd name="connsiteX220" fmla="*/ 211889 w 1943056"/>
              <a:gd name="connsiteY220" fmla="*/ 1485396 h 1942479"/>
              <a:gd name="connsiteX221" fmla="*/ 170781 w 1943056"/>
              <a:gd name="connsiteY221" fmla="*/ 1481656 h 1942479"/>
              <a:gd name="connsiteX222" fmla="*/ 74058 w 1943056"/>
              <a:gd name="connsiteY222" fmla="*/ 1384932 h 1942479"/>
              <a:gd name="connsiteX223" fmla="*/ 70318 w 1943056"/>
              <a:gd name="connsiteY223" fmla="*/ 1343857 h 1942479"/>
              <a:gd name="connsiteX224" fmla="*/ 131576 w 1943056"/>
              <a:gd name="connsiteY224" fmla="*/ 1254774 h 1942479"/>
              <a:gd name="connsiteX225" fmla="*/ 25599 w 1943056"/>
              <a:gd name="connsiteY225" fmla="*/ 1232496 h 1942479"/>
              <a:gd name="connsiteX226" fmla="*/ 0 w 1943056"/>
              <a:gd name="connsiteY226" fmla="*/ 1200931 h 1942479"/>
              <a:gd name="connsiteX227" fmla="*/ 0 w 1943056"/>
              <a:gd name="connsiteY227" fmla="*/ 1071967 h 1942479"/>
              <a:gd name="connsiteX228" fmla="*/ 25341 w 1943056"/>
              <a:gd name="connsiteY228" fmla="*/ 1040403 h 1942479"/>
              <a:gd name="connsiteX229" fmla="*/ 131318 w 1943056"/>
              <a:gd name="connsiteY229" fmla="*/ 1018124 h 1942479"/>
              <a:gd name="connsiteX230" fmla="*/ 70060 w 1943056"/>
              <a:gd name="connsiteY230" fmla="*/ 929042 h 1942479"/>
              <a:gd name="connsiteX231" fmla="*/ 73800 w 1943056"/>
              <a:gd name="connsiteY231" fmla="*/ 887966 h 1942479"/>
              <a:gd name="connsiteX232" fmla="*/ 170523 w 1943056"/>
              <a:gd name="connsiteY232" fmla="*/ 791243 h 1942479"/>
              <a:gd name="connsiteX233" fmla="*/ 211631 w 1943056"/>
              <a:gd name="connsiteY233" fmla="*/ 787503 h 1942479"/>
              <a:gd name="connsiteX234" fmla="*/ 300874 w 1943056"/>
              <a:gd name="connsiteY234" fmla="*/ 849051 h 1942479"/>
              <a:gd name="connsiteX235" fmla="*/ 323153 w 1943056"/>
              <a:gd name="connsiteY235" fmla="*/ 743107 h 1942479"/>
              <a:gd name="connsiteX236" fmla="*/ 354685 w 1943056"/>
              <a:gd name="connsiteY236" fmla="*/ 717314 h 1942479"/>
              <a:gd name="connsiteX237" fmla="*/ 364357 w 1943056"/>
              <a:gd name="connsiteY237" fmla="*/ 717314 h 1942479"/>
              <a:gd name="connsiteX238" fmla="*/ 366002 w 1943056"/>
              <a:gd name="connsiteY238" fmla="*/ 690070 h 1942479"/>
              <a:gd name="connsiteX239" fmla="*/ 906138 w 1943056"/>
              <a:gd name="connsiteY239" fmla="*/ 140777 h 1942479"/>
              <a:gd name="connsiteX240" fmla="*/ 1038005 w 1943056"/>
              <a:gd name="connsiteY240" fmla="*/ 140777 h 1942479"/>
              <a:gd name="connsiteX241" fmla="*/ 1134889 w 1943056"/>
              <a:gd name="connsiteY241" fmla="*/ 68073 h 1942479"/>
              <a:gd name="connsiteX242" fmla="*/ 1180027 w 1943056"/>
              <a:gd name="connsiteY242" fmla="*/ 74521 h 1942479"/>
              <a:gd name="connsiteX243" fmla="*/ 1256020 w 1943056"/>
              <a:gd name="connsiteY243" fmla="*/ 175887 h 1942479"/>
              <a:gd name="connsiteX244" fmla="*/ 1277267 w 1943056"/>
              <a:gd name="connsiteY244" fmla="*/ 188461 h 1942479"/>
              <a:gd name="connsiteX245" fmla="*/ 1313731 w 1943056"/>
              <a:gd name="connsiteY245" fmla="*/ 161089 h 1942479"/>
              <a:gd name="connsiteX246" fmla="*/ 1331657 w 1943056"/>
              <a:gd name="connsiteY246" fmla="*/ 35670 h 1942479"/>
              <a:gd name="connsiteX247" fmla="*/ 1331657 w 1943056"/>
              <a:gd name="connsiteY247" fmla="*/ 35662 h 1942479"/>
              <a:gd name="connsiteX248" fmla="*/ 1368154 w 1943056"/>
              <a:gd name="connsiteY248" fmla="*/ 8330 h 1942479"/>
              <a:gd name="connsiteX249" fmla="*/ 425217 w 1943056"/>
              <a:gd name="connsiteY249" fmla="*/ 0 h 1942479"/>
              <a:gd name="connsiteX250" fmla="*/ 491148 w 1943056"/>
              <a:gd name="connsiteY250" fmla="*/ 257923 h 1942479"/>
              <a:gd name="connsiteX251" fmla="*/ 428674 w 1943056"/>
              <a:gd name="connsiteY251" fmla="*/ 273892 h 1942479"/>
              <a:gd name="connsiteX252" fmla="*/ 362744 w 1943056"/>
              <a:gd name="connsiteY252" fmla="*/ 15969 h 194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1943056" h="1942479">
                <a:moveTo>
                  <a:pt x="846782" y="1781273"/>
                </a:moveTo>
                <a:lnTo>
                  <a:pt x="846782" y="1813514"/>
                </a:lnTo>
                <a:cubicBezTo>
                  <a:pt x="846782" y="1849128"/>
                  <a:pt x="875651" y="1877996"/>
                  <a:pt x="911265" y="1877996"/>
                </a:cubicBezTo>
                <a:lnTo>
                  <a:pt x="1040229" y="1877996"/>
                </a:lnTo>
                <a:cubicBezTo>
                  <a:pt x="1075843" y="1877996"/>
                  <a:pt x="1104712" y="1849128"/>
                  <a:pt x="1104712" y="1813514"/>
                </a:cubicBezTo>
                <a:lnTo>
                  <a:pt x="1104712" y="1781273"/>
                </a:lnTo>
                <a:close/>
                <a:moveTo>
                  <a:pt x="846782" y="1652308"/>
                </a:moveTo>
                <a:lnTo>
                  <a:pt x="846782" y="1716790"/>
                </a:lnTo>
                <a:lnTo>
                  <a:pt x="1104712" y="1716790"/>
                </a:lnTo>
                <a:lnTo>
                  <a:pt x="1104712" y="1652308"/>
                </a:lnTo>
                <a:close/>
                <a:moveTo>
                  <a:pt x="1394883" y="1458861"/>
                </a:moveTo>
                <a:lnTo>
                  <a:pt x="1459365" y="1458861"/>
                </a:lnTo>
                <a:lnTo>
                  <a:pt x="1459365" y="1684549"/>
                </a:lnTo>
                <a:lnTo>
                  <a:pt x="1394883" y="1684549"/>
                </a:lnTo>
                <a:close/>
                <a:moveTo>
                  <a:pt x="943506" y="1426621"/>
                </a:moveTo>
                <a:lnTo>
                  <a:pt x="1007988" y="1426621"/>
                </a:lnTo>
                <a:lnTo>
                  <a:pt x="1007988" y="1523344"/>
                </a:lnTo>
                <a:lnTo>
                  <a:pt x="943506" y="1523344"/>
                </a:lnTo>
                <a:close/>
                <a:moveTo>
                  <a:pt x="1576733" y="1369626"/>
                </a:moveTo>
                <a:lnTo>
                  <a:pt x="1770189" y="1530808"/>
                </a:lnTo>
                <a:lnTo>
                  <a:pt x="1728914" y="1580349"/>
                </a:lnTo>
                <a:lnTo>
                  <a:pt x="1535457" y="1419167"/>
                </a:lnTo>
                <a:close/>
                <a:moveTo>
                  <a:pt x="1588330" y="1200932"/>
                </a:moveTo>
                <a:lnTo>
                  <a:pt x="1814018" y="1200932"/>
                </a:lnTo>
                <a:lnTo>
                  <a:pt x="1814018" y="1265414"/>
                </a:lnTo>
                <a:lnTo>
                  <a:pt x="1588330" y="1265414"/>
                </a:lnTo>
                <a:close/>
                <a:moveTo>
                  <a:pt x="419135" y="1007484"/>
                </a:moveTo>
                <a:cubicBezTo>
                  <a:pt x="364728" y="1007371"/>
                  <a:pt x="316118" y="1041470"/>
                  <a:pt x="297702" y="1092666"/>
                </a:cubicBezTo>
                <a:cubicBezTo>
                  <a:pt x="273627" y="1159585"/>
                  <a:pt x="308361" y="1233350"/>
                  <a:pt x="375281" y="1257425"/>
                </a:cubicBezTo>
                <a:cubicBezTo>
                  <a:pt x="442200" y="1281499"/>
                  <a:pt x="515965" y="1246766"/>
                  <a:pt x="540040" y="1179846"/>
                </a:cubicBezTo>
                <a:cubicBezTo>
                  <a:pt x="490498" y="1129730"/>
                  <a:pt x="450006" y="1071415"/>
                  <a:pt x="420360" y="1007484"/>
                </a:cubicBezTo>
                <a:cubicBezTo>
                  <a:pt x="419941" y="1007484"/>
                  <a:pt x="419554" y="1007484"/>
                  <a:pt x="419135" y="1007484"/>
                </a:cubicBezTo>
                <a:close/>
                <a:moveTo>
                  <a:pt x="369580" y="835445"/>
                </a:moveTo>
                <a:lnTo>
                  <a:pt x="363938" y="862270"/>
                </a:lnTo>
                <a:cubicBezTo>
                  <a:pt x="362184" y="870617"/>
                  <a:pt x="358789" y="878529"/>
                  <a:pt x="353956" y="885555"/>
                </a:cubicBezTo>
                <a:cubicBezTo>
                  <a:pt x="333767" y="914894"/>
                  <a:pt x="293617" y="922310"/>
                  <a:pt x="264281" y="902120"/>
                </a:cubicBezTo>
                <a:lnTo>
                  <a:pt x="197251" y="855951"/>
                </a:lnTo>
                <a:lnTo>
                  <a:pt x="138508" y="914565"/>
                </a:lnTo>
                <a:lnTo>
                  <a:pt x="184677" y="981691"/>
                </a:lnTo>
                <a:cubicBezTo>
                  <a:pt x="189453" y="988662"/>
                  <a:pt x="192812" y="996500"/>
                  <a:pt x="194564" y="1004766"/>
                </a:cubicBezTo>
                <a:cubicBezTo>
                  <a:pt x="201951" y="1039603"/>
                  <a:pt x="179697" y="1073833"/>
                  <a:pt x="144859" y="1081220"/>
                </a:cubicBezTo>
                <a:lnTo>
                  <a:pt x="64482" y="1098147"/>
                </a:lnTo>
                <a:lnTo>
                  <a:pt x="64482" y="1174752"/>
                </a:lnTo>
                <a:lnTo>
                  <a:pt x="144859" y="1191678"/>
                </a:lnTo>
                <a:cubicBezTo>
                  <a:pt x="153226" y="1193439"/>
                  <a:pt x="161158" y="1196850"/>
                  <a:pt x="168196" y="1201705"/>
                </a:cubicBezTo>
                <a:cubicBezTo>
                  <a:pt x="197507" y="1221930"/>
                  <a:pt x="204871" y="1262090"/>
                  <a:pt x="184645" y="1291400"/>
                </a:cubicBezTo>
                <a:lnTo>
                  <a:pt x="138508" y="1358333"/>
                </a:lnTo>
                <a:lnTo>
                  <a:pt x="197251" y="1416947"/>
                </a:lnTo>
                <a:lnTo>
                  <a:pt x="264248" y="1370907"/>
                </a:lnTo>
                <a:cubicBezTo>
                  <a:pt x="271280" y="1366061"/>
                  <a:pt x="279202" y="1362660"/>
                  <a:pt x="287559" y="1360903"/>
                </a:cubicBezTo>
                <a:cubicBezTo>
                  <a:pt x="322408" y="1353568"/>
                  <a:pt x="356603" y="1375875"/>
                  <a:pt x="363938" y="1410725"/>
                </a:cubicBezTo>
                <a:lnTo>
                  <a:pt x="380833" y="1491102"/>
                </a:lnTo>
                <a:lnTo>
                  <a:pt x="457470" y="1491102"/>
                </a:lnTo>
                <a:lnTo>
                  <a:pt x="474364" y="1410596"/>
                </a:lnTo>
                <a:cubicBezTo>
                  <a:pt x="476121" y="1402239"/>
                  <a:pt x="479523" y="1394317"/>
                  <a:pt x="484369" y="1387286"/>
                </a:cubicBezTo>
                <a:cubicBezTo>
                  <a:pt x="504577" y="1357962"/>
                  <a:pt x="544731" y="1350569"/>
                  <a:pt x="574054" y="1370778"/>
                </a:cubicBezTo>
                <a:lnTo>
                  <a:pt x="641019" y="1416947"/>
                </a:lnTo>
                <a:lnTo>
                  <a:pt x="710176" y="1347919"/>
                </a:lnTo>
                <a:cubicBezTo>
                  <a:pt x="698605" y="1313789"/>
                  <a:pt x="675675" y="1284665"/>
                  <a:pt x="645210" y="1265414"/>
                </a:cubicBezTo>
                <a:cubicBezTo>
                  <a:pt x="626111" y="1253072"/>
                  <a:pt x="607714" y="1239672"/>
                  <a:pt x="590110" y="1225274"/>
                </a:cubicBezTo>
                <a:cubicBezTo>
                  <a:pt x="560716" y="1282479"/>
                  <a:pt x="504813" y="1321336"/>
                  <a:pt x="440949" y="1328948"/>
                </a:cubicBezTo>
                <a:cubicBezTo>
                  <a:pt x="334863" y="1341597"/>
                  <a:pt x="238610" y="1265849"/>
                  <a:pt x="225962" y="1159763"/>
                </a:cubicBezTo>
                <a:cubicBezTo>
                  <a:pt x="213314" y="1053676"/>
                  <a:pt x="289061" y="957423"/>
                  <a:pt x="395148" y="944775"/>
                </a:cubicBezTo>
                <a:cubicBezTo>
                  <a:pt x="383302" y="909191"/>
                  <a:pt x="374745" y="872594"/>
                  <a:pt x="369580" y="835445"/>
                </a:cubicBezTo>
                <a:close/>
                <a:moveTo>
                  <a:pt x="290864" y="492589"/>
                </a:moveTo>
                <a:lnTo>
                  <a:pt x="306496" y="555116"/>
                </a:lnTo>
                <a:lnTo>
                  <a:pt x="48571" y="619596"/>
                </a:lnTo>
                <a:lnTo>
                  <a:pt x="32940" y="557070"/>
                </a:lnTo>
                <a:close/>
                <a:moveTo>
                  <a:pt x="1386372" y="371172"/>
                </a:moveTo>
                <a:cubicBezTo>
                  <a:pt x="1279534" y="371172"/>
                  <a:pt x="1192924" y="457781"/>
                  <a:pt x="1192924" y="564620"/>
                </a:cubicBezTo>
                <a:cubicBezTo>
                  <a:pt x="1192924" y="671458"/>
                  <a:pt x="1279534" y="758067"/>
                  <a:pt x="1386372" y="758067"/>
                </a:cubicBezTo>
                <a:cubicBezTo>
                  <a:pt x="1493158" y="757941"/>
                  <a:pt x="1579693" y="671406"/>
                  <a:pt x="1579819" y="564620"/>
                </a:cubicBezTo>
                <a:cubicBezTo>
                  <a:pt x="1579819" y="457781"/>
                  <a:pt x="1493210" y="371172"/>
                  <a:pt x="1386372" y="371172"/>
                </a:cubicBezTo>
                <a:close/>
                <a:moveTo>
                  <a:pt x="734939" y="367626"/>
                </a:moveTo>
                <a:lnTo>
                  <a:pt x="769404" y="422178"/>
                </a:lnTo>
                <a:cubicBezTo>
                  <a:pt x="699335" y="466284"/>
                  <a:pt x="645260" y="531707"/>
                  <a:pt x="615134" y="608828"/>
                </a:cubicBezTo>
                <a:cubicBezTo>
                  <a:pt x="537380" y="807857"/>
                  <a:pt x="635697" y="1032230"/>
                  <a:pt x="834725" y="1109980"/>
                </a:cubicBezTo>
                <a:cubicBezTo>
                  <a:pt x="939167" y="1149988"/>
                  <a:pt x="1008092" y="1250293"/>
                  <a:pt x="1007989" y="1362138"/>
                </a:cubicBezTo>
                <a:lnTo>
                  <a:pt x="943507" y="1362138"/>
                </a:lnTo>
                <a:cubicBezTo>
                  <a:pt x="943487" y="1276892"/>
                  <a:pt x="890921" y="1200478"/>
                  <a:pt x="811318" y="1169981"/>
                </a:cubicBezTo>
                <a:cubicBezTo>
                  <a:pt x="721388" y="1134857"/>
                  <a:pt x="645086" y="1071819"/>
                  <a:pt x="593625" y="990130"/>
                </a:cubicBezTo>
                <a:cubicBezTo>
                  <a:pt x="460746" y="779208"/>
                  <a:pt x="524016" y="500504"/>
                  <a:pt x="734939" y="367626"/>
                </a:cubicBezTo>
                <a:close/>
                <a:moveTo>
                  <a:pt x="1386372" y="306690"/>
                </a:moveTo>
                <a:cubicBezTo>
                  <a:pt x="1528756" y="306851"/>
                  <a:pt x="1644140" y="422235"/>
                  <a:pt x="1644302" y="564620"/>
                </a:cubicBezTo>
                <a:cubicBezTo>
                  <a:pt x="1644302" y="707071"/>
                  <a:pt x="1528823" y="822550"/>
                  <a:pt x="1386372" y="822550"/>
                </a:cubicBezTo>
                <a:cubicBezTo>
                  <a:pt x="1243921" y="822550"/>
                  <a:pt x="1128442" y="707071"/>
                  <a:pt x="1128442" y="564620"/>
                </a:cubicBezTo>
                <a:cubicBezTo>
                  <a:pt x="1128442" y="422168"/>
                  <a:pt x="1243921" y="306690"/>
                  <a:pt x="1386372" y="306690"/>
                </a:cubicBezTo>
                <a:close/>
                <a:moveTo>
                  <a:pt x="123953" y="175258"/>
                </a:moveTo>
                <a:lnTo>
                  <a:pt x="349632" y="336460"/>
                </a:lnTo>
                <a:lnTo>
                  <a:pt x="312171" y="388905"/>
                </a:lnTo>
                <a:lnTo>
                  <a:pt x="86491" y="227703"/>
                </a:lnTo>
                <a:close/>
                <a:moveTo>
                  <a:pt x="1390981" y="76746"/>
                </a:moveTo>
                <a:lnTo>
                  <a:pt x="1377633" y="170245"/>
                </a:lnTo>
                <a:cubicBezTo>
                  <a:pt x="1374003" y="195638"/>
                  <a:pt x="1360433" y="218549"/>
                  <a:pt x="1339908" y="233938"/>
                </a:cubicBezTo>
                <a:cubicBezTo>
                  <a:pt x="1297169" y="265985"/>
                  <a:pt x="1236546" y="257316"/>
                  <a:pt x="1204498" y="214577"/>
                </a:cubicBezTo>
                <a:lnTo>
                  <a:pt x="1147818" y="139036"/>
                </a:lnTo>
                <a:lnTo>
                  <a:pt x="1044646" y="216415"/>
                </a:lnTo>
                <a:lnTo>
                  <a:pt x="1101488" y="292020"/>
                </a:lnTo>
                <a:cubicBezTo>
                  <a:pt x="1116889" y="312551"/>
                  <a:pt x="1123502" y="338364"/>
                  <a:pt x="1119862" y="363773"/>
                </a:cubicBezTo>
                <a:cubicBezTo>
                  <a:pt x="1112292" y="416652"/>
                  <a:pt x="1063285" y="453381"/>
                  <a:pt x="1010406" y="445811"/>
                </a:cubicBezTo>
                <a:lnTo>
                  <a:pt x="916907" y="432463"/>
                </a:lnTo>
                <a:lnTo>
                  <a:pt x="898658" y="560106"/>
                </a:lnTo>
                <a:lnTo>
                  <a:pt x="992158" y="573453"/>
                </a:lnTo>
                <a:cubicBezTo>
                  <a:pt x="1017551" y="577084"/>
                  <a:pt x="1040461" y="590654"/>
                  <a:pt x="1055850" y="611179"/>
                </a:cubicBezTo>
                <a:cubicBezTo>
                  <a:pt x="1087898" y="653918"/>
                  <a:pt x="1079228" y="714541"/>
                  <a:pt x="1036489" y="746589"/>
                </a:cubicBezTo>
                <a:lnTo>
                  <a:pt x="960980" y="803269"/>
                </a:lnTo>
                <a:lnTo>
                  <a:pt x="1038359" y="906440"/>
                </a:lnTo>
                <a:lnTo>
                  <a:pt x="1113900" y="849793"/>
                </a:lnTo>
                <a:cubicBezTo>
                  <a:pt x="1134432" y="834391"/>
                  <a:pt x="1160244" y="827778"/>
                  <a:pt x="1185653" y="831418"/>
                </a:cubicBezTo>
                <a:cubicBezTo>
                  <a:pt x="1238532" y="838989"/>
                  <a:pt x="1275261" y="887995"/>
                  <a:pt x="1267691" y="940874"/>
                </a:cubicBezTo>
                <a:lnTo>
                  <a:pt x="1254343" y="1034373"/>
                </a:lnTo>
                <a:lnTo>
                  <a:pt x="1381986" y="1052622"/>
                </a:lnTo>
                <a:lnTo>
                  <a:pt x="1395044" y="958994"/>
                </a:lnTo>
                <a:cubicBezTo>
                  <a:pt x="1398674" y="933600"/>
                  <a:pt x="1412244" y="910690"/>
                  <a:pt x="1432769" y="895301"/>
                </a:cubicBezTo>
                <a:cubicBezTo>
                  <a:pt x="1475508" y="863253"/>
                  <a:pt x="1536131" y="871923"/>
                  <a:pt x="1568179" y="914662"/>
                </a:cubicBezTo>
                <a:lnTo>
                  <a:pt x="1624859" y="990171"/>
                </a:lnTo>
                <a:lnTo>
                  <a:pt x="1728031" y="912792"/>
                </a:lnTo>
                <a:lnTo>
                  <a:pt x="1671383" y="837251"/>
                </a:lnTo>
                <a:cubicBezTo>
                  <a:pt x="1655991" y="816729"/>
                  <a:pt x="1649381" y="790933"/>
                  <a:pt x="1653005" y="765540"/>
                </a:cubicBezTo>
                <a:cubicBezTo>
                  <a:pt x="1660559" y="712658"/>
                  <a:pt x="1709550" y="675909"/>
                  <a:pt x="1762432" y="683460"/>
                </a:cubicBezTo>
                <a:lnTo>
                  <a:pt x="1855931" y="696808"/>
                </a:lnTo>
                <a:lnTo>
                  <a:pt x="1874277" y="569198"/>
                </a:lnTo>
                <a:lnTo>
                  <a:pt x="1780777" y="555850"/>
                </a:lnTo>
                <a:cubicBezTo>
                  <a:pt x="1755384" y="552219"/>
                  <a:pt x="1732473" y="538649"/>
                  <a:pt x="1717085" y="518124"/>
                </a:cubicBezTo>
                <a:cubicBezTo>
                  <a:pt x="1685037" y="475385"/>
                  <a:pt x="1693707" y="414762"/>
                  <a:pt x="1736446" y="382715"/>
                </a:cubicBezTo>
                <a:lnTo>
                  <a:pt x="1811987" y="326035"/>
                </a:lnTo>
                <a:lnTo>
                  <a:pt x="1734608" y="222863"/>
                </a:lnTo>
                <a:lnTo>
                  <a:pt x="1659067" y="279511"/>
                </a:lnTo>
                <a:cubicBezTo>
                  <a:pt x="1638545" y="294902"/>
                  <a:pt x="1612749" y="301512"/>
                  <a:pt x="1587356" y="297888"/>
                </a:cubicBezTo>
                <a:cubicBezTo>
                  <a:pt x="1534474" y="290334"/>
                  <a:pt x="1497725" y="241344"/>
                  <a:pt x="1505276" y="188461"/>
                </a:cubicBezTo>
                <a:lnTo>
                  <a:pt x="1518624" y="94962"/>
                </a:lnTo>
                <a:close/>
                <a:moveTo>
                  <a:pt x="1368154" y="8330"/>
                </a:moveTo>
                <a:lnTo>
                  <a:pt x="1559538" y="35670"/>
                </a:lnTo>
                <a:cubicBezTo>
                  <a:pt x="1559551" y="35672"/>
                  <a:pt x="1559561" y="35674"/>
                  <a:pt x="1559574" y="35676"/>
                </a:cubicBezTo>
                <a:cubicBezTo>
                  <a:pt x="1577200" y="38204"/>
                  <a:pt x="1589439" y="54542"/>
                  <a:pt x="1586911" y="72167"/>
                </a:cubicBezTo>
                <a:lnTo>
                  <a:pt x="1568985" y="197586"/>
                </a:lnTo>
                <a:cubicBezTo>
                  <a:pt x="1567737" y="206142"/>
                  <a:pt x="1569978" y="214841"/>
                  <a:pt x="1575204" y="221729"/>
                </a:cubicBezTo>
                <a:cubicBezTo>
                  <a:pt x="1585966" y="235915"/>
                  <a:pt x="1606191" y="238688"/>
                  <a:pt x="1620377" y="227925"/>
                </a:cubicBezTo>
                <a:lnTo>
                  <a:pt x="1721711" y="151900"/>
                </a:lnTo>
                <a:cubicBezTo>
                  <a:pt x="1735955" y="141216"/>
                  <a:pt x="1756164" y="144103"/>
                  <a:pt x="1766849" y="158348"/>
                </a:cubicBezTo>
                <a:lnTo>
                  <a:pt x="1882917" y="313106"/>
                </a:lnTo>
                <a:cubicBezTo>
                  <a:pt x="1893602" y="327350"/>
                  <a:pt x="1890713" y="347559"/>
                  <a:pt x="1876469" y="358244"/>
                </a:cubicBezTo>
                <a:lnTo>
                  <a:pt x="1775103" y="434268"/>
                </a:lnTo>
                <a:cubicBezTo>
                  <a:pt x="1768258" y="439401"/>
                  <a:pt x="1763734" y="447045"/>
                  <a:pt x="1762529" y="455515"/>
                </a:cubicBezTo>
                <a:cubicBezTo>
                  <a:pt x="1760017" y="473141"/>
                  <a:pt x="1772272" y="489468"/>
                  <a:pt x="1789901" y="491980"/>
                </a:cubicBezTo>
                <a:lnTo>
                  <a:pt x="1915320" y="509874"/>
                </a:lnTo>
                <a:lnTo>
                  <a:pt x="1915384" y="509938"/>
                </a:lnTo>
                <a:cubicBezTo>
                  <a:pt x="1915387" y="509938"/>
                  <a:pt x="1915391" y="509938"/>
                  <a:pt x="1915394" y="509938"/>
                </a:cubicBezTo>
                <a:cubicBezTo>
                  <a:pt x="1933017" y="512469"/>
                  <a:pt x="1945256" y="528809"/>
                  <a:pt x="1942725" y="546435"/>
                </a:cubicBezTo>
                <a:lnTo>
                  <a:pt x="1915384" y="737948"/>
                </a:lnTo>
                <a:cubicBezTo>
                  <a:pt x="1915384" y="737951"/>
                  <a:pt x="1915384" y="737954"/>
                  <a:pt x="1915384" y="737958"/>
                </a:cubicBezTo>
                <a:cubicBezTo>
                  <a:pt x="1912853" y="755581"/>
                  <a:pt x="1896513" y="767819"/>
                  <a:pt x="1878887" y="765289"/>
                </a:cubicBezTo>
                <a:lnTo>
                  <a:pt x="1753469" y="747395"/>
                </a:lnTo>
                <a:cubicBezTo>
                  <a:pt x="1740543" y="745302"/>
                  <a:pt x="1727679" y="751476"/>
                  <a:pt x="1721228" y="762870"/>
                </a:cubicBezTo>
                <a:cubicBezTo>
                  <a:pt x="1714418" y="774055"/>
                  <a:pt x="1715186" y="788273"/>
                  <a:pt x="1723162" y="798658"/>
                </a:cubicBezTo>
                <a:lnTo>
                  <a:pt x="1799155" y="899992"/>
                </a:lnTo>
                <a:cubicBezTo>
                  <a:pt x="1809839" y="914236"/>
                  <a:pt x="1806951" y="934445"/>
                  <a:pt x="1792706" y="945130"/>
                </a:cubicBezTo>
                <a:lnTo>
                  <a:pt x="1637949" y="1061198"/>
                </a:lnTo>
                <a:cubicBezTo>
                  <a:pt x="1623704" y="1071883"/>
                  <a:pt x="1603496" y="1068994"/>
                  <a:pt x="1592811" y="1054750"/>
                </a:cubicBezTo>
                <a:lnTo>
                  <a:pt x="1516786" y="953416"/>
                </a:lnTo>
                <a:cubicBezTo>
                  <a:pt x="1511653" y="946571"/>
                  <a:pt x="1504009" y="942048"/>
                  <a:pt x="1495539" y="940842"/>
                </a:cubicBezTo>
                <a:cubicBezTo>
                  <a:pt x="1477913" y="938330"/>
                  <a:pt x="1461586" y="950585"/>
                  <a:pt x="1459075" y="968215"/>
                </a:cubicBezTo>
                <a:lnTo>
                  <a:pt x="1441181" y="1093633"/>
                </a:lnTo>
                <a:cubicBezTo>
                  <a:pt x="1438901" y="1109521"/>
                  <a:pt x="1425283" y="1121315"/>
                  <a:pt x="1409230" y="1121296"/>
                </a:cubicBezTo>
                <a:cubicBezTo>
                  <a:pt x="1407711" y="1121296"/>
                  <a:pt x="1406193" y="1121199"/>
                  <a:pt x="1404684" y="1121006"/>
                </a:cubicBezTo>
                <a:lnTo>
                  <a:pt x="1213171" y="1093633"/>
                </a:lnTo>
                <a:cubicBezTo>
                  <a:pt x="1213168" y="1093633"/>
                  <a:pt x="1213165" y="1093633"/>
                  <a:pt x="1213161" y="1093633"/>
                </a:cubicBezTo>
                <a:cubicBezTo>
                  <a:pt x="1195538" y="1091102"/>
                  <a:pt x="1183300" y="1074762"/>
                  <a:pt x="1185830" y="1057136"/>
                </a:cubicBezTo>
                <a:lnTo>
                  <a:pt x="1203724" y="931718"/>
                </a:lnTo>
                <a:cubicBezTo>
                  <a:pt x="1204917" y="923280"/>
                  <a:pt x="1202725" y="914714"/>
                  <a:pt x="1197621" y="907891"/>
                </a:cubicBezTo>
                <a:cubicBezTo>
                  <a:pt x="1186959" y="893631"/>
                  <a:pt x="1166753" y="890716"/>
                  <a:pt x="1152493" y="901379"/>
                </a:cubicBezTo>
                <a:lnTo>
                  <a:pt x="1051127" y="977371"/>
                </a:lnTo>
                <a:cubicBezTo>
                  <a:pt x="1036883" y="988056"/>
                  <a:pt x="1016674" y="985167"/>
                  <a:pt x="1005989" y="970923"/>
                </a:cubicBezTo>
                <a:lnTo>
                  <a:pt x="889921" y="816165"/>
                </a:lnTo>
                <a:cubicBezTo>
                  <a:pt x="879236" y="801921"/>
                  <a:pt x="882125" y="781712"/>
                  <a:pt x="896369" y="771027"/>
                </a:cubicBezTo>
                <a:lnTo>
                  <a:pt x="997703" y="695035"/>
                </a:lnTo>
                <a:cubicBezTo>
                  <a:pt x="1004548" y="689902"/>
                  <a:pt x="1009071" y="682258"/>
                  <a:pt x="1010277" y="673788"/>
                </a:cubicBezTo>
                <a:cubicBezTo>
                  <a:pt x="1012789" y="656162"/>
                  <a:pt x="1000534" y="639835"/>
                  <a:pt x="982904" y="637323"/>
                </a:cubicBezTo>
                <a:lnTo>
                  <a:pt x="857486" y="619397"/>
                </a:lnTo>
                <a:cubicBezTo>
                  <a:pt x="857473" y="619394"/>
                  <a:pt x="857464" y="619394"/>
                  <a:pt x="857451" y="619391"/>
                </a:cubicBezTo>
                <a:cubicBezTo>
                  <a:pt x="839825" y="616863"/>
                  <a:pt x="827586" y="600526"/>
                  <a:pt x="830113" y="582900"/>
                </a:cubicBezTo>
                <a:lnTo>
                  <a:pt x="857486" y="391420"/>
                </a:lnTo>
                <a:cubicBezTo>
                  <a:pt x="857489" y="391407"/>
                  <a:pt x="857489" y="391397"/>
                  <a:pt x="857493" y="391384"/>
                </a:cubicBezTo>
                <a:cubicBezTo>
                  <a:pt x="860020" y="373758"/>
                  <a:pt x="876357" y="361519"/>
                  <a:pt x="893983" y="364047"/>
                </a:cubicBezTo>
                <a:lnTo>
                  <a:pt x="1019402" y="381973"/>
                </a:lnTo>
                <a:cubicBezTo>
                  <a:pt x="1032301" y="383843"/>
                  <a:pt x="1045049" y="377711"/>
                  <a:pt x="1051643" y="366465"/>
                </a:cubicBezTo>
                <a:cubicBezTo>
                  <a:pt x="1058491" y="355290"/>
                  <a:pt x="1057720" y="341049"/>
                  <a:pt x="1049708" y="330677"/>
                </a:cubicBezTo>
                <a:lnTo>
                  <a:pt x="973716" y="229343"/>
                </a:lnTo>
                <a:cubicBezTo>
                  <a:pt x="968576" y="222511"/>
                  <a:pt x="966362" y="213917"/>
                  <a:pt x="967558" y="205453"/>
                </a:cubicBezTo>
                <a:cubicBezTo>
                  <a:pt x="967916" y="204260"/>
                  <a:pt x="968335" y="203087"/>
                  <a:pt x="968815" y="201938"/>
                </a:cubicBezTo>
                <a:cubicBezTo>
                  <a:pt x="781561" y="202606"/>
                  <a:pt x="607691" y="299107"/>
                  <a:pt x="508066" y="457656"/>
                </a:cubicBezTo>
                <a:cubicBezTo>
                  <a:pt x="347498" y="713196"/>
                  <a:pt x="424490" y="1050520"/>
                  <a:pt x="680031" y="1211087"/>
                </a:cubicBezTo>
                <a:cubicBezTo>
                  <a:pt x="742982" y="1250277"/>
                  <a:pt x="781555" y="1318908"/>
                  <a:pt x="782300" y="1393057"/>
                </a:cubicBezTo>
                <a:lnTo>
                  <a:pt x="782300" y="1523343"/>
                </a:lnTo>
                <a:cubicBezTo>
                  <a:pt x="782300" y="1558957"/>
                  <a:pt x="811169" y="1587826"/>
                  <a:pt x="846782" y="1587826"/>
                </a:cubicBezTo>
                <a:lnTo>
                  <a:pt x="1104712" y="1587826"/>
                </a:lnTo>
                <a:cubicBezTo>
                  <a:pt x="1140325" y="1587826"/>
                  <a:pt x="1169194" y="1558957"/>
                  <a:pt x="1169194" y="1523343"/>
                </a:cubicBezTo>
                <a:lnTo>
                  <a:pt x="1169194" y="1395733"/>
                </a:lnTo>
                <a:cubicBezTo>
                  <a:pt x="1169997" y="1320153"/>
                  <a:pt x="1209186" y="1250170"/>
                  <a:pt x="1273204" y="1209991"/>
                </a:cubicBezTo>
                <a:cubicBezTo>
                  <a:pt x="1297166" y="1194470"/>
                  <a:pt x="1319876" y="1177105"/>
                  <a:pt x="1341136" y="1158051"/>
                </a:cubicBezTo>
                <a:lnTo>
                  <a:pt x="1384146" y="1206090"/>
                </a:lnTo>
                <a:cubicBezTo>
                  <a:pt x="1360381" y="1227363"/>
                  <a:pt x="1335007" y="1246766"/>
                  <a:pt x="1308250" y="1264124"/>
                </a:cubicBezTo>
                <a:cubicBezTo>
                  <a:pt x="1262639" y="1292467"/>
                  <a:pt x="1234550" y="1342042"/>
                  <a:pt x="1233676" y="1395733"/>
                </a:cubicBezTo>
                <a:lnTo>
                  <a:pt x="1233676" y="1523343"/>
                </a:lnTo>
                <a:cubicBezTo>
                  <a:pt x="1233531" y="1569210"/>
                  <a:pt x="1208960" y="1611523"/>
                  <a:pt x="1169194" y="1634382"/>
                </a:cubicBezTo>
                <a:lnTo>
                  <a:pt x="1169194" y="1813514"/>
                </a:lnTo>
                <a:cubicBezTo>
                  <a:pt x="1169194" y="1884738"/>
                  <a:pt x="1111453" y="1942479"/>
                  <a:pt x="1040229" y="1942479"/>
                </a:cubicBezTo>
                <a:lnTo>
                  <a:pt x="911265" y="1942479"/>
                </a:lnTo>
                <a:cubicBezTo>
                  <a:pt x="840041" y="1942479"/>
                  <a:pt x="782300" y="1884738"/>
                  <a:pt x="782300" y="1813514"/>
                </a:cubicBezTo>
                <a:lnTo>
                  <a:pt x="782300" y="1634382"/>
                </a:lnTo>
                <a:cubicBezTo>
                  <a:pt x="742533" y="1611523"/>
                  <a:pt x="717962" y="1569210"/>
                  <a:pt x="717817" y="1523343"/>
                </a:cubicBezTo>
                <a:lnTo>
                  <a:pt x="717817" y="1431456"/>
                </a:lnTo>
                <a:lnTo>
                  <a:pt x="667747" y="1481688"/>
                </a:lnTo>
                <a:cubicBezTo>
                  <a:pt x="656746" y="1492676"/>
                  <a:pt x="639475" y="1494246"/>
                  <a:pt x="626672" y="1485428"/>
                </a:cubicBezTo>
                <a:lnTo>
                  <a:pt x="537589" y="1424169"/>
                </a:lnTo>
                <a:lnTo>
                  <a:pt x="515311" y="1530146"/>
                </a:lnTo>
                <a:cubicBezTo>
                  <a:pt x="512167" y="1545071"/>
                  <a:pt x="499000" y="1555752"/>
                  <a:pt x="483746" y="1555746"/>
                </a:cubicBezTo>
                <a:lnTo>
                  <a:pt x="354782" y="1555746"/>
                </a:lnTo>
                <a:cubicBezTo>
                  <a:pt x="339483" y="1555720"/>
                  <a:pt x="326309" y="1544942"/>
                  <a:pt x="323250" y="1529953"/>
                </a:cubicBezTo>
                <a:lnTo>
                  <a:pt x="300971" y="1423976"/>
                </a:lnTo>
                <a:lnTo>
                  <a:pt x="211889" y="1485396"/>
                </a:lnTo>
                <a:cubicBezTo>
                  <a:pt x="199079" y="1494233"/>
                  <a:pt x="181785" y="1492659"/>
                  <a:pt x="170781" y="1481656"/>
                </a:cubicBezTo>
                <a:lnTo>
                  <a:pt x="74058" y="1384932"/>
                </a:lnTo>
                <a:cubicBezTo>
                  <a:pt x="63071" y="1373931"/>
                  <a:pt x="61498" y="1356660"/>
                  <a:pt x="70318" y="1343857"/>
                </a:cubicBezTo>
                <a:lnTo>
                  <a:pt x="131576" y="1254774"/>
                </a:lnTo>
                <a:lnTo>
                  <a:pt x="25599" y="1232496"/>
                </a:lnTo>
                <a:cubicBezTo>
                  <a:pt x="10674" y="1229352"/>
                  <a:pt x="-7" y="1216185"/>
                  <a:pt x="0" y="1200931"/>
                </a:cubicBezTo>
                <a:lnTo>
                  <a:pt x="0" y="1071967"/>
                </a:lnTo>
                <a:cubicBezTo>
                  <a:pt x="-33" y="1056794"/>
                  <a:pt x="10519" y="1043649"/>
                  <a:pt x="25341" y="1040403"/>
                </a:cubicBezTo>
                <a:lnTo>
                  <a:pt x="131318" y="1018124"/>
                </a:lnTo>
                <a:lnTo>
                  <a:pt x="70060" y="929042"/>
                </a:lnTo>
                <a:cubicBezTo>
                  <a:pt x="61240" y="916239"/>
                  <a:pt x="62813" y="898967"/>
                  <a:pt x="73800" y="887966"/>
                </a:cubicBezTo>
                <a:lnTo>
                  <a:pt x="170523" y="791243"/>
                </a:lnTo>
                <a:cubicBezTo>
                  <a:pt x="181527" y="780239"/>
                  <a:pt x="198821" y="778665"/>
                  <a:pt x="211631" y="787503"/>
                </a:cubicBezTo>
                <a:lnTo>
                  <a:pt x="300874" y="849051"/>
                </a:lnTo>
                <a:lnTo>
                  <a:pt x="323153" y="743107"/>
                </a:lnTo>
                <a:cubicBezTo>
                  <a:pt x="326213" y="728118"/>
                  <a:pt x="339386" y="717343"/>
                  <a:pt x="354685" y="717314"/>
                </a:cubicBezTo>
                <a:lnTo>
                  <a:pt x="364357" y="717314"/>
                </a:lnTo>
                <a:cubicBezTo>
                  <a:pt x="364809" y="708254"/>
                  <a:pt x="365131" y="699194"/>
                  <a:pt x="366002" y="690070"/>
                </a:cubicBezTo>
                <a:cubicBezTo>
                  <a:pt x="393984" y="402507"/>
                  <a:pt x="619085" y="173587"/>
                  <a:pt x="906138" y="140777"/>
                </a:cubicBezTo>
                <a:cubicBezTo>
                  <a:pt x="949970" y="136118"/>
                  <a:pt x="994173" y="136118"/>
                  <a:pt x="1038005" y="140777"/>
                </a:cubicBezTo>
                <a:lnTo>
                  <a:pt x="1134889" y="68073"/>
                </a:lnTo>
                <a:cubicBezTo>
                  <a:pt x="1149134" y="57389"/>
                  <a:pt x="1169342" y="60276"/>
                  <a:pt x="1180027" y="74521"/>
                </a:cubicBezTo>
                <a:lnTo>
                  <a:pt x="1256020" y="175887"/>
                </a:lnTo>
                <a:cubicBezTo>
                  <a:pt x="1261152" y="182732"/>
                  <a:pt x="1268797" y="187255"/>
                  <a:pt x="1277267" y="188461"/>
                </a:cubicBezTo>
                <a:cubicBezTo>
                  <a:pt x="1294896" y="190972"/>
                  <a:pt x="1311220" y="178717"/>
                  <a:pt x="1313731" y="161089"/>
                </a:cubicBezTo>
                <a:lnTo>
                  <a:pt x="1331657" y="35670"/>
                </a:lnTo>
                <a:cubicBezTo>
                  <a:pt x="1331657" y="35668"/>
                  <a:pt x="1331657" y="35665"/>
                  <a:pt x="1331657" y="35662"/>
                </a:cubicBezTo>
                <a:cubicBezTo>
                  <a:pt x="1334188" y="18036"/>
                  <a:pt x="1350528" y="5799"/>
                  <a:pt x="1368154" y="8330"/>
                </a:cubicBezTo>
                <a:close/>
                <a:moveTo>
                  <a:pt x="425217" y="0"/>
                </a:moveTo>
                <a:lnTo>
                  <a:pt x="491148" y="257923"/>
                </a:lnTo>
                <a:lnTo>
                  <a:pt x="428674" y="273892"/>
                </a:lnTo>
                <a:lnTo>
                  <a:pt x="362744" y="15969"/>
                </a:lnTo>
                <a:close/>
              </a:path>
            </a:pathLst>
          </a:custGeom>
          <a:solidFill>
            <a:srgbClr val="45E1D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 name="TextBox 53">
            <a:extLst>
              <a:ext uri="{FF2B5EF4-FFF2-40B4-BE49-F238E27FC236}">
                <a16:creationId xmlns:a16="http://schemas.microsoft.com/office/drawing/2014/main" id="{6AA84604-B615-D146-EE92-EE92F085D56A}"/>
              </a:ext>
            </a:extLst>
          </p:cNvPr>
          <p:cNvSpPr txBox="1">
            <a:spLocks/>
          </p:cNvSpPr>
          <p:nvPr/>
        </p:nvSpPr>
        <p:spPr>
          <a:xfrm>
            <a:off x="2513096" y="2321808"/>
            <a:ext cx="3076027" cy="246221"/>
          </a:xfrm>
          <a:prstGeom prst="rect">
            <a:avLst/>
          </a:prstGeom>
        </p:spPr>
        <p:txBody>
          <a:bodyPr vert="horz" wrap="square" lIns="0" tIns="0" rIns="0" bIns="0" rtlCol="0" anchor="ctr">
            <a:spAutoFit/>
          </a:bodyPr>
          <a:lstStyle/>
          <a:p>
            <a:pPr marL="285750" indent="-285750" algn="l">
              <a:buClr>
                <a:srgbClr val="45E1D2"/>
              </a:buClr>
              <a:buFont typeface="Wingdings" panose="05000000000000000000" pitchFamily="2" charset="2"/>
              <a:buChar char="§"/>
            </a:pPr>
            <a:r>
              <a:rPr lang="en-US" sz="1600" dirty="0">
                <a:solidFill>
                  <a:schemeClr val="bg1"/>
                </a:solidFill>
              </a:rPr>
              <a:t>Short </a:t>
            </a:r>
            <a:r>
              <a:rPr lang="en-US" sz="1600" dirty="0">
                <a:solidFill>
                  <a:schemeClr val="bg1"/>
                </a:solidFill>
                <a:latin typeface="Calibri"/>
                <a:cs typeface="Calibri"/>
              </a:rPr>
              <a:t>requests </a:t>
            </a:r>
            <a:r>
              <a:rPr lang="en-US" sz="1600" dirty="0">
                <a:solidFill>
                  <a:schemeClr val="bg1"/>
                </a:solidFill>
              </a:rPr>
              <a:t> </a:t>
            </a:r>
          </a:p>
        </p:txBody>
      </p:sp>
      <p:sp>
        <p:nvSpPr>
          <p:cNvPr id="59" name="TextBox 58">
            <a:extLst>
              <a:ext uri="{FF2B5EF4-FFF2-40B4-BE49-F238E27FC236}">
                <a16:creationId xmlns:a16="http://schemas.microsoft.com/office/drawing/2014/main" id="{5A7BEF1F-DC21-F137-EA89-71EF3BA4C766}"/>
              </a:ext>
            </a:extLst>
          </p:cNvPr>
          <p:cNvSpPr txBox="1">
            <a:spLocks/>
          </p:cNvSpPr>
          <p:nvPr/>
        </p:nvSpPr>
        <p:spPr>
          <a:xfrm>
            <a:off x="6274827" y="2198697"/>
            <a:ext cx="5215002" cy="492443"/>
          </a:xfrm>
          <a:prstGeom prst="rect">
            <a:avLst/>
          </a:prstGeom>
        </p:spPr>
        <p:txBody>
          <a:bodyPr vert="horz" wrap="square" lIns="0" tIns="0" rIns="0" bIns="0" rtlCol="0" anchor="ctr">
            <a:spAutoFit/>
          </a:bodyPr>
          <a:lstStyle/>
          <a:p>
            <a:pPr marL="285750" indent="-285750" algn="l">
              <a:buClr>
                <a:srgbClr val="45E1D2"/>
              </a:buClr>
              <a:buFont typeface="Wingdings" panose="05000000000000000000" pitchFamily="2" charset="2"/>
              <a:buChar char="§"/>
            </a:pPr>
            <a:r>
              <a:rPr lang="en-US" sz="1600" b="1" dirty="0">
                <a:solidFill>
                  <a:schemeClr val="bg1"/>
                </a:solidFill>
              </a:rPr>
              <a:t>Long research projects </a:t>
            </a:r>
          </a:p>
          <a:p>
            <a:pPr marL="285750" indent="-285750" algn="l">
              <a:buClr>
                <a:srgbClr val="45E1D2"/>
              </a:buClr>
              <a:buFont typeface="Wingdings" panose="05000000000000000000" pitchFamily="2" charset="2"/>
              <a:buChar char="§"/>
            </a:pPr>
            <a:r>
              <a:rPr lang="en-US" sz="1600" b="1" dirty="0">
                <a:solidFill>
                  <a:schemeClr val="bg1"/>
                </a:solidFill>
              </a:rPr>
              <a:t>Building out sector-specific teams  </a:t>
            </a:r>
          </a:p>
        </p:txBody>
      </p:sp>
      <p:sp>
        <p:nvSpPr>
          <p:cNvPr id="45" name="Freeform: Shape 44">
            <a:extLst>
              <a:ext uri="{FF2B5EF4-FFF2-40B4-BE49-F238E27FC236}">
                <a16:creationId xmlns:a16="http://schemas.microsoft.com/office/drawing/2014/main" id="{BA147C25-4D0B-61C0-492F-6A2BE5042FE5}"/>
              </a:ext>
            </a:extLst>
          </p:cNvPr>
          <p:cNvSpPr>
            <a:spLocks noChangeAspect="1"/>
          </p:cNvSpPr>
          <p:nvPr/>
        </p:nvSpPr>
        <p:spPr>
          <a:xfrm>
            <a:off x="550993" y="2217543"/>
            <a:ext cx="454750" cy="454750"/>
          </a:xfrm>
          <a:custGeom>
            <a:avLst/>
            <a:gdLst>
              <a:gd name="connsiteX0" fmla="*/ 1313016 w 2626031"/>
              <a:gd name="connsiteY0" fmla="*/ 1094180 h 2626033"/>
              <a:gd name="connsiteX1" fmla="*/ 1356783 w 2626031"/>
              <a:gd name="connsiteY1" fmla="*/ 1137948 h 2626033"/>
              <a:gd name="connsiteX2" fmla="*/ 1356783 w 2626031"/>
              <a:gd name="connsiteY2" fmla="*/ 1269249 h 2626033"/>
              <a:gd name="connsiteX3" fmla="*/ 1488085 w 2626031"/>
              <a:gd name="connsiteY3" fmla="*/ 1269249 h 2626033"/>
              <a:gd name="connsiteX4" fmla="*/ 1531852 w 2626031"/>
              <a:gd name="connsiteY4" fmla="*/ 1313018 h 2626033"/>
              <a:gd name="connsiteX5" fmla="*/ 1488085 w 2626031"/>
              <a:gd name="connsiteY5" fmla="*/ 1356785 h 2626033"/>
              <a:gd name="connsiteX6" fmla="*/ 1356783 w 2626031"/>
              <a:gd name="connsiteY6" fmla="*/ 1356785 h 2626033"/>
              <a:gd name="connsiteX7" fmla="*/ 1356783 w 2626031"/>
              <a:gd name="connsiteY7" fmla="*/ 1488085 h 2626033"/>
              <a:gd name="connsiteX8" fmla="*/ 1313016 w 2626031"/>
              <a:gd name="connsiteY8" fmla="*/ 1531852 h 2626033"/>
              <a:gd name="connsiteX9" fmla="*/ 1269247 w 2626031"/>
              <a:gd name="connsiteY9" fmla="*/ 1488085 h 2626033"/>
              <a:gd name="connsiteX10" fmla="*/ 1269247 w 2626031"/>
              <a:gd name="connsiteY10" fmla="*/ 1356785 h 2626033"/>
              <a:gd name="connsiteX11" fmla="*/ 1137947 w 2626031"/>
              <a:gd name="connsiteY11" fmla="*/ 1356785 h 2626033"/>
              <a:gd name="connsiteX12" fmla="*/ 1094179 w 2626031"/>
              <a:gd name="connsiteY12" fmla="*/ 1313018 h 2626033"/>
              <a:gd name="connsiteX13" fmla="*/ 1137947 w 2626031"/>
              <a:gd name="connsiteY13" fmla="*/ 1269249 h 2626033"/>
              <a:gd name="connsiteX14" fmla="*/ 1269247 w 2626031"/>
              <a:gd name="connsiteY14" fmla="*/ 1269249 h 2626033"/>
              <a:gd name="connsiteX15" fmla="*/ 1269247 w 2626031"/>
              <a:gd name="connsiteY15" fmla="*/ 1137948 h 2626033"/>
              <a:gd name="connsiteX16" fmla="*/ 1313016 w 2626031"/>
              <a:gd name="connsiteY16" fmla="*/ 1094180 h 2626033"/>
              <a:gd name="connsiteX17" fmla="*/ 1313016 w 2626031"/>
              <a:gd name="connsiteY17" fmla="*/ 787810 h 2626033"/>
              <a:gd name="connsiteX18" fmla="*/ 1019568 w 2626031"/>
              <a:gd name="connsiteY18" fmla="*/ 877627 h 2626033"/>
              <a:gd name="connsiteX19" fmla="*/ 975712 w 2626031"/>
              <a:gd name="connsiteY19" fmla="*/ 913827 h 2626033"/>
              <a:gd name="connsiteX20" fmla="*/ 1081356 w 2626031"/>
              <a:gd name="connsiteY20" fmla="*/ 1019471 h 2626033"/>
              <a:gd name="connsiteX21" fmla="*/ 1081356 w 2626031"/>
              <a:gd name="connsiteY21" fmla="*/ 1081357 h 2626033"/>
              <a:gd name="connsiteX22" fmla="*/ 1050413 w 2626031"/>
              <a:gd name="connsiteY22" fmla="*/ 1094181 h 2626033"/>
              <a:gd name="connsiteX23" fmla="*/ 1019469 w 2626031"/>
              <a:gd name="connsiteY23" fmla="*/ 1081357 h 2626033"/>
              <a:gd name="connsiteX24" fmla="*/ 913825 w 2626031"/>
              <a:gd name="connsiteY24" fmla="*/ 975714 h 2626033"/>
              <a:gd name="connsiteX25" fmla="*/ 877626 w 2626031"/>
              <a:gd name="connsiteY25" fmla="*/ 1019569 h 2626033"/>
              <a:gd name="connsiteX26" fmla="*/ 787809 w 2626031"/>
              <a:gd name="connsiteY26" fmla="*/ 1313016 h 2626033"/>
              <a:gd name="connsiteX27" fmla="*/ 877626 w 2626031"/>
              <a:gd name="connsiteY27" fmla="*/ 1606464 h 2626033"/>
              <a:gd name="connsiteX28" fmla="*/ 913826 w 2626031"/>
              <a:gd name="connsiteY28" fmla="*/ 1650320 h 2626033"/>
              <a:gd name="connsiteX29" fmla="*/ 1019469 w 2626031"/>
              <a:gd name="connsiteY29" fmla="*/ 1544677 h 2626033"/>
              <a:gd name="connsiteX30" fmla="*/ 1081356 w 2626031"/>
              <a:gd name="connsiteY30" fmla="*/ 1544677 h 2626033"/>
              <a:gd name="connsiteX31" fmla="*/ 1081356 w 2626031"/>
              <a:gd name="connsiteY31" fmla="*/ 1606564 h 2626033"/>
              <a:gd name="connsiteX32" fmla="*/ 975713 w 2626031"/>
              <a:gd name="connsiteY32" fmla="*/ 1712207 h 2626033"/>
              <a:gd name="connsiteX33" fmla="*/ 1019568 w 2626031"/>
              <a:gd name="connsiteY33" fmla="*/ 1748406 h 2626033"/>
              <a:gd name="connsiteX34" fmla="*/ 1313016 w 2626031"/>
              <a:gd name="connsiteY34" fmla="*/ 1838223 h 2626033"/>
              <a:gd name="connsiteX35" fmla="*/ 1606463 w 2626031"/>
              <a:gd name="connsiteY35" fmla="*/ 1748406 h 2626033"/>
              <a:gd name="connsiteX36" fmla="*/ 1650318 w 2626031"/>
              <a:gd name="connsiteY36" fmla="*/ 1712207 h 2626033"/>
              <a:gd name="connsiteX37" fmla="*/ 1544675 w 2626031"/>
              <a:gd name="connsiteY37" fmla="*/ 1606564 h 2626033"/>
              <a:gd name="connsiteX38" fmla="*/ 1544675 w 2626031"/>
              <a:gd name="connsiteY38" fmla="*/ 1544677 h 2626033"/>
              <a:gd name="connsiteX39" fmla="*/ 1606562 w 2626031"/>
              <a:gd name="connsiteY39" fmla="*/ 1544677 h 2626033"/>
              <a:gd name="connsiteX40" fmla="*/ 1712205 w 2626031"/>
              <a:gd name="connsiteY40" fmla="*/ 1650320 h 2626033"/>
              <a:gd name="connsiteX41" fmla="*/ 1748405 w 2626031"/>
              <a:gd name="connsiteY41" fmla="*/ 1606464 h 2626033"/>
              <a:gd name="connsiteX42" fmla="*/ 1838222 w 2626031"/>
              <a:gd name="connsiteY42" fmla="*/ 1313016 h 2626033"/>
              <a:gd name="connsiteX43" fmla="*/ 1748405 w 2626031"/>
              <a:gd name="connsiteY43" fmla="*/ 1019569 h 2626033"/>
              <a:gd name="connsiteX44" fmla="*/ 1712206 w 2626031"/>
              <a:gd name="connsiteY44" fmla="*/ 975714 h 2626033"/>
              <a:gd name="connsiteX45" fmla="*/ 1606562 w 2626031"/>
              <a:gd name="connsiteY45" fmla="*/ 1081357 h 2626033"/>
              <a:gd name="connsiteX46" fmla="*/ 1575618 w 2626031"/>
              <a:gd name="connsiteY46" fmla="*/ 1094181 h 2626033"/>
              <a:gd name="connsiteX47" fmla="*/ 1544675 w 2626031"/>
              <a:gd name="connsiteY47" fmla="*/ 1081357 h 2626033"/>
              <a:gd name="connsiteX48" fmla="*/ 1544675 w 2626031"/>
              <a:gd name="connsiteY48" fmla="*/ 1019471 h 2626033"/>
              <a:gd name="connsiteX49" fmla="*/ 1650319 w 2626031"/>
              <a:gd name="connsiteY49" fmla="*/ 913827 h 2626033"/>
              <a:gd name="connsiteX50" fmla="*/ 1606463 w 2626031"/>
              <a:gd name="connsiteY50" fmla="*/ 877627 h 2626033"/>
              <a:gd name="connsiteX51" fmla="*/ 1313016 w 2626031"/>
              <a:gd name="connsiteY51" fmla="*/ 787810 h 2626033"/>
              <a:gd name="connsiteX52" fmla="*/ 744042 w 2626031"/>
              <a:gd name="connsiteY52" fmla="*/ 700265 h 2626033"/>
              <a:gd name="connsiteX53" fmla="*/ 774985 w 2626031"/>
              <a:gd name="connsiteY53" fmla="*/ 713100 h 2626033"/>
              <a:gd name="connsiteX54" fmla="*/ 913841 w 2626031"/>
              <a:gd name="connsiteY54" fmla="*/ 851956 h 2626033"/>
              <a:gd name="connsiteX55" fmla="*/ 970657 w 2626031"/>
              <a:gd name="connsiteY55" fmla="*/ 805060 h 2626033"/>
              <a:gd name="connsiteX56" fmla="*/ 1313016 w 2626031"/>
              <a:gd name="connsiteY56" fmla="*/ 700275 h 2626033"/>
              <a:gd name="connsiteX57" fmla="*/ 1655374 w 2626031"/>
              <a:gd name="connsiteY57" fmla="*/ 805060 h 2626033"/>
              <a:gd name="connsiteX58" fmla="*/ 1712190 w 2626031"/>
              <a:gd name="connsiteY58" fmla="*/ 851956 h 2626033"/>
              <a:gd name="connsiteX59" fmla="*/ 1851046 w 2626031"/>
              <a:gd name="connsiteY59" fmla="*/ 713100 h 2626033"/>
              <a:gd name="connsiteX60" fmla="*/ 1881990 w 2626031"/>
              <a:gd name="connsiteY60" fmla="*/ 700265 h 2626033"/>
              <a:gd name="connsiteX61" fmla="*/ 1912933 w 2626031"/>
              <a:gd name="connsiteY61" fmla="*/ 713100 h 2626033"/>
              <a:gd name="connsiteX62" fmla="*/ 1912933 w 2626031"/>
              <a:gd name="connsiteY62" fmla="*/ 774987 h 2626033"/>
              <a:gd name="connsiteX63" fmla="*/ 1774076 w 2626031"/>
              <a:gd name="connsiteY63" fmla="*/ 913844 h 2626033"/>
              <a:gd name="connsiteX64" fmla="*/ 1820971 w 2626031"/>
              <a:gd name="connsiteY64" fmla="*/ 970657 h 2626033"/>
              <a:gd name="connsiteX65" fmla="*/ 1925756 w 2626031"/>
              <a:gd name="connsiteY65" fmla="*/ 1313016 h 2626033"/>
              <a:gd name="connsiteX66" fmla="*/ 1820971 w 2626031"/>
              <a:gd name="connsiteY66" fmla="*/ 1655375 h 2626033"/>
              <a:gd name="connsiteX67" fmla="*/ 1774075 w 2626031"/>
              <a:gd name="connsiteY67" fmla="*/ 1712190 h 2626033"/>
              <a:gd name="connsiteX68" fmla="*/ 1912933 w 2626031"/>
              <a:gd name="connsiteY68" fmla="*/ 1851048 h 2626033"/>
              <a:gd name="connsiteX69" fmla="*/ 1912933 w 2626031"/>
              <a:gd name="connsiteY69" fmla="*/ 1912934 h 2626033"/>
              <a:gd name="connsiteX70" fmla="*/ 1881990 w 2626031"/>
              <a:gd name="connsiteY70" fmla="*/ 1925758 h 2626033"/>
              <a:gd name="connsiteX71" fmla="*/ 1851046 w 2626031"/>
              <a:gd name="connsiteY71" fmla="*/ 1912934 h 2626033"/>
              <a:gd name="connsiteX72" fmla="*/ 1712188 w 2626031"/>
              <a:gd name="connsiteY72" fmla="*/ 1774077 h 2626033"/>
              <a:gd name="connsiteX73" fmla="*/ 1655374 w 2626031"/>
              <a:gd name="connsiteY73" fmla="*/ 1820972 h 2626033"/>
              <a:gd name="connsiteX74" fmla="*/ 1313016 w 2626031"/>
              <a:gd name="connsiteY74" fmla="*/ 1925757 h 2626033"/>
              <a:gd name="connsiteX75" fmla="*/ 970657 w 2626031"/>
              <a:gd name="connsiteY75" fmla="*/ 1820972 h 2626033"/>
              <a:gd name="connsiteX76" fmla="*/ 913842 w 2626031"/>
              <a:gd name="connsiteY76" fmla="*/ 1774077 h 2626033"/>
              <a:gd name="connsiteX77" fmla="*/ 774985 w 2626031"/>
              <a:gd name="connsiteY77" fmla="*/ 1912934 h 2626033"/>
              <a:gd name="connsiteX78" fmla="*/ 744041 w 2626031"/>
              <a:gd name="connsiteY78" fmla="*/ 1925758 h 2626033"/>
              <a:gd name="connsiteX79" fmla="*/ 713098 w 2626031"/>
              <a:gd name="connsiteY79" fmla="*/ 1912934 h 2626033"/>
              <a:gd name="connsiteX80" fmla="*/ 713098 w 2626031"/>
              <a:gd name="connsiteY80" fmla="*/ 1851048 h 2626033"/>
              <a:gd name="connsiteX81" fmla="*/ 851955 w 2626031"/>
              <a:gd name="connsiteY81" fmla="*/ 1712191 h 2626033"/>
              <a:gd name="connsiteX82" fmla="*/ 805059 w 2626031"/>
              <a:gd name="connsiteY82" fmla="*/ 1655375 h 2626033"/>
              <a:gd name="connsiteX83" fmla="*/ 700274 w 2626031"/>
              <a:gd name="connsiteY83" fmla="*/ 1313016 h 2626033"/>
              <a:gd name="connsiteX84" fmla="*/ 805059 w 2626031"/>
              <a:gd name="connsiteY84" fmla="*/ 970657 h 2626033"/>
              <a:gd name="connsiteX85" fmla="*/ 851954 w 2626031"/>
              <a:gd name="connsiteY85" fmla="*/ 913843 h 2626033"/>
              <a:gd name="connsiteX86" fmla="*/ 713098 w 2626031"/>
              <a:gd name="connsiteY86" fmla="*/ 774987 h 2626033"/>
              <a:gd name="connsiteX87" fmla="*/ 713098 w 2626031"/>
              <a:gd name="connsiteY87" fmla="*/ 713100 h 2626033"/>
              <a:gd name="connsiteX88" fmla="*/ 744042 w 2626031"/>
              <a:gd name="connsiteY88" fmla="*/ 700265 h 2626033"/>
              <a:gd name="connsiteX89" fmla="*/ 1313016 w 2626031"/>
              <a:gd name="connsiteY89" fmla="*/ 262604 h 2626033"/>
              <a:gd name="connsiteX90" fmla="*/ 262604 w 2626031"/>
              <a:gd name="connsiteY90" fmla="*/ 1313017 h 2626033"/>
              <a:gd name="connsiteX91" fmla="*/ 1313016 w 2626031"/>
              <a:gd name="connsiteY91" fmla="*/ 2363430 h 2626033"/>
              <a:gd name="connsiteX92" fmla="*/ 2363428 w 2626031"/>
              <a:gd name="connsiteY92" fmla="*/ 1313017 h 2626033"/>
              <a:gd name="connsiteX93" fmla="*/ 1313016 w 2626031"/>
              <a:gd name="connsiteY93" fmla="*/ 262604 h 2626033"/>
              <a:gd name="connsiteX94" fmla="*/ 1313016 w 2626031"/>
              <a:gd name="connsiteY94" fmla="*/ 175069 h 2626033"/>
              <a:gd name="connsiteX95" fmla="*/ 2450962 w 2626031"/>
              <a:gd name="connsiteY95" fmla="*/ 1313017 h 2626033"/>
              <a:gd name="connsiteX96" fmla="*/ 1313016 w 2626031"/>
              <a:gd name="connsiteY96" fmla="*/ 2450965 h 2626033"/>
              <a:gd name="connsiteX97" fmla="*/ 175068 w 2626031"/>
              <a:gd name="connsiteY97" fmla="*/ 1313017 h 2626033"/>
              <a:gd name="connsiteX98" fmla="*/ 1313016 w 2626031"/>
              <a:gd name="connsiteY98" fmla="*/ 175069 h 2626033"/>
              <a:gd name="connsiteX99" fmla="*/ 1313015 w 2626031"/>
              <a:gd name="connsiteY99" fmla="*/ 87535 h 2626033"/>
              <a:gd name="connsiteX100" fmla="*/ 87535 w 2626031"/>
              <a:gd name="connsiteY100" fmla="*/ 1313017 h 2626033"/>
              <a:gd name="connsiteX101" fmla="*/ 1313015 w 2626031"/>
              <a:gd name="connsiteY101" fmla="*/ 2538499 h 2626033"/>
              <a:gd name="connsiteX102" fmla="*/ 2538496 w 2626031"/>
              <a:gd name="connsiteY102" fmla="*/ 1313017 h 2626033"/>
              <a:gd name="connsiteX103" fmla="*/ 1313015 w 2626031"/>
              <a:gd name="connsiteY103" fmla="*/ 87535 h 2626033"/>
              <a:gd name="connsiteX104" fmla="*/ 1313015 w 2626031"/>
              <a:gd name="connsiteY104" fmla="*/ 0 h 2626033"/>
              <a:gd name="connsiteX105" fmla="*/ 2626031 w 2626031"/>
              <a:gd name="connsiteY105" fmla="*/ 1313017 h 2626033"/>
              <a:gd name="connsiteX106" fmla="*/ 1313015 w 2626031"/>
              <a:gd name="connsiteY106" fmla="*/ 2626033 h 2626033"/>
              <a:gd name="connsiteX107" fmla="*/ 0 w 2626031"/>
              <a:gd name="connsiteY107" fmla="*/ 1313017 h 2626033"/>
              <a:gd name="connsiteX108" fmla="*/ 1313015 w 2626031"/>
              <a:gd name="connsiteY108" fmla="*/ 0 h 262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626031" h="2626033">
                <a:moveTo>
                  <a:pt x="1313016" y="1094180"/>
                </a:moveTo>
                <a:cubicBezTo>
                  <a:pt x="1337219" y="1094180"/>
                  <a:pt x="1356783" y="1113744"/>
                  <a:pt x="1356783" y="1137948"/>
                </a:cubicBezTo>
                <a:lnTo>
                  <a:pt x="1356783" y="1269249"/>
                </a:lnTo>
                <a:lnTo>
                  <a:pt x="1488085" y="1269249"/>
                </a:lnTo>
                <a:cubicBezTo>
                  <a:pt x="1512288" y="1269249"/>
                  <a:pt x="1531852" y="1288814"/>
                  <a:pt x="1531852" y="1313018"/>
                </a:cubicBezTo>
                <a:cubicBezTo>
                  <a:pt x="1531852" y="1337221"/>
                  <a:pt x="1512288" y="1356785"/>
                  <a:pt x="1488085" y="1356785"/>
                </a:cubicBezTo>
                <a:lnTo>
                  <a:pt x="1356783" y="1356785"/>
                </a:lnTo>
                <a:lnTo>
                  <a:pt x="1356783" y="1488085"/>
                </a:lnTo>
                <a:cubicBezTo>
                  <a:pt x="1356783" y="1512289"/>
                  <a:pt x="1337219" y="1531852"/>
                  <a:pt x="1313016" y="1531852"/>
                </a:cubicBezTo>
                <a:cubicBezTo>
                  <a:pt x="1288811" y="1531852"/>
                  <a:pt x="1269247" y="1512289"/>
                  <a:pt x="1269247" y="1488085"/>
                </a:cubicBezTo>
                <a:lnTo>
                  <a:pt x="1269247" y="1356785"/>
                </a:lnTo>
                <a:lnTo>
                  <a:pt x="1137947" y="1356785"/>
                </a:lnTo>
                <a:cubicBezTo>
                  <a:pt x="1113743" y="1356785"/>
                  <a:pt x="1094179" y="1337221"/>
                  <a:pt x="1094179" y="1313018"/>
                </a:cubicBezTo>
                <a:cubicBezTo>
                  <a:pt x="1094179" y="1288814"/>
                  <a:pt x="1113743" y="1269249"/>
                  <a:pt x="1137947" y="1269249"/>
                </a:cubicBezTo>
                <a:lnTo>
                  <a:pt x="1269247" y="1269249"/>
                </a:lnTo>
                <a:lnTo>
                  <a:pt x="1269247" y="1137948"/>
                </a:lnTo>
                <a:cubicBezTo>
                  <a:pt x="1269247" y="1113744"/>
                  <a:pt x="1288811" y="1094180"/>
                  <a:pt x="1313016" y="1094180"/>
                </a:cubicBezTo>
                <a:close/>
                <a:moveTo>
                  <a:pt x="1313016" y="787810"/>
                </a:moveTo>
                <a:cubicBezTo>
                  <a:pt x="1204412" y="787810"/>
                  <a:pt x="1103405" y="820941"/>
                  <a:pt x="1019568" y="877627"/>
                </a:cubicBezTo>
                <a:lnTo>
                  <a:pt x="975712" y="913827"/>
                </a:lnTo>
                <a:lnTo>
                  <a:pt x="1081356" y="1019471"/>
                </a:lnTo>
                <a:cubicBezTo>
                  <a:pt x="1098469" y="1036584"/>
                  <a:pt x="1098469" y="1064245"/>
                  <a:pt x="1081356" y="1081357"/>
                </a:cubicBezTo>
                <a:cubicBezTo>
                  <a:pt x="1072821" y="1089892"/>
                  <a:pt x="1061617" y="1094181"/>
                  <a:pt x="1050413" y="1094181"/>
                </a:cubicBezTo>
                <a:cubicBezTo>
                  <a:pt x="1039208" y="1094181"/>
                  <a:pt x="1028004" y="1089892"/>
                  <a:pt x="1019469" y="1081357"/>
                </a:cubicBezTo>
                <a:lnTo>
                  <a:pt x="913825" y="975714"/>
                </a:lnTo>
                <a:lnTo>
                  <a:pt x="877626" y="1019569"/>
                </a:lnTo>
                <a:cubicBezTo>
                  <a:pt x="820940" y="1103406"/>
                  <a:pt x="787809" y="1204414"/>
                  <a:pt x="787809" y="1313016"/>
                </a:cubicBezTo>
                <a:cubicBezTo>
                  <a:pt x="787809" y="1421619"/>
                  <a:pt x="820940" y="1522627"/>
                  <a:pt x="877626" y="1606464"/>
                </a:cubicBezTo>
                <a:lnTo>
                  <a:pt x="913826" y="1650320"/>
                </a:lnTo>
                <a:lnTo>
                  <a:pt x="1019469" y="1544677"/>
                </a:lnTo>
                <a:cubicBezTo>
                  <a:pt x="1036582" y="1527564"/>
                  <a:pt x="1064243" y="1527564"/>
                  <a:pt x="1081356" y="1544677"/>
                </a:cubicBezTo>
                <a:cubicBezTo>
                  <a:pt x="1098469" y="1561790"/>
                  <a:pt x="1098469" y="1589451"/>
                  <a:pt x="1081356" y="1606564"/>
                </a:cubicBezTo>
                <a:lnTo>
                  <a:pt x="975713" y="1712207"/>
                </a:lnTo>
                <a:lnTo>
                  <a:pt x="1019568" y="1748406"/>
                </a:lnTo>
                <a:cubicBezTo>
                  <a:pt x="1103405" y="1805092"/>
                  <a:pt x="1204413" y="1838223"/>
                  <a:pt x="1313016" y="1838223"/>
                </a:cubicBezTo>
                <a:cubicBezTo>
                  <a:pt x="1421618" y="1838223"/>
                  <a:pt x="1522626" y="1805092"/>
                  <a:pt x="1606463" y="1748406"/>
                </a:cubicBezTo>
                <a:lnTo>
                  <a:pt x="1650318" y="1712207"/>
                </a:lnTo>
                <a:lnTo>
                  <a:pt x="1544675" y="1606564"/>
                </a:lnTo>
                <a:cubicBezTo>
                  <a:pt x="1527562" y="1589451"/>
                  <a:pt x="1527562" y="1561790"/>
                  <a:pt x="1544675" y="1544677"/>
                </a:cubicBezTo>
                <a:cubicBezTo>
                  <a:pt x="1561788" y="1527564"/>
                  <a:pt x="1589449" y="1527564"/>
                  <a:pt x="1606562" y="1544677"/>
                </a:cubicBezTo>
                <a:lnTo>
                  <a:pt x="1712205" y="1650320"/>
                </a:lnTo>
                <a:lnTo>
                  <a:pt x="1748405" y="1606464"/>
                </a:lnTo>
                <a:cubicBezTo>
                  <a:pt x="1805091" y="1522627"/>
                  <a:pt x="1838222" y="1421619"/>
                  <a:pt x="1838222" y="1313016"/>
                </a:cubicBezTo>
                <a:cubicBezTo>
                  <a:pt x="1838222" y="1204414"/>
                  <a:pt x="1805091" y="1103406"/>
                  <a:pt x="1748405" y="1019569"/>
                </a:cubicBezTo>
                <a:lnTo>
                  <a:pt x="1712206" y="975714"/>
                </a:lnTo>
                <a:lnTo>
                  <a:pt x="1606562" y="1081357"/>
                </a:lnTo>
                <a:cubicBezTo>
                  <a:pt x="1598027" y="1089892"/>
                  <a:pt x="1586823" y="1094181"/>
                  <a:pt x="1575618" y="1094181"/>
                </a:cubicBezTo>
                <a:cubicBezTo>
                  <a:pt x="1564414" y="1094181"/>
                  <a:pt x="1553210" y="1089892"/>
                  <a:pt x="1544675" y="1081357"/>
                </a:cubicBezTo>
                <a:cubicBezTo>
                  <a:pt x="1527562" y="1064245"/>
                  <a:pt x="1527562" y="1036584"/>
                  <a:pt x="1544675" y="1019471"/>
                </a:cubicBezTo>
                <a:lnTo>
                  <a:pt x="1650319" y="913827"/>
                </a:lnTo>
                <a:lnTo>
                  <a:pt x="1606463" y="877627"/>
                </a:lnTo>
                <a:cubicBezTo>
                  <a:pt x="1522626" y="820941"/>
                  <a:pt x="1421618" y="787810"/>
                  <a:pt x="1313016" y="787810"/>
                </a:cubicBezTo>
                <a:close/>
                <a:moveTo>
                  <a:pt x="744042" y="700265"/>
                </a:moveTo>
                <a:cubicBezTo>
                  <a:pt x="755235" y="700265"/>
                  <a:pt x="766429" y="704544"/>
                  <a:pt x="774985" y="713100"/>
                </a:cubicBezTo>
                <a:lnTo>
                  <a:pt x="913841" y="851956"/>
                </a:lnTo>
                <a:lnTo>
                  <a:pt x="970657" y="805060"/>
                </a:lnTo>
                <a:cubicBezTo>
                  <a:pt x="1068466" y="738927"/>
                  <a:pt x="1186309" y="700275"/>
                  <a:pt x="1313016" y="700275"/>
                </a:cubicBezTo>
                <a:cubicBezTo>
                  <a:pt x="1439721" y="700275"/>
                  <a:pt x="1557565" y="738927"/>
                  <a:pt x="1655374" y="805060"/>
                </a:cubicBezTo>
                <a:lnTo>
                  <a:pt x="1712190" y="851956"/>
                </a:lnTo>
                <a:lnTo>
                  <a:pt x="1851046" y="713100"/>
                </a:lnTo>
                <a:cubicBezTo>
                  <a:pt x="1859602" y="704544"/>
                  <a:pt x="1870796" y="700265"/>
                  <a:pt x="1881990" y="700265"/>
                </a:cubicBezTo>
                <a:cubicBezTo>
                  <a:pt x="1893183" y="700265"/>
                  <a:pt x="1904377" y="704544"/>
                  <a:pt x="1912933" y="713100"/>
                </a:cubicBezTo>
                <a:cubicBezTo>
                  <a:pt x="1930046" y="730213"/>
                  <a:pt x="1930046" y="757874"/>
                  <a:pt x="1912933" y="774987"/>
                </a:cubicBezTo>
                <a:lnTo>
                  <a:pt x="1774076" y="913844"/>
                </a:lnTo>
                <a:lnTo>
                  <a:pt x="1820971" y="970657"/>
                </a:lnTo>
                <a:cubicBezTo>
                  <a:pt x="1887104" y="1068467"/>
                  <a:pt x="1925756" y="1186310"/>
                  <a:pt x="1925756" y="1313016"/>
                </a:cubicBezTo>
                <a:cubicBezTo>
                  <a:pt x="1925756" y="1439722"/>
                  <a:pt x="1887104" y="1557566"/>
                  <a:pt x="1820971" y="1655375"/>
                </a:cubicBezTo>
                <a:lnTo>
                  <a:pt x="1774075" y="1712190"/>
                </a:lnTo>
                <a:lnTo>
                  <a:pt x="1912933" y="1851048"/>
                </a:lnTo>
                <a:cubicBezTo>
                  <a:pt x="1930046" y="1868161"/>
                  <a:pt x="1930046" y="1895822"/>
                  <a:pt x="1912933" y="1912934"/>
                </a:cubicBezTo>
                <a:cubicBezTo>
                  <a:pt x="1904398" y="1921469"/>
                  <a:pt x="1893194" y="1925758"/>
                  <a:pt x="1881990" y="1925758"/>
                </a:cubicBezTo>
                <a:cubicBezTo>
                  <a:pt x="1870785" y="1925758"/>
                  <a:pt x="1859581" y="1921469"/>
                  <a:pt x="1851046" y="1912934"/>
                </a:cubicBezTo>
                <a:lnTo>
                  <a:pt x="1712188" y="1774077"/>
                </a:lnTo>
                <a:lnTo>
                  <a:pt x="1655374" y="1820972"/>
                </a:lnTo>
                <a:cubicBezTo>
                  <a:pt x="1557565" y="1887105"/>
                  <a:pt x="1439721" y="1925757"/>
                  <a:pt x="1313016" y="1925757"/>
                </a:cubicBezTo>
                <a:cubicBezTo>
                  <a:pt x="1186309" y="1925757"/>
                  <a:pt x="1068466" y="1887105"/>
                  <a:pt x="970657" y="1820972"/>
                </a:cubicBezTo>
                <a:lnTo>
                  <a:pt x="913842" y="1774077"/>
                </a:lnTo>
                <a:lnTo>
                  <a:pt x="774985" y="1912934"/>
                </a:lnTo>
                <a:cubicBezTo>
                  <a:pt x="766450" y="1921469"/>
                  <a:pt x="755246" y="1925758"/>
                  <a:pt x="744041" y="1925758"/>
                </a:cubicBezTo>
                <a:cubicBezTo>
                  <a:pt x="732837" y="1925758"/>
                  <a:pt x="721633" y="1921469"/>
                  <a:pt x="713098" y="1912934"/>
                </a:cubicBezTo>
                <a:cubicBezTo>
                  <a:pt x="695985" y="1895822"/>
                  <a:pt x="695985" y="1868161"/>
                  <a:pt x="713098" y="1851048"/>
                </a:cubicBezTo>
                <a:lnTo>
                  <a:pt x="851955" y="1712191"/>
                </a:lnTo>
                <a:lnTo>
                  <a:pt x="805059" y="1655375"/>
                </a:lnTo>
                <a:cubicBezTo>
                  <a:pt x="738926" y="1557566"/>
                  <a:pt x="700274" y="1439722"/>
                  <a:pt x="700274" y="1313016"/>
                </a:cubicBezTo>
                <a:cubicBezTo>
                  <a:pt x="700274" y="1186310"/>
                  <a:pt x="738926" y="1068467"/>
                  <a:pt x="805059" y="970657"/>
                </a:cubicBezTo>
                <a:lnTo>
                  <a:pt x="851954" y="913843"/>
                </a:lnTo>
                <a:lnTo>
                  <a:pt x="713098" y="774987"/>
                </a:lnTo>
                <a:cubicBezTo>
                  <a:pt x="695985" y="757874"/>
                  <a:pt x="695985" y="730213"/>
                  <a:pt x="713098" y="713100"/>
                </a:cubicBezTo>
                <a:cubicBezTo>
                  <a:pt x="721655" y="704544"/>
                  <a:pt x="732848" y="700265"/>
                  <a:pt x="744042" y="700265"/>
                </a:cubicBezTo>
                <a:close/>
                <a:moveTo>
                  <a:pt x="1313016" y="262604"/>
                </a:moveTo>
                <a:cubicBezTo>
                  <a:pt x="733844" y="262604"/>
                  <a:pt x="262604" y="733845"/>
                  <a:pt x="262604" y="1313017"/>
                </a:cubicBezTo>
                <a:cubicBezTo>
                  <a:pt x="262604" y="1892189"/>
                  <a:pt x="733844" y="2363430"/>
                  <a:pt x="1313016" y="2363430"/>
                </a:cubicBezTo>
                <a:cubicBezTo>
                  <a:pt x="1892187" y="2363430"/>
                  <a:pt x="2363428" y="1892189"/>
                  <a:pt x="2363428" y="1313017"/>
                </a:cubicBezTo>
                <a:cubicBezTo>
                  <a:pt x="2363428" y="733845"/>
                  <a:pt x="1892187" y="262604"/>
                  <a:pt x="1313016" y="262604"/>
                </a:cubicBezTo>
                <a:close/>
                <a:moveTo>
                  <a:pt x="1313016" y="175069"/>
                </a:moveTo>
                <a:cubicBezTo>
                  <a:pt x="1940506" y="175069"/>
                  <a:pt x="2450962" y="685526"/>
                  <a:pt x="2450962" y="1313017"/>
                </a:cubicBezTo>
                <a:cubicBezTo>
                  <a:pt x="2450962" y="1940508"/>
                  <a:pt x="1940506" y="2450965"/>
                  <a:pt x="1313016" y="2450965"/>
                </a:cubicBezTo>
                <a:cubicBezTo>
                  <a:pt x="685525" y="2450965"/>
                  <a:pt x="175068" y="1940508"/>
                  <a:pt x="175068" y="1313017"/>
                </a:cubicBezTo>
                <a:cubicBezTo>
                  <a:pt x="175068" y="685526"/>
                  <a:pt x="685525" y="175069"/>
                  <a:pt x="1313016" y="175069"/>
                </a:cubicBezTo>
                <a:close/>
                <a:moveTo>
                  <a:pt x="1313015" y="87535"/>
                </a:moveTo>
                <a:cubicBezTo>
                  <a:pt x="637295" y="87535"/>
                  <a:pt x="87535" y="637295"/>
                  <a:pt x="87535" y="1313017"/>
                </a:cubicBezTo>
                <a:cubicBezTo>
                  <a:pt x="87535" y="1988739"/>
                  <a:pt x="637295" y="2538499"/>
                  <a:pt x="1313015" y="2538499"/>
                </a:cubicBezTo>
                <a:cubicBezTo>
                  <a:pt x="1988737" y="2538499"/>
                  <a:pt x="2538496" y="1988739"/>
                  <a:pt x="2538496" y="1313017"/>
                </a:cubicBezTo>
                <a:cubicBezTo>
                  <a:pt x="2538496" y="637295"/>
                  <a:pt x="1988737" y="87535"/>
                  <a:pt x="1313015" y="87535"/>
                </a:cubicBezTo>
                <a:close/>
                <a:moveTo>
                  <a:pt x="1313015" y="0"/>
                </a:moveTo>
                <a:cubicBezTo>
                  <a:pt x="2037012" y="0"/>
                  <a:pt x="2626031" y="589020"/>
                  <a:pt x="2626031" y="1313017"/>
                </a:cubicBezTo>
                <a:cubicBezTo>
                  <a:pt x="2626031" y="2037014"/>
                  <a:pt x="2037012" y="2626033"/>
                  <a:pt x="1313015" y="2626033"/>
                </a:cubicBezTo>
                <a:cubicBezTo>
                  <a:pt x="589019" y="2626033"/>
                  <a:pt x="0" y="2037014"/>
                  <a:pt x="0" y="1313017"/>
                </a:cubicBezTo>
                <a:cubicBezTo>
                  <a:pt x="0" y="589020"/>
                  <a:pt x="589019" y="0"/>
                  <a:pt x="1313015" y="0"/>
                </a:cubicBezTo>
                <a:close/>
              </a:path>
            </a:pathLst>
          </a:custGeom>
          <a:solidFill>
            <a:srgbClr val="45E1D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7" name="Rectangle 26">
            <a:extLst>
              <a:ext uri="{FF2B5EF4-FFF2-40B4-BE49-F238E27FC236}">
                <a16:creationId xmlns:a16="http://schemas.microsoft.com/office/drawing/2014/main" id="{80E24F2C-F6A0-704C-1B4A-555432473136}"/>
              </a:ext>
            </a:extLst>
          </p:cNvPr>
          <p:cNvSpPr>
            <a:spLocks/>
          </p:cNvSpPr>
          <p:nvPr/>
        </p:nvSpPr>
        <p:spPr>
          <a:xfrm>
            <a:off x="1157629" y="4376250"/>
            <a:ext cx="1063373" cy="73866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lIns="0" tIns="0" rIns="0" bIns="0" rtlCol="0" anchor="ctr">
            <a:noAutofit/>
          </a:bodyPr>
          <a:lstStyle/>
          <a:p>
            <a:r>
              <a:rPr lang="en-US" b="1" dirty="0">
                <a:solidFill>
                  <a:schemeClr val="bg1"/>
                </a:solidFill>
                <a:latin typeface="Calibri"/>
                <a:cs typeface="Calibri"/>
              </a:rPr>
              <a:t>How to reach out ?</a:t>
            </a:r>
          </a:p>
        </p:txBody>
      </p:sp>
      <p:sp>
        <p:nvSpPr>
          <p:cNvPr id="28" name="Rectangle 27">
            <a:extLst>
              <a:ext uri="{FF2B5EF4-FFF2-40B4-BE49-F238E27FC236}">
                <a16:creationId xmlns:a16="http://schemas.microsoft.com/office/drawing/2014/main" id="{2E36E6EE-1AC6-02AF-E06E-8BF9B2F211EE}"/>
              </a:ext>
            </a:extLst>
          </p:cNvPr>
          <p:cNvSpPr>
            <a:spLocks/>
          </p:cNvSpPr>
          <p:nvPr/>
        </p:nvSpPr>
        <p:spPr>
          <a:xfrm>
            <a:off x="1157629" y="3118196"/>
            <a:ext cx="1063373" cy="86177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lIns="0" tIns="0" rIns="0" bIns="0" rtlCol="0" anchor="ctr">
            <a:noAutofit/>
          </a:bodyPr>
          <a:lstStyle/>
          <a:p>
            <a:r>
              <a:rPr lang="en-US" b="1" dirty="0">
                <a:solidFill>
                  <a:schemeClr val="bg1"/>
                </a:solidFill>
                <a:latin typeface="Calibri"/>
                <a:cs typeface="Calibri"/>
              </a:rPr>
              <a:t>How does it work ?</a:t>
            </a:r>
          </a:p>
        </p:txBody>
      </p:sp>
      <p:sp>
        <p:nvSpPr>
          <p:cNvPr id="29" name="Rectangle 28">
            <a:extLst>
              <a:ext uri="{FF2B5EF4-FFF2-40B4-BE49-F238E27FC236}">
                <a16:creationId xmlns:a16="http://schemas.microsoft.com/office/drawing/2014/main" id="{FB3B81C8-A979-4FAB-4BB2-737991945B19}"/>
              </a:ext>
            </a:extLst>
          </p:cNvPr>
          <p:cNvSpPr>
            <a:spLocks/>
          </p:cNvSpPr>
          <p:nvPr/>
        </p:nvSpPr>
        <p:spPr>
          <a:xfrm>
            <a:off x="1157629" y="2167919"/>
            <a:ext cx="1063373" cy="553998"/>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0" tIns="0" rIns="0" bIns="0" rtlCol="0" anchor="ctr">
            <a:spAutoFit/>
          </a:bodyPr>
          <a:lstStyle/>
          <a:p>
            <a:r>
              <a:rPr lang="en-US" b="1" dirty="0">
                <a:solidFill>
                  <a:schemeClr val="bg1"/>
                </a:solidFill>
                <a:latin typeface="Calibri"/>
                <a:cs typeface="Calibri"/>
              </a:rPr>
              <a:t>For which need ?</a:t>
            </a:r>
          </a:p>
        </p:txBody>
      </p:sp>
      <p:sp>
        <p:nvSpPr>
          <p:cNvPr id="64" name="Rectangle 63">
            <a:extLst>
              <a:ext uri="{FF2B5EF4-FFF2-40B4-BE49-F238E27FC236}">
                <a16:creationId xmlns:a16="http://schemas.microsoft.com/office/drawing/2014/main" id="{D439CCD8-E841-4027-9E81-9424A54867D8}"/>
              </a:ext>
            </a:extLst>
          </p:cNvPr>
          <p:cNvSpPr>
            <a:spLocks/>
          </p:cNvSpPr>
          <p:nvPr/>
        </p:nvSpPr>
        <p:spPr>
          <a:xfrm>
            <a:off x="1157629" y="5449639"/>
            <a:ext cx="1063373" cy="73866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lIns="0" tIns="0" rIns="0" bIns="0" rtlCol="0" anchor="ctr">
            <a:noAutofit/>
          </a:bodyPr>
          <a:lstStyle/>
          <a:p>
            <a:r>
              <a:rPr lang="en-US" b="1" dirty="0">
                <a:solidFill>
                  <a:schemeClr val="bg1"/>
                </a:solidFill>
                <a:latin typeface="Calibri"/>
                <a:cs typeface="Calibri"/>
              </a:rPr>
              <a:t>Main users</a:t>
            </a:r>
          </a:p>
        </p:txBody>
      </p:sp>
      <p:sp>
        <p:nvSpPr>
          <p:cNvPr id="55" name="TextBox 54">
            <a:extLst>
              <a:ext uri="{FF2B5EF4-FFF2-40B4-BE49-F238E27FC236}">
                <a16:creationId xmlns:a16="http://schemas.microsoft.com/office/drawing/2014/main" id="{8C8234D3-DBAF-B613-5468-4AD473315398}"/>
              </a:ext>
            </a:extLst>
          </p:cNvPr>
          <p:cNvSpPr txBox="1">
            <a:spLocks/>
          </p:cNvSpPr>
          <p:nvPr/>
        </p:nvSpPr>
        <p:spPr>
          <a:xfrm>
            <a:off x="2513096" y="5572750"/>
            <a:ext cx="3246536" cy="492443"/>
          </a:xfrm>
          <a:prstGeom prst="rect">
            <a:avLst/>
          </a:prstGeom>
        </p:spPr>
        <p:txBody>
          <a:bodyPr vert="horz" wrap="square" lIns="0" tIns="0" rIns="0" bIns="0" rtlCol="0" anchor="ctr">
            <a:spAutoFit/>
          </a:bodyPr>
          <a:lstStyle/>
          <a:p>
            <a:pPr marL="285750" indent="-285750" algn="l">
              <a:buClr>
                <a:srgbClr val="45E1D2"/>
              </a:buClr>
              <a:buFont typeface="Wingdings" panose="05000000000000000000" pitchFamily="2" charset="2"/>
              <a:buChar char="§"/>
            </a:pPr>
            <a:r>
              <a:rPr lang="en-US" sz="1600" dirty="0">
                <a:solidFill>
                  <a:schemeClr val="bg1"/>
                </a:solidFill>
              </a:rPr>
              <a:t>Local and regional C&amp;I teams</a:t>
            </a:r>
          </a:p>
          <a:p>
            <a:pPr marL="285750" indent="-285750" algn="l">
              <a:buClr>
                <a:srgbClr val="45E1D2"/>
              </a:buClr>
              <a:buFont typeface="Wingdings" panose="05000000000000000000" pitchFamily="2" charset="2"/>
              <a:buChar char="§"/>
            </a:pPr>
            <a:r>
              <a:rPr lang="en-US" sz="1600" dirty="0">
                <a:solidFill>
                  <a:schemeClr val="bg1"/>
                </a:solidFill>
              </a:rPr>
              <a:t>Practice-affiliated research teams  </a:t>
            </a:r>
          </a:p>
        </p:txBody>
      </p:sp>
      <p:sp>
        <p:nvSpPr>
          <p:cNvPr id="60" name="TextBox 59">
            <a:extLst>
              <a:ext uri="{FF2B5EF4-FFF2-40B4-BE49-F238E27FC236}">
                <a16:creationId xmlns:a16="http://schemas.microsoft.com/office/drawing/2014/main" id="{1F662A3A-ABA7-FA3A-3CEF-EC5017678A4B}"/>
              </a:ext>
            </a:extLst>
          </p:cNvPr>
          <p:cNvSpPr txBox="1">
            <a:spLocks/>
          </p:cNvSpPr>
          <p:nvPr/>
        </p:nvSpPr>
        <p:spPr>
          <a:xfrm>
            <a:off x="6274827" y="5449639"/>
            <a:ext cx="5215002" cy="738664"/>
          </a:xfrm>
          <a:prstGeom prst="rect">
            <a:avLst/>
          </a:prstGeom>
        </p:spPr>
        <p:txBody>
          <a:bodyPr vert="horz" wrap="square" lIns="0" tIns="0" rIns="0" bIns="0" rtlCol="0" anchor="ctr">
            <a:noAutofit/>
          </a:bodyPr>
          <a:lstStyle/>
          <a:p>
            <a:pPr marL="285750" indent="-285750" algn="l">
              <a:buClr>
                <a:srgbClr val="45E1D2"/>
              </a:buClr>
              <a:buFont typeface="Wingdings" panose="05000000000000000000" pitchFamily="2" charset="2"/>
              <a:buChar char="§"/>
            </a:pPr>
            <a:r>
              <a:rPr lang="en-US" sz="1600" b="1" dirty="0">
                <a:solidFill>
                  <a:schemeClr val="bg1"/>
                </a:solidFill>
              </a:rPr>
              <a:t>Project teams </a:t>
            </a:r>
          </a:p>
        </p:txBody>
      </p:sp>
      <p:sp>
        <p:nvSpPr>
          <p:cNvPr id="46" name="Freeform: Shape 45">
            <a:extLst>
              <a:ext uri="{FF2B5EF4-FFF2-40B4-BE49-F238E27FC236}">
                <a16:creationId xmlns:a16="http://schemas.microsoft.com/office/drawing/2014/main" id="{9CC8AE43-986F-D0F3-CEC0-5F725CBB7A78}"/>
              </a:ext>
            </a:extLst>
          </p:cNvPr>
          <p:cNvSpPr>
            <a:spLocks noChangeAspect="1"/>
          </p:cNvSpPr>
          <p:nvPr/>
        </p:nvSpPr>
        <p:spPr>
          <a:xfrm>
            <a:off x="557818" y="5588771"/>
            <a:ext cx="460400" cy="460400"/>
          </a:xfrm>
          <a:custGeom>
            <a:avLst/>
            <a:gdLst>
              <a:gd name="connsiteX0" fmla="*/ 2778722 w 3728263"/>
              <a:gd name="connsiteY0" fmla="*/ 2924355 h 3728263"/>
              <a:gd name="connsiteX1" fmla="*/ 2510753 w 3728263"/>
              <a:gd name="connsiteY1" fmla="*/ 3221452 h 3728263"/>
              <a:gd name="connsiteX2" fmla="*/ 2510753 w 3728263"/>
              <a:gd name="connsiteY2" fmla="*/ 3611755 h 3728263"/>
              <a:gd name="connsiteX3" fmla="*/ 2691340 w 3728263"/>
              <a:gd name="connsiteY3" fmla="*/ 3611755 h 3728263"/>
              <a:gd name="connsiteX4" fmla="*/ 2691340 w 3728263"/>
              <a:gd name="connsiteY4" fmla="*/ 3407865 h 3728263"/>
              <a:gd name="connsiteX5" fmla="*/ 2749595 w 3728263"/>
              <a:gd name="connsiteY5" fmla="*/ 3349611 h 3728263"/>
              <a:gd name="connsiteX6" fmla="*/ 2807849 w 3728263"/>
              <a:gd name="connsiteY6" fmla="*/ 3407865 h 3728263"/>
              <a:gd name="connsiteX7" fmla="*/ 2807849 w 3728263"/>
              <a:gd name="connsiteY7" fmla="*/ 3611755 h 3728263"/>
              <a:gd name="connsiteX8" fmla="*/ 3303009 w 3728263"/>
              <a:gd name="connsiteY8" fmla="*/ 3611755 h 3728263"/>
              <a:gd name="connsiteX9" fmla="*/ 3303009 w 3728263"/>
              <a:gd name="connsiteY9" fmla="*/ 3407865 h 3728263"/>
              <a:gd name="connsiteX10" fmla="*/ 3361263 w 3728263"/>
              <a:gd name="connsiteY10" fmla="*/ 3349611 h 3728263"/>
              <a:gd name="connsiteX11" fmla="*/ 3419517 w 3728263"/>
              <a:gd name="connsiteY11" fmla="*/ 3407865 h 3728263"/>
              <a:gd name="connsiteX12" fmla="*/ 3419517 w 3728263"/>
              <a:gd name="connsiteY12" fmla="*/ 3611755 h 3728263"/>
              <a:gd name="connsiteX13" fmla="*/ 3600104 w 3728263"/>
              <a:gd name="connsiteY13" fmla="*/ 3611755 h 3728263"/>
              <a:gd name="connsiteX14" fmla="*/ 3605930 w 3728263"/>
              <a:gd name="connsiteY14" fmla="*/ 3611755 h 3728263"/>
              <a:gd name="connsiteX15" fmla="*/ 3605930 w 3728263"/>
              <a:gd name="connsiteY15" fmla="*/ 3221452 h 3728263"/>
              <a:gd name="connsiteX16" fmla="*/ 3337961 w 3728263"/>
              <a:gd name="connsiteY16" fmla="*/ 2924355 h 3728263"/>
              <a:gd name="connsiteX17" fmla="*/ 3058341 w 3728263"/>
              <a:gd name="connsiteY17" fmla="*/ 3145722 h 3728263"/>
              <a:gd name="connsiteX18" fmla="*/ 2778722 w 3728263"/>
              <a:gd name="connsiteY18" fmla="*/ 2924355 h 3728263"/>
              <a:gd name="connsiteX19" fmla="*/ 1578687 w 3728263"/>
              <a:gd name="connsiteY19" fmla="*/ 2924355 h 3728263"/>
              <a:gd name="connsiteX20" fmla="*/ 1310718 w 3728263"/>
              <a:gd name="connsiteY20" fmla="*/ 3221452 h 3728263"/>
              <a:gd name="connsiteX21" fmla="*/ 1316543 w 3728263"/>
              <a:gd name="connsiteY21" fmla="*/ 3221452 h 3728263"/>
              <a:gd name="connsiteX22" fmla="*/ 1316543 w 3728263"/>
              <a:gd name="connsiteY22" fmla="*/ 3611755 h 3728263"/>
              <a:gd name="connsiteX23" fmla="*/ 1497131 w 3728263"/>
              <a:gd name="connsiteY23" fmla="*/ 3611755 h 3728263"/>
              <a:gd name="connsiteX24" fmla="*/ 1497131 w 3728263"/>
              <a:gd name="connsiteY24" fmla="*/ 3407865 h 3728263"/>
              <a:gd name="connsiteX25" fmla="*/ 1555385 w 3728263"/>
              <a:gd name="connsiteY25" fmla="*/ 3349611 h 3728263"/>
              <a:gd name="connsiteX26" fmla="*/ 1613639 w 3728263"/>
              <a:gd name="connsiteY26" fmla="*/ 3407865 h 3728263"/>
              <a:gd name="connsiteX27" fmla="*/ 1613639 w 3728263"/>
              <a:gd name="connsiteY27" fmla="*/ 3611755 h 3728263"/>
              <a:gd name="connsiteX28" fmla="*/ 2108799 w 3728263"/>
              <a:gd name="connsiteY28" fmla="*/ 3611755 h 3728263"/>
              <a:gd name="connsiteX29" fmla="*/ 2108799 w 3728263"/>
              <a:gd name="connsiteY29" fmla="*/ 3407865 h 3728263"/>
              <a:gd name="connsiteX30" fmla="*/ 2167054 w 3728263"/>
              <a:gd name="connsiteY30" fmla="*/ 3349611 h 3728263"/>
              <a:gd name="connsiteX31" fmla="*/ 2225308 w 3728263"/>
              <a:gd name="connsiteY31" fmla="*/ 3407865 h 3728263"/>
              <a:gd name="connsiteX32" fmla="*/ 2225308 w 3728263"/>
              <a:gd name="connsiteY32" fmla="*/ 3611755 h 3728263"/>
              <a:gd name="connsiteX33" fmla="*/ 2405895 w 3728263"/>
              <a:gd name="connsiteY33" fmla="*/ 3611755 h 3728263"/>
              <a:gd name="connsiteX34" fmla="*/ 2405895 w 3728263"/>
              <a:gd name="connsiteY34" fmla="*/ 3221452 h 3728263"/>
              <a:gd name="connsiteX35" fmla="*/ 2137926 w 3728263"/>
              <a:gd name="connsiteY35" fmla="*/ 2924355 h 3728263"/>
              <a:gd name="connsiteX36" fmla="*/ 1858307 w 3728263"/>
              <a:gd name="connsiteY36" fmla="*/ 3145722 h 3728263"/>
              <a:gd name="connsiteX37" fmla="*/ 1578687 w 3728263"/>
              <a:gd name="connsiteY37" fmla="*/ 2924355 h 3728263"/>
              <a:gd name="connsiteX38" fmla="*/ 372826 w 3728263"/>
              <a:gd name="connsiteY38" fmla="*/ 2924355 h 3728263"/>
              <a:gd name="connsiteX39" fmla="*/ 104857 w 3728263"/>
              <a:gd name="connsiteY39" fmla="*/ 3221452 h 3728263"/>
              <a:gd name="connsiteX40" fmla="*/ 104857 w 3728263"/>
              <a:gd name="connsiteY40" fmla="*/ 3611755 h 3728263"/>
              <a:gd name="connsiteX41" fmla="*/ 285445 w 3728263"/>
              <a:gd name="connsiteY41" fmla="*/ 3611755 h 3728263"/>
              <a:gd name="connsiteX42" fmla="*/ 285445 w 3728263"/>
              <a:gd name="connsiteY42" fmla="*/ 3407865 h 3728263"/>
              <a:gd name="connsiteX43" fmla="*/ 343699 w 3728263"/>
              <a:gd name="connsiteY43" fmla="*/ 3349611 h 3728263"/>
              <a:gd name="connsiteX44" fmla="*/ 401953 w 3728263"/>
              <a:gd name="connsiteY44" fmla="*/ 3407865 h 3728263"/>
              <a:gd name="connsiteX45" fmla="*/ 401953 w 3728263"/>
              <a:gd name="connsiteY45" fmla="*/ 3611755 h 3728263"/>
              <a:gd name="connsiteX46" fmla="*/ 897113 w 3728263"/>
              <a:gd name="connsiteY46" fmla="*/ 3611755 h 3728263"/>
              <a:gd name="connsiteX47" fmla="*/ 897113 w 3728263"/>
              <a:gd name="connsiteY47" fmla="*/ 3407865 h 3728263"/>
              <a:gd name="connsiteX48" fmla="*/ 955367 w 3728263"/>
              <a:gd name="connsiteY48" fmla="*/ 3349611 h 3728263"/>
              <a:gd name="connsiteX49" fmla="*/ 1013621 w 3728263"/>
              <a:gd name="connsiteY49" fmla="*/ 3407865 h 3728263"/>
              <a:gd name="connsiteX50" fmla="*/ 1013621 w 3728263"/>
              <a:gd name="connsiteY50" fmla="*/ 3611755 h 3728263"/>
              <a:gd name="connsiteX51" fmla="*/ 1194210 w 3728263"/>
              <a:gd name="connsiteY51" fmla="*/ 3611755 h 3728263"/>
              <a:gd name="connsiteX52" fmla="*/ 1194210 w 3728263"/>
              <a:gd name="connsiteY52" fmla="*/ 3221452 h 3728263"/>
              <a:gd name="connsiteX53" fmla="*/ 926240 w 3728263"/>
              <a:gd name="connsiteY53" fmla="*/ 2924355 h 3728263"/>
              <a:gd name="connsiteX54" fmla="*/ 646620 w 3728263"/>
              <a:gd name="connsiteY54" fmla="*/ 3145722 h 3728263"/>
              <a:gd name="connsiteX55" fmla="*/ 372826 w 3728263"/>
              <a:gd name="connsiteY55" fmla="*/ 2924355 h 3728263"/>
              <a:gd name="connsiteX56" fmla="*/ 897659 w 3728263"/>
              <a:gd name="connsiteY56" fmla="*/ 2801465 h 3728263"/>
              <a:gd name="connsiteX57" fmla="*/ 1258289 w 3728263"/>
              <a:gd name="connsiteY57" fmla="*/ 3005911 h 3728263"/>
              <a:gd name="connsiteX58" fmla="*/ 1613639 w 3728263"/>
              <a:gd name="connsiteY58" fmla="*/ 2802022 h 3728263"/>
              <a:gd name="connsiteX59" fmla="*/ 1631116 w 3728263"/>
              <a:gd name="connsiteY59" fmla="*/ 2802022 h 3728263"/>
              <a:gd name="connsiteX60" fmla="*/ 1689370 w 3728263"/>
              <a:gd name="connsiteY60" fmla="*/ 2860276 h 3728263"/>
              <a:gd name="connsiteX61" fmla="*/ 1858307 w 3728263"/>
              <a:gd name="connsiteY61" fmla="*/ 3029214 h 3728263"/>
              <a:gd name="connsiteX62" fmla="*/ 2027244 w 3728263"/>
              <a:gd name="connsiteY62" fmla="*/ 2860276 h 3728263"/>
              <a:gd name="connsiteX63" fmla="*/ 2085498 w 3728263"/>
              <a:gd name="connsiteY63" fmla="*/ 2802022 h 3728263"/>
              <a:gd name="connsiteX64" fmla="*/ 2102974 w 3728263"/>
              <a:gd name="connsiteY64" fmla="*/ 2802022 h 3728263"/>
              <a:gd name="connsiteX65" fmla="*/ 2458324 w 3728263"/>
              <a:gd name="connsiteY65" fmla="*/ 3005911 h 3728263"/>
              <a:gd name="connsiteX66" fmla="*/ 2818953 w 3728263"/>
              <a:gd name="connsiteY66" fmla="*/ 2801465 h 3728263"/>
              <a:gd name="connsiteX67" fmla="*/ 2831150 w 3728263"/>
              <a:gd name="connsiteY67" fmla="*/ 2802022 h 3728263"/>
              <a:gd name="connsiteX68" fmla="*/ 2889404 w 3728263"/>
              <a:gd name="connsiteY68" fmla="*/ 2860276 h 3728263"/>
              <a:gd name="connsiteX69" fmla="*/ 3058341 w 3728263"/>
              <a:gd name="connsiteY69" fmla="*/ 3029214 h 3728263"/>
              <a:gd name="connsiteX70" fmla="*/ 3227278 w 3728263"/>
              <a:gd name="connsiteY70" fmla="*/ 2860276 h 3728263"/>
              <a:gd name="connsiteX71" fmla="*/ 3285532 w 3728263"/>
              <a:gd name="connsiteY71" fmla="*/ 2802022 h 3728263"/>
              <a:gd name="connsiteX72" fmla="*/ 3728263 w 3728263"/>
              <a:gd name="connsiteY72" fmla="*/ 3221452 h 3728263"/>
              <a:gd name="connsiteX73" fmla="*/ 3728263 w 3728263"/>
              <a:gd name="connsiteY73" fmla="*/ 3670009 h 3728263"/>
              <a:gd name="connsiteX74" fmla="*/ 3670009 w 3728263"/>
              <a:gd name="connsiteY74" fmla="*/ 3728263 h 3728263"/>
              <a:gd name="connsiteX75" fmla="*/ 58254 w 3728263"/>
              <a:gd name="connsiteY75" fmla="*/ 3728263 h 3728263"/>
              <a:gd name="connsiteX76" fmla="*/ 0 w 3728263"/>
              <a:gd name="connsiteY76" fmla="*/ 3670009 h 3728263"/>
              <a:gd name="connsiteX77" fmla="*/ 0 w 3728263"/>
              <a:gd name="connsiteY77" fmla="*/ 3215627 h 3728263"/>
              <a:gd name="connsiteX78" fmla="*/ 431080 w 3728263"/>
              <a:gd name="connsiteY78" fmla="*/ 2802022 h 3728263"/>
              <a:gd name="connsiteX79" fmla="*/ 489334 w 3728263"/>
              <a:gd name="connsiteY79" fmla="*/ 2860276 h 3728263"/>
              <a:gd name="connsiteX80" fmla="*/ 658271 w 3728263"/>
              <a:gd name="connsiteY80" fmla="*/ 3029214 h 3728263"/>
              <a:gd name="connsiteX81" fmla="*/ 827208 w 3728263"/>
              <a:gd name="connsiteY81" fmla="*/ 2860276 h 3728263"/>
              <a:gd name="connsiteX82" fmla="*/ 885462 w 3728263"/>
              <a:gd name="connsiteY82" fmla="*/ 2802022 h 3728263"/>
              <a:gd name="connsiteX83" fmla="*/ 897659 w 3728263"/>
              <a:gd name="connsiteY83" fmla="*/ 2801465 h 3728263"/>
              <a:gd name="connsiteX84" fmla="*/ 3058340 w 3728263"/>
              <a:gd name="connsiteY84" fmla="*/ 2295211 h 3728263"/>
              <a:gd name="connsiteX85" fmla="*/ 2836975 w 3728263"/>
              <a:gd name="connsiteY85" fmla="*/ 2516576 h 3728263"/>
              <a:gd name="connsiteX86" fmla="*/ 3058340 w 3728263"/>
              <a:gd name="connsiteY86" fmla="*/ 2737942 h 3728263"/>
              <a:gd name="connsiteX87" fmla="*/ 3279706 w 3728263"/>
              <a:gd name="connsiteY87" fmla="*/ 2516576 h 3728263"/>
              <a:gd name="connsiteX88" fmla="*/ 3058340 w 3728263"/>
              <a:gd name="connsiteY88" fmla="*/ 2295211 h 3728263"/>
              <a:gd name="connsiteX89" fmla="*/ 1852480 w 3728263"/>
              <a:gd name="connsiteY89" fmla="*/ 2295211 h 3728263"/>
              <a:gd name="connsiteX90" fmla="*/ 1631115 w 3728263"/>
              <a:gd name="connsiteY90" fmla="*/ 2516576 h 3728263"/>
              <a:gd name="connsiteX91" fmla="*/ 1852480 w 3728263"/>
              <a:gd name="connsiteY91" fmla="*/ 2737942 h 3728263"/>
              <a:gd name="connsiteX92" fmla="*/ 2073846 w 3728263"/>
              <a:gd name="connsiteY92" fmla="*/ 2516576 h 3728263"/>
              <a:gd name="connsiteX93" fmla="*/ 1852480 w 3728263"/>
              <a:gd name="connsiteY93" fmla="*/ 2295211 h 3728263"/>
              <a:gd name="connsiteX94" fmla="*/ 646620 w 3728263"/>
              <a:gd name="connsiteY94" fmla="*/ 2295211 h 3728263"/>
              <a:gd name="connsiteX95" fmla="*/ 425255 w 3728263"/>
              <a:gd name="connsiteY95" fmla="*/ 2516576 h 3728263"/>
              <a:gd name="connsiteX96" fmla="*/ 646620 w 3728263"/>
              <a:gd name="connsiteY96" fmla="*/ 2737942 h 3728263"/>
              <a:gd name="connsiteX97" fmla="*/ 867986 w 3728263"/>
              <a:gd name="connsiteY97" fmla="*/ 2516576 h 3728263"/>
              <a:gd name="connsiteX98" fmla="*/ 646620 w 3728263"/>
              <a:gd name="connsiteY98" fmla="*/ 2295211 h 3728263"/>
              <a:gd name="connsiteX99" fmla="*/ 3058340 w 3728263"/>
              <a:gd name="connsiteY99" fmla="*/ 2178703 h 3728263"/>
              <a:gd name="connsiteX100" fmla="*/ 3396214 w 3728263"/>
              <a:gd name="connsiteY100" fmla="*/ 2516576 h 3728263"/>
              <a:gd name="connsiteX101" fmla="*/ 3058340 w 3728263"/>
              <a:gd name="connsiteY101" fmla="*/ 2854450 h 3728263"/>
              <a:gd name="connsiteX102" fmla="*/ 2720467 w 3728263"/>
              <a:gd name="connsiteY102" fmla="*/ 2516576 h 3728263"/>
              <a:gd name="connsiteX103" fmla="*/ 3058340 w 3728263"/>
              <a:gd name="connsiteY103" fmla="*/ 2178703 h 3728263"/>
              <a:gd name="connsiteX104" fmla="*/ 1852480 w 3728263"/>
              <a:gd name="connsiteY104" fmla="*/ 2178703 h 3728263"/>
              <a:gd name="connsiteX105" fmla="*/ 2190354 w 3728263"/>
              <a:gd name="connsiteY105" fmla="*/ 2516576 h 3728263"/>
              <a:gd name="connsiteX106" fmla="*/ 1852480 w 3728263"/>
              <a:gd name="connsiteY106" fmla="*/ 2854450 h 3728263"/>
              <a:gd name="connsiteX107" fmla="*/ 1514607 w 3728263"/>
              <a:gd name="connsiteY107" fmla="*/ 2516576 h 3728263"/>
              <a:gd name="connsiteX108" fmla="*/ 1852480 w 3728263"/>
              <a:gd name="connsiteY108" fmla="*/ 2178703 h 3728263"/>
              <a:gd name="connsiteX109" fmla="*/ 646620 w 3728263"/>
              <a:gd name="connsiteY109" fmla="*/ 2178703 h 3728263"/>
              <a:gd name="connsiteX110" fmla="*/ 984494 w 3728263"/>
              <a:gd name="connsiteY110" fmla="*/ 2516576 h 3728263"/>
              <a:gd name="connsiteX111" fmla="*/ 646620 w 3728263"/>
              <a:gd name="connsiteY111" fmla="*/ 2854450 h 3728263"/>
              <a:gd name="connsiteX112" fmla="*/ 308747 w 3728263"/>
              <a:gd name="connsiteY112" fmla="*/ 2516576 h 3728263"/>
              <a:gd name="connsiteX113" fmla="*/ 646620 w 3728263"/>
              <a:gd name="connsiteY113" fmla="*/ 2178703 h 3728263"/>
              <a:gd name="connsiteX114" fmla="*/ 1869958 w 3728263"/>
              <a:gd name="connsiteY114" fmla="*/ 1438875 h 3728263"/>
              <a:gd name="connsiteX115" fmla="*/ 1910736 w 3728263"/>
              <a:gd name="connsiteY115" fmla="*/ 1456352 h 3728263"/>
              <a:gd name="connsiteX116" fmla="*/ 2027244 w 3728263"/>
              <a:gd name="connsiteY116" fmla="*/ 1572860 h 3728263"/>
              <a:gd name="connsiteX117" fmla="*/ 2027244 w 3728263"/>
              <a:gd name="connsiteY117" fmla="*/ 1654416 h 3728263"/>
              <a:gd name="connsiteX118" fmla="*/ 1945688 w 3728263"/>
              <a:gd name="connsiteY118" fmla="*/ 1654416 h 3728263"/>
              <a:gd name="connsiteX119" fmla="*/ 1928212 w 3728263"/>
              <a:gd name="connsiteY119" fmla="*/ 1636940 h 3728263"/>
              <a:gd name="connsiteX120" fmla="*/ 1928212 w 3728263"/>
              <a:gd name="connsiteY120" fmla="*/ 2120449 h 3728263"/>
              <a:gd name="connsiteX121" fmla="*/ 1869958 w 3728263"/>
              <a:gd name="connsiteY121" fmla="*/ 2178703 h 3728263"/>
              <a:gd name="connsiteX122" fmla="*/ 1811704 w 3728263"/>
              <a:gd name="connsiteY122" fmla="*/ 2120449 h 3728263"/>
              <a:gd name="connsiteX123" fmla="*/ 1811704 w 3728263"/>
              <a:gd name="connsiteY123" fmla="*/ 1636940 h 3728263"/>
              <a:gd name="connsiteX124" fmla="*/ 1794228 w 3728263"/>
              <a:gd name="connsiteY124" fmla="*/ 1654416 h 3728263"/>
              <a:gd name="connsiteX125" fmla="*/ 1712671 w 3728263"/>
              <a:gd name="connsiteY125" fmla="*/ 1654416 h 3728263"/>
              <a:gd name="connsiteX126" fmla="*/ 1712671 w 3728263"/>
              <a:gd name="connsiteY126" fmla="*/ 1572860 h 3728263"/>
              <a:gd name="connsiteX127" fmla="*/ 1829180 w 3728263"/>
              <a:gd name="connsiteY127" fmla="*/ 1456352 h 3728263"/>
              <a:gd name="connsiteX128" fmla="*/ 1869958 w 3728263"/>
              <a:gd name="connsiteY128" fmla="*/ 1438875 h 3728263"/>
              <a:gd name="connsiteX129" fmla="*/ 909492 w 3728263"/>
              <a:gd name="connsiteY129" fmla="*/ 662094 h 3728263"/>
              <a:gd name="connsiteX130" fmla="*/ 932065 w 3728263"/>
              <a:gd name="connsiteY130" fmla="*/ 669922 h 3728263"/>
              <a:gd name="connsiteX131" fmla="*/ 1083526 w 3728263"/>
              <a:gd name="connsiteY131" fmla="*/ 757303 h 3728263"/>
              <a:gd name="connsiteX132" fmla="*/ 1112653 w 3728263"/>
              <a:gd name="connsiteY132" fmla="*/ 792255 h 3728263"/>
              <a:gd name="connsiteX133" fmla="*/ 1101002 w 3728263"/>
              <a:gd name="connsiteY133" fmla="*/ 838859 h 3728263"/>
              <a:gd name="connsiteX134" fmla="*/ 1001970 w 3728263"/>
              <a:gd name="connsiteY134" fmla="*/ 978668 h 3728263"/>
              <a:gd name="connsiteX135" fmla="*/ 920415 w 3728263"/>
              <a:gd name="connsiteY135" fmla="*/ 996145 h 3728263"/>
              <a:gd name="connsiteX136" fmla="*/ 902938 w 3728263"/>
              <a:gd name="connsiteY136" fmla="*/ 914589 h 3728263"/>
              <a:gd name="connsiteX137" fmla="*/ 920415 w 3728263"/>
              <a:gd name="connsiteY137" fmla="*/ 885462 h 3728263"/>
              <a:gd name="connsiteX138" fmla="*/ 704874 w 3728263"/>
              <a:gd name="connsiteY138" fmla="*/ 1170907 h 3728263"/>
              <a:gd name="connsiteX139" fmla="*/ 704874 w 3728263"/>
              <a:gd name="connsiteY139" fmla="*/ 2097148 h 3728263"/>
              <a:gd name="connsiteX140" fmla="*/ 646620 w 3728263"/>
              <a:gd name="connsiteY140" fmla="*/ 2155403 h 3728263"/>
              <a:gd name="connsiteX141" fmla="*/ 600017 w 3728263"/>
              <a:gd name="connsiteY141" fmla="*/ 2097148 h 3728263"/>
              <a:gd name="connsiteX142" fmla="*/ 600017 w 3728263"/>
              <a:gd name="connsiteY142" fmla="*/ 1182558 h 3728263"/>
              <a:gd name="connsiteX143" fmla="*/ 891288 w 3728263"/>
              <a:gd name="connsiteY143" fmla="*/ 786430 h 3728263"/>
              <a:gd name="connsiteX144" fmla="*/ 873811 w 3728263"/>
              <a:gd name="connsiteY144" fmla="*/ 774779 h 3728263"/>
              <a:gd name="connsiteX145" fmla="*/ 850510 w 3728263"/>
              <a:gd name="connsiteY145" fmla="*/ 693223 h 3728263"/>
              <a:gd name="connsiteX146" fmla="*/ 909492 w 3728263"/>
              <a:gd name="connsiteY146" fmla="*/ 662094 h 3728263"/>
              <a:gd name="connsiteX147" fmla="*/ 2789644 w 3728263"/>
              <a:gd name="connsiteY147" fmla="*/ 643707 h 3728263"/>
              <a:gd name="connsiteX148" fmla="*/ 2812217 w 3728263"/>
              <a:gd name="connsiteY148" fmla="*/ 643707 h 3728263"/>
              <a:gd name="connsiteX149" fmla="*/ 2848625 w 3728263"/>
              <a:gd name="connsiteY149" fmla="*/ 669921 h 3728263"/>
              <a:gd name="connsiteX150" fmla="*/ 2831149 w 3728263"/>
              <a:gd name="connsiteY150" fmla="*/ 751477 h 3728263"/>
              <a:gd name="connsiteX151" fmla="*/ 2813673 w 3728263"/>
              <a:gd name="connsiteY151" fmla="*/ 763128 h 3728263"/>
              <a:gd name="connsiteX152" fmla="*/ 3110769 w 3728263"/>
              <a:gd name="connsiteY152" fmla="*/ 1159256 h 3728263"/>
              <a:gd name="connsiteX153" fmla="*/ 3110769 w 3728263"/>
              <a:gd name="connsiteY153" fmla="*/ 2079672 h 3728263"/>
              <a:gd name="connsiteX154" fmla="*/ 3052515 w 3728263"/>
              <a:gd name="connsiteY154" fmla="*/ 2137926 h 3728263"/>
              <a:gd name="connsiteX155" fmla="*/ 2994261 w 3728263"/>
              <a:gd name="connsiteY155" fmla="*/ 2079672 h 3728263"/>
              <a:gd name="connsiteX156" fmla="*/ 2994261 w 3728263"/>
              <a:gd name="connsiteY156" fmla="*/ 1159256 h 3728263"/>
              <a:gd name="connsiteX157" fmla="*/ 2784546 w 3728263"/>
              <a:gd name="connsiteY157" fmla="*/ 873811 h 3728263"/>
              <a:gd name="connsiteX158" fmla="*/ 2802022 w 3728263"/>
              <a:gd name="connsiteY158" fmla="*/ 897112 h 3728263"/>
              <a:gd name="connsiteX159" fmla="*/ 2790371 w 3728263"/>
              <a:gd name="connsiteY159" fmla="*/ 978668 h 3728263"/>
              <a:gd name="connsiteX160" fmla="*/ 2708816 w 3728263"/>
              <a:gd name="connsiteY160" fmla="*/ 967017 h 3728263"/>
              <a:gd name="connsiteX161" fmla="*/ 2598133 w 3728263"/>
              <a:gd name="connsiteY161" fmla="*/ 833033 h 3728263"/>
              <a:gd name="connsiteX162" fmla="*/ 2586482 w 3728263"/>
              <a:gd name="connsiteY162" fmla="*/ 786429 h 3728263"/>
              <a:gd name="connsiteX163" fmla="*/ 2615609 w 3728263"/>
              <a:gd name="connsiteY163" fmla="*/ 745652 h 3728263"/>
              <a:gd name="connsiteX164" fmla="*/ 2767070 w 3728263"/>
              <a:gd name="connsiteY164" fmla="*/ 652445 h 3728263"/>
              <a:gd name="connsiteX165" fmla="*/ 2789644 w 3728263"/>
              <a:gd name="connsiteY165" fmla="*/ 643707 h 3728263"/>
              <a:gd name="connsiteX166" fmla="*/ 1852480 w 3728263"/>
              <a:gd name="connsiteY166" fmla="*/ 500984 h 3728263"/>
              <a:gd name="connsiteX167" fmla="*/ 1677718 w 3728263"/>
              <a:gd name="connsiteY167" fmla="*/ 675747 h 3728263"/>
              <a:gd name="connsiteX168" fmla="*/ 1852480 w 3728263"/>
              <a:gd name="connsiteY168" fmla="*/ 850509 h 3728263"/>
              <a:gd name="connsiteX169" fmla="*/ 2027242 w 3728263"/>
              <a:gd name="connsiteY169" fmla="*/ 675747 h 3728263"/>
              <a:gd name="connsiteX170" fmla="*/ 1852480 w 3728263"/>
              <a:gd name="connsiteY170" fmla="*/ 500984 h 3728263"/>
              <a:gd name="connsiteX171" fmla="*/ 1852480 w 3728263"/>
              <a:gd name="connsiteY171" fmla="*/ 378651 h 3728263"/>
              <a:gd name="connsiteX172" fmla="*/ 2143751 w 3728263"/>
              <a:gd name="connsiteY172" fmla="*/ 669921 h 3728263"/>
              <a:gd name="connsiteX173" fmla="*/ 1852480 w 3728263"/>
              <a:gd name="connsiteY173" fmla="*/ 961192 h 3728263"/>
              <a:gd name="connsiteX174" fmla="*/ 1561210 w 3728263"/>
              <a:gd name="connsiteY174" fmla="*/ 669921 h 3728263"/>
              <a:gd name="connsiteX175" fmla="*/ 1852480 w 3728263"/>
              <a:gd name="connsiteY175" fmla="*/ 378651 h 3728263"/>
              <a:gd name="connsiteX176" fmla="*/ 1805878 w 3728263"/>
              <a:gd name="connsiteY176" fmla="*/ 122333 h 3728263"/>
              <a:gd name="connsiteX177" fmla="*/ 1788402 w 3728263"/>
              <a:gd name="connsiteY177" fmla="*/ 238841 h 3728263"/>
              <a:gd name="connsiteX178" fmla="*/ 1747624 w 3728263"/>
              <a:gd name="connsiteY178" fmla="*/ 285445 h 3728263"/>
              <a:gd name="connsiteX179" fmla="*/ 1648592 w 3728263"/>
              <a:gd name="connsiteY179" fmla="*/ 326223 h 3728263"/>
              <a:gd name="connsiteX180" fmla="*/ 1584512 w 3728263"/>
              <a:gd name="connsiteY180" fmla="*/ 320397 h 3728263"/>
              <a:gd name="connsiteX181" fmla="*/ 1491305 w 3728263"/>
              <a:gd name="connsiteY181" fmla="*/ 250492 h 3728263"/>
              <a:gd name="connsiteX182" fmla="*/ 1427225 w 3728263"/>
              <a:gd name="connsiteY182" fmla="*/ 314572 h 3728263"/>
              <a:gd name="connsiteX183" fmla="*/ 1497130 w 3728263"/>
              <a:gd name="connsiteY183" fmla="*/ 407778 h 3728263"/>
              <a:gd name="connsiteX184" fmla="*/ 1502956 w 3728263"/>
              <a:gd name="connsiteY184" fmla="*/ 471858 h 3728263"/>
              <a:gd name="connsiteX185" fmla="*/ 1462178 w 3728263"/>
              <a:gd name="connsiteY185" fmla="*/ 570890 h 3728263"/>
              <a:gd name="connsiteX186" fmla="*/ 1415574 w 3728263"/>
              <a:gd name="connsiteY186" fmla="*/ 611668 h 3728263"/>
              <a:gd name="connsiteX187" fmla="*/ 1299066 w 3728263"/>
              <a:gd name="connsiteY187" fmla="*/ 629144 h 3728263"/>
              <a:gd name="connsiteX188" fmla="*/ 1299066 w 3728263"/>
              <a:gd name="connsiteY188" fmla="*/ 716525 h 3728263"/>
              <a:gd name="connsiteX189" fmla="*/ 1415574 w 3728263"/>
              <a:gd name="connsiteY189" fmla="*/ 734001 h 3728263"/>
              <a:gd name="connsiteX190" fmla="*/ 1462178 w 3728263"/>
              <a:gd name="connsiteY190" fmla="*/ 774779 h 3728263"/>
              <a:gd name="connsiteX191" fmla="*/ 1502956 w 3728263"/>
              <a:gd name="connsiteY191" fmla="*/ 873812 h 3728263"/>
              <a:gd name="connsiteX192" fmla="*/ 1497130 w 3728263"/>
              <a:gd name="connsiteY192" fmla="*/ 937892 h 3728263"/>
              <a:gd name="connsiteX193" fmla="*/ 1427225 w 3728263"/>
              <a:gd name="connsiteY193" fmla="*/ 1031098 h 3728263"/>
              <a:gd name="connsiteX194" fmla="*/ 1491305 w 3728263"/>
              <a:gd name="connsiteY194" fmla="*/ 1095178 h 3728263"/>
              <a:gd name="connsiteX195" fmla="*/ 1584512 w 3728263"/>
              <a:gd name="connsiteY195" fmla="*/ 1025273 h 3728263"/>
              <a:gd name="connsiteX196" fmla="*/ 1648592 w 3728263"/>
              <a:gd name="connsiteY196" fmla="*/ 1019447 h 3728263"/>
              <a:gd name="connsiteX197" fmla="*/ 1747624 w 3728263"/>
              <a:gd name="connsiteY197" fmla="*/ 1060225 h 3728263"/>
              <a:gd name="connsiteX198" fmla="*/ 1788402 w 3728263"/>
              <a:gd name="connsiteY198" fmla="*/ 1106829 h 3728263"/>
              <a:gd name="connsiteX199" fmla="*/ 1805878 w 3728263"/>
              <a:gd name="connsiteY199" fmla="*/ 1223337 h 3728263"/>
              <a:gd name="connsiteX200" fmla="*/ 1899085 w 3728263"/>
              <a:gd name="connsiteY200" fmla="*/ 1223337 h 3728263"/>
              <a:gd name="connsiteX201" fmla="*/ 1916561 w 3728263"/>
              <a:gd name="connsiteY201" fmla="*/ 1106829 h 3728263"/>
              <a:gd name="connsiteX202" fmla="*/ 1957339 w 3728263"/>
              <a:gd name="connsiteY202" fmla="*/ 1060225 h 3728263"/>
              <a:gd name="connsiteX203" fmla="*/ 2056371 w 3728263"/>
              <a:gd name="connsiteY203" fmla="*/ 1019447 h 3728263"/>
              <a:gd name="connsiteX204" fmla="*/ 2120450 w 3728263"/>
              <a:gd name="connsiteY204" fmla="*/ 1025273 h 3728263"/>
              <a:gd name="connsiteX205" fmla="*/ 2213657 w 3728263"/>
              <a:gd name="connsiteY205" fmla="*/ 1095178 h 3728263"/>
              <a:gd name="connsiteX206" fmla="*/ 2277736 w 3728263"/>
              <a:gd name="connsiteY206" fmla="*/ 1031098 h 3728263"/>
              <a:gd name="connsiteX207" fmla="*/ 2207831 w 3728263"/>
              <a:gd name="connsiteY207" fmla="*/ 937892 h 3728263"/>
              <a:gd name="connsiteX208" fmla="*/ 2202006 w 3728263"/>
              <a:gd name="connsiteY208" fmla="*/ 873812 h 3728263"/>
              <a:gd name="connsiteX209" fmla="*/ 2242784 w 3728263"/>
              <a:gd name="connsiteY209" fmla="*/ 780605 h 3728263"/>
              <a:gd name="connsiteX210" fmla="*/ 2289387 w 3728263"/>
              <a:gd name="connsiteY210" fmla="*/ 739827 h 3728263"/>
              <a:gd name="connsiteX211" fmla="*/ 2405895 w 3728263"/>
              <a:gd name="connsiteY211" fmla="*/ 722351 h 3728263"/>
              <a:gd name="connsiteX212" fmla="*/ 2405895 w 3728263"/>
              <a:gd name="connsiteY212" fmla="*/ 629144 h 3728263"/>
              <a:gd name="connsiteX213" fmla="*/ 2289387 w 3728263"/>
              <a:gd name="connsiteY213" fmla="*/ 611668 h 3728263"/>
              <a:gd name="connsiteX214" fmla="*/ 2242784 w 3728263"/>
              <a:gd name="connsiteY214" fmla="*/ 570890 h 3728263"/>
              <a:gd name="connsiteX215" fmla="*/ 2202006 w 3728263"/>
              <a:gd name="connsiteY215" fmla="*/ 471858 h 3728263"/>
              <a:gd name="connsiteX216" fmla="*/ 2207831 w 3728263"/>
              <a:gd name="connsiteY216" fmla="*/ 407778 h 3728263"/>
              <a:gd name="connsiteX217" fmla="*/ 2277736 w 3728263"/>
              <a:gd name="connsiteY217" fmla="*/ 314572 h 3728263"/>
              <a:gd name="connsiteX218" fmla="*/ 2213657 w 3728263"/>
              <a:gd name="connsiteY218" fmla="*/ 250492 h 3728263"/>
              <a:gd name="connsiteX219" fmla="*/ 2120450 w 3728263"/>
              <a:gd name="connsiteY219" fmla="*/ 320397 h 3728263"/>
              <a:gd name="connsiteX220" fmla="*/ 2056371 w 3728263"/>
              <a:gd name="connsiteY220" fmla="*/ 326223 h 3728263"/>
              <a:gd name="connsiteX221" fmla="*/ 1957339 w 3728263"/>
              <a:gd name="connsiteY221" fmla="*/ 285445 h 3728263"/>
              <a:gd name="connsiteX222" fmla="*/ 1916561 w 3728263"/>
              <a:gd name="connsiteY222" fmla="*/ 238841 h 3728263"/>
              <a:gd name="connsiteX223" fmla="*/ 1899085 w 3728263"/>
              <a:gd name="connsiteY223" fmla="*/ 122333 h 3728263"/>
              <a:gd name="connsiteX224" fmla="*/ 1759275 w 3728263"/>
              <a:gd name="connsiteY224" fmla="*/ 0 h 3728263"/>
              <a:gd name="connsiteX225" fmla="*/ 1951513 w 3728263"/>
              <a:gd name="connsiteY225" fmla="*/ 0 h 3728263"/>
              <a:gd name="connsiteX226" fmla="*/ 2009767 w 3728263"/>
              <a:gd name="connsiteY226" fmla="*/ 52428 h 3728263"/>
              <a:gd name="connsiteX227" fmla="*/ 2027244 w 3728263"/>
              <a:gd name="connsiteY227" fmla="*/ 180587 h 3728263"/>
              <a:gd name="connsiteX228" fmla="*/ 2079672 w 3728263"/>
              <a:gd name="connsiteY228" fmla="*/ 203889 h 3728263"/>
              <a:gd name="connsiteX229" fmla="*/ 2184530 w 3728263"/>
              <a:gd name="connsiteY229" fmla="*/ 122333 h 3728263"/>
              <a:gd name="connsiteX230" fmla="*/ 2260260 w 3728263"/>
              <a:gd name="connsiteY230" fmla="*/ 128159 h 3728263"/>
              <a:gd name="connsiteX231" fmla="*/ 2400070 w 3728263"/>
              <a:gd name="connsiteY231" fmla="*/ 267968 h 3728263"/>
              <a:gd name="connsiteX232" fmla="*/ 2405895 w 3728263"/>
              <a:gd name="connsiteY232" fmla="*/ 343699 h 3728263"/>
              <a:gd name="connsiteX233" fmla="*/ 2324339 w 3728263"/>
              <a:gd name="connsiteY233" fmla="*/ 448556 h 3728263"/>
              <a:gd name="connsiteX234" fmla="*/ 2347641 w 3728263"/>
              <a:gd name="connsiteY234" fmla="*/ 500985 h 3728263"/>
              <a:gd name="connsiteX235" fmla="*/ 2475800 w 3728263"/>
              <a:gd name="connsiteY235" fmla="*/ 518461 h 3728263"/>
              <a:gd name="connsiteX236" fmla="*/ 2528229 w 3728263"/>
              <a:gd name="connsiteY236" fmla="*/ 576715 h 3728263"/>
              <a:gd name="connsiteX237" fmla="*/ 2528229 w 3728263"/>
              <a:gd name="connsiteY237" fmla="*/ 768954 h 3728263"/>
              <a:gd name="connsiteX238" fmla="*/ 2475800 w 3728263"/>
              <a:gd name="connsiteY238" fmla="*/ 827208 h 3728263"/>
              <a:gd name="connsiteX239" fmla="*/ 2347641 w 3728263"/>
              <a:gd name="connsiteY239" fmla="*/ 844684 h 3728263"/>
              <a:gd name="connsiteX240" fmla="*/ 2324339 w 3728263"/>
              <a:gd name="connsiteY240" fmla="*/ 897114 h 3728263"/>
              <a:gd name="connsiteX241" fmla="*/ 2405895 w 3728263"/>
              <a:gd name="connsiteY241" fmla="*/ 1001971 h 3728263"/>
              <a:gd name="connsiteX242" fmla="*/ 2400070 w 3728263"/>
              <a:gd name="connsiteY242" fmla="*/ 1077702 h 3728263"/>
              <a:gd name="connsiteX243" fmla="*/ 2260260 w 3728263"/>
              <a:gd name="connsiteY243" fmla="*/ 1217511 h 3728263"/>
              <a:gd name="connsiteX244" fmla="*/ 2184530 w 3728263"/>
              <a:gd name="connsiteY244" fmla="*/ 1223337 h 3728263"/>
              <a:gd name="connsiteX245" fmla="*/ 2079672 w 3728263"/>
              <a:gd name="connsiteY245" fmla="*/ 1141781 h 3728263"/>
              <a:gd name="connsiteX246" fmla="*/ 2027244 w 3728263"/>
              <a:gd name="connsiteY246" fmla="*/ 1165083 h 3728263"/>
              <a:gd name="connsiteX247" fmla="*/ 2003942 w 3728263"/>
              <a:gd name="connsiteY247" fmla="*/ 1293242 h 3728263"/>
              <a:gd name="connsiteX248" fmla="*/ 1945688 w 3728263"/>
              <a:gd name="connsiteY248" fmla="*/ 1345671 h 3728263"/>
              <a:gd name="connsiteX249" fmla="*/ 1753449 w 3728263"/>
              <a:gd name="connsiteY249" fmla="*/ 1345671 h 3728263"/>
              <a:gd name="connsiteX250" fmla="*/ 1695195 w 3728263"/>
              <a:gd name="connsiteY250" fmla="*/ 1293242 h 3728263"/>
              <a:gd name="connsiteX251" fmla="*/ 1677719 w 3728263"/>
              <a:gd name="connsiteY251" fmla="*/ 1165083 h 3728263"/>
              <a:gd name="connsiteX252" fmla="*/ 1625290 w 3728263"/>
              <a:gd name="connsiteY252" fmla="*/ 1141781 h 3728263"/>
              <a:gd name="connsiteX253" fmla="*/ 1520433 w 3728263"/>
              <a:gd name="connsiteY253" fmla="*/ 1223337 h 3728263"/>
              <a:gd name="connsiteX254" fmla="*/ 1444702 w 3728263"/>
              <a:gd name="connsiteY254" fmla="*/ 1217511 h 3728263"/>
              <a:gd name="connsiteX255" fmla="*/ 1304892 w 3728263"/>
              <a:gd name="connsiteY255" fmla="*/ 1077702 h 3728263"/>
              <a:gd name="connsiteX256" fmla="*/ 1299066 w 3728263"/>
              <a:gd name="connsiteY256" fmla="*/ 1001971 h 3728263"/>
              <a:gd name="connsiteX257" fmla="*/ 1380622 w 3728263"/>
              <a:gd name="connsiteY257" fmla="*/ 897114 h 3728263"/>
              <a:gd name="connsiteX258" fmla="*/ 1357320 w 3728263"/>
              <a:gd name="connsiteY258" fmla="*/ 844684 h 3728263"/>
              <a:gd name="connsiteX259" fmla="*/ 1229161 w 3728263"/>
              <a:gd name="connsiteY259" fmla="*/ 827208 h 3728263"/>
              <a:gd name="connsiteX260" fmla="*/ 1176733 w 3728263"/>
              <a:gd name="connsiteY260" fmla="*/ 768954 h 3728263"/>
              <a:gd name="connsiteX261" fmla="*/ 1176733 w 3728263"/>
              <a:gd name="connsiteY261" fmla="*/ 576715 h 3728263"/>
              <a:gd name="connsiteX262" fmla="*/ 1229161 w 3728263"/>
              <a:gd name="connsiteY262" fmla="*/ 518461 h 3728263"/>
              <a:gd name="connsiteX263" fmla="*/ 1357320 w 3728263"/>
              <a:gd name="connsiteY263" fmla="*/ 500985 h 3728263"/>
              <a:gd name="connsiteX264" fmla="*/ 1380622 w 3728263"/>
              <a:gd name="connsiteY264" fmla="*/ 448556 h 3728263"/>
              <a:gd name="connsiteX265" fmla="*/ 1299066 w 3728263"/>
              <a:gd name="connsiteY265" fmla="*/ 343699 h 3728263"/>
              <a:gd name="connsiteX266" fmla="*/ 1304892 w 3728263"/>
              <a:gd name="connsiteY266" fmla="*/ 267968 h 3728263"/>
              <a:gd name="connsiteX267" fmla="*/ 1444702 w 3728263"/>
              <a:gd name="connsiteY267" fmla="*/ 128159 h 3728263"/>
              <a:gd name="connsiteX268" fmla="*/ 1520433 w 3728263"/>
              <a:gd name="connsiteY268" fmla="*/ 122333 h 3728263"/>
              <a:gd name="connsiteX269" fmla="*/ 1625290 w 3728263"/>
              <a:gd name="connsiteY269" fmla="*/ 203889 h 3728263"/>
              <a:gd name="connsiteX270" fmla="*/ 1677719 w 3728263"/>
              <a:gd name="connsiteY270" fmla="*/ 180587 h 3728263"/>
              <a:gd name="connsiteX271" fmla="*/ 1701021 w 3728263"/>
              <a:gd name="connsiteY271" fmla="*/ 52428 h 3728263"/>
              <a:gd name="connsiteX272" fmla="*/ 1759275 w 3728263"/>
              <a:gd name="connsiteY272" fmla="*/ 0 h 372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3728263" h="3728263">
                <a:moveTo>
                  <a:pt x="2778722" y="2924355"/>
                </a:moveTo>
                <a:cubicBezTo>
                  <a:pt x="2627261" y="2941832"/>
                  <a:pt x="2510753" y="3069992"/>
                  <a:pt x="2510753" y="3221452"/>
                </a:cubicBezTo>
                <a:lnTo>
                  <a:pt x="2510753" y="3611755"/>
                </a:lnTo>
                <a:lnTo>
                  <a:pt x="2691340" y="3611755"/>
                </a:lnTo>
                <a:lnTo>
                  <a:pt x="2691340" y="3407865"/>
                </a:lnTo>
                <a:cubicBezTo>
                  <a:pt x="2691340" y="3372913"/>
                  <a:pt x="2714642" y="3349611"/>
                  <a:pt x="2749595" y="3349611"/>
                </a:cubicBezTo>
                <a:cubicBezTo>
                  <a:pt x="2784547" y="3349611"/>
                  <a:pt x="2807849" y="3372913"/>
                  <a:pt x="2807849" y="3407865"/>
                </a:cubicBezTo>
                <a:lnTo>
                  <a:pt x="2807849" y="3611755"/>
                </a:lnTo>
                <a:lnTo>
                  <a:pt x="3303009" y="3611755"/>
                </a:lnTo>
                <a:lnTo>
                  <a:pt x="3303009" y="3407865"/>
                </a:lnTo>
                <a:cubicBezTo>
                  <a:pt x="3303009" y="3372913"/>
                  <a:pt x="3326310" y="3349611"/>
                  <a:pt x="3361263" y="3349611"/>
                </a:cubicBezTo>
                <a:cubicBezTo>
                  <a:pt x="3396215" y="3349611"/>
                  <a:pt x="3419517" y="3372913"/>
                  <a:pt x="3419517" y="3407865"/>
                </a:cubicBezTo>
                <a:lnTo>
                  <a:pt x="3419517" y="3611755"/>
                </a:lnTo>
                <a:lnTo>
                  <a:pt x="3600104" y="3611755"/>
                </a:lnTo>
                <a:lnTo>
                  <a:pt x="3605930" y="3611755"/>
                </a:lnTo>
                <a:lnTo>
                  <a:pt x="3605930" y="3221452"/>
                </a:lnTo>
                <a:cubicBezTo>
                  <a:pt x="3605930" y="3064166"/>
                  <a:pt x="3489422" y="2941832"/>
                  <a:pt x="3337961" y="2924355"/>
                </a:cubicBezTo>
                <a:cubicBezTo>
                  <a:pt x="3308834" y="3052516"/>
                  <a:pt x="3192326" y="3145722"/>
                  <a:pt x="3058341" y="3145722"/>
                </a:cubicBezTo>
                <a:cubicBezTo>
                  <a:pt x="2918531" y="3145722"/>
                  <a:pt x="2807849" y="3052516"/>
                  <a:pt x="2778722" y="2924355"/>
                </a:cubicBezTo>
                <a:close/>
                <a:moveTo>
                  <a:pt x="1578687" y="2924355"/>
                </a:moveTo>
                <a:cubicBezTo>
                  <a:pt x="1427226" y="2941832"/>
                  <a:pt x="1310718" y="3069992"/>
                  <a:pt x="1310718" y="3221452"/>
                </a:cubicBezTo>
                <a:lnTo>
                  <a:pt x="1316543" y="3221452"/>
                </a:lnTo>
                <a:lnTo>
                  <a:pt x="1316543" y="3611755"/>
                </a:lnTo>
                <a:lnTo>
                  <a:pt x="1497131" y="3611755"/>
                </a:lnTo>
                <a:lnTo>
                  <a:pt x="1497131" y="3407865"/>
                </a:lnTo>
                <a:cubicBezTo>
                  <a:pt x="1497131" y="3372913"/>
                  <a:pt x="1520433" y="3349611"/>
                  <a:pt x="1555385" y="3349611"/>
                </a:cubicBezTo>
                <a:cubicBezTo>
                  <a:pt x="1590338" y="3349611"/>
                  <a:pt x="1613639" y="3372913"/>
                  <a:pt x="1613639" y="3407865"/>
                </a:cubicBezTo>
                <a:lnTo>
                  <a:pt x="1613639" y="3611755"/>
                </a:lnTo>
                <a:lnTo>
                  <a:pt x="2108799" y="3611755"/>
                </a:lnTo>
                <a:lnTo>
                  <a:pt x="2108799" y="3407865"/>
                </a:lnTo>
                <a:cubicBezTo>
                  <a:pt x="2108799" y="3372913"/>
                  <a:pt x="2132101" y="3349611"/>
                  <a:pt x="2167054" y="3349611"/>
                </a:cubicBezTo>
                <a:cubicBezTo>
                  <a:pt x="2202006" y="3349611"/>
                  <a:pt x="2225308" y="3372913"/>
                  <a:pt x="2225308" y="3407865"/>
                </a:cubicBezTo>
                <a:lnTo>
                  <a:pt x="2225308" y="3611755"/>
                </a:lnTo>
                <a:lnTo>
                  <a:pt x="2405895" y="3611755"/>
                </a:lnTo>
                <a:lnTo>
                  <a:pt x="2405895" y="3221452"/>
                </a:lnTo>
                <a:cubicBezTo>
                  <a:pt x="2405895" y="3064166"/>
                  <a:pt x="2289387" y="2941832"/>
                  <a:pt x="2137926" y="2924355"/>
                </a:cubicBezTo>
                <a:cubicBezTo>
                  <a:pt x="2108799" y="3052516"/>
                  <a:pt x="1992291" y="3145722"/>
                  <a:pt x="1858307" y="3145722"/>
                </a:cubicBezTo>
                <a:cubicBezTo>
                  <a:pt x="1718497" y="3145722"/>
                  <a:pt x="1607814" y="3052516"/>
                  <a:pt x="1578687" y="2924355"/>
                </a:cubicBezTo>
                <a:close/>
                <a:moveTo>
                  <a:pt x="372826" y="2924355"/>
                </a:moveTo>
                <a:cubicBezTo>
                  <a:pt x="221365" y="2941832"/>
                  <a:pt x="104857" y="3069992"/>
                  <a:pt x="104857" y="3221452"/>
                </a:cubicBezTo>
                <a:lnTo>
                  <a:pt x="104857" y="3611755"/>
                </a:lnTo>
                <a:lnTo>
                  <a:pt x="285445" y="3611755"/>
                </a:lnTo>
                <a:lnTo>
                  <a:pt x="285445" y="3407865"/>
                </a:lnTo>
                <a:cubicBezTo>
                  <a:pt x="285445" y="3372913"/>
                  <a:pt x="308746" y="3349611"/>
                  <a:pt x="343699" y="3349611"/>
                </a:cubicBezTo>
                <a:cubicBezTo>
                  <a:pt x="378651" y="3349611"/>
                  <a:pt x="401953" y="3372913"/>
                  <a:pt x="401953" y="3407865"/>
                </a:cubicBezTo>
                <a:lnTo>
                  <a:pt x="401953" y="3611755"/>
                </a:lnTo>
                <a:lnTo>
                  <a:pt x="897113" y="3611755"/>
                </a:lnTo>
                <a:lnTo>
                  <a:pt x="897113" y="3407865"/>
                </a:lnTo>
                <a:cubicBezTo>
                  <a:pt x="897113" y="3372913"/>
                  <a:pt x="920414" y="3349611"/>
                  <a:pt x="955367" y="3349611"/>
                </a:cubicBezTo>
                <a:cubicBezTo>
                  <a:pt x="990319" y="3349611"/>
                  <a:pt x="1013621" y="3372913"/>
                  <a:pt x="1013621" y="3407865"/>
                </a:cubicBezTo>
                <a:lnTo>
                  <a:pt x="1013621" y="3611755"/>
                </a:lnTo>
                <a:lnTo>
                  <a:pt x="1194210" y="3611755"/>
                </a:lnTo>
                <a:lnTo>
                  <a:pt x="1194210" y="3221452"/>
                </a:lnTo>
                <a:cubicBezTo>
                  <a:pt x="1194210" y="3064166"/>
                  <a:pt x="1077701" y="2941832"/>
                  <a:pt x="926240" y="2924355"/>
                </a:cubicBezTo>
                <a:cubicBezTo>
                  <a:pt x="897113" y="3052516"/>
                  <a:pt x="780605" y="3145722"/>
                  <a:pt x="646620" y="3145722"/>
                </a:cubicBezTo>
                <a:cubicBezTo>
                  <a:pt x="512636" y="3145722"/>
                  <a:pt x="396128" y="3052516"/>
                  <a:pt x="372826" y="2924355"/>
                </a:cubicBezTo>
                <a:close/>
                <a:moveTo>
                  <a:pt x="897659" y="2801465"/>
                </a:moveTo>
                <a:cubicBezTo>
                  <a:pt x="947994" y="2800111"/>
                  <a:pt x="1141052" y="2807119"/>
                  <a:pt x="1258289" y="3005911"/>
                </a:cubicBezTo>
                <a:cubicBezTo>
                  <a:pt x="1328194" y="2883578"/>
                  <a:pt x="1462179" y="2802022"/>
                  <a:pt x="1613639" y="2802022"/>
                </a:cubicBezTo>
                <a:lnTo>
                  <a:pt x="1631116" y="2802022"/>
                </a:lnTo>
                <a:cubicBezTo>
                  <a:pt x="1666068" y="2802022"/>
                  <a:pt x="1689370" y="2825323"/>
                  <a:pt x="1689370" y="2860276"/>
                </a:cubicBezTo>
                <a:cubicBezTo>
                  <a:pt x="1689370" y="2953482"/>
                  <a:pt x="1765100" y="3029214"/>
                  <a:pt x="1858307" y="3029214"/>
                </a:cubicBezTo>
                <a:cubicBezTo>
                  <a:pt x="1951513" y="3029214"/>
                  <a:pt x="2027244" y="2953482"/>
                  <a:pt x="2027244" y="2860276"/>
                </a:cubicBezTo>
                <a:cubicBezTo>
                  <a:pt x="2027244" y="2825323"/>
                  <a:pt x="2050545" y="2802022"/>
                  <a:pt x="2085498" y="2802022"/>
                </a:cubicBezTo>
                <a:lnTo>
                  <a:pt x="2102974" y="2802022"/>
                </a:lnTo>
                <a:cubicBezTo>
                  <a:pt x="2254435" y="2802022"/>
                  <a:pt x="2388419" y="2883578"/>
                  <a:pt x="2458324" y="3005911"/>
                </a:cubicBezTo>
                <a:cubicBezTo>
                  <a:pt x="2575560" y="2807119"/>
                  <a:pt x="2768618" y="2800111"/>
                  <a:pt x="2818953" y="2801465"/>
                </a:cubicBezTo>
                <a:cubicBezTo>
                  <a:pt x="2826144" y="2801658"/>
                  <a:pt x="2830422" y="2802022"/>
                  <a:pt x="2831150" y="2802022"/>
                </a:cubicBezTo>
                <a:cubicBezTo>
                  <a:pt x="2866103" y="2802022"/>
                  <a:pt x="2889404" y="2825323"/>
                  <a:pt x="2889404" y="2860276"/>
                </a:cubicBezTo>
                <a:cubicBezTo>
                  <a:pt x="2889404" y="2953482"/>
                  <a:pt x="2965135" y="3029214"/>
                  <a:pt x="3058341" y="3029214"/>
                </a:cubicBezTo>
                <a:cubicBezTo>
                  <a:pt x="3151548" y="3029214"/>
                  <a:pt x="3227278" y="2953482"/>
                  <a:pt x="3227278" y="2860276"/>
                </a:cubicBezTo>
                <a:cubicBezTo>
                  <a:pt x="3227278" y="2825323"/>
                  <a:pt x="3250580" y="2802022"/>
                  <a:pt x="3285532" y="2802022"/>
                </a:cubicBezTo>
                <a:cubicBezTo>
                  <a:pt x="3291358" y="2807847"/>
                  <a:pt x="3716613" y="2807847"/>
                  <a:pt x="3728263" y="3221452"/>
                </a:cubicBezTo>
                <a:lnTo>
                  <a:pt x="3728263" y="3670009"/>
                </a:lnTo>
                <a:cubicBezTo>
                  <a:pt x="3728263" y="3704961"/>
                  <a:pt x="3704962" y="3728263"/>
                  <a:pt x="3670009" y="3728263"/>
                </a:cubicBezTo>
                <a:cubicBezTo>
                  <a:pt x="2510753" y="3728263"/>
                  <a:pt x="1118478" y="3728263"/>
                  <a:pt x="58254" y="3728263"/>
                </a:cubicBezTo>
                <a:cubicBezTo>
                  <a:pt x="23301" y="3728263"/>
                  <a:pt x="0" y="3704961"/>
                  <a:pt x="0" y="3670009"/>
                </a:cubicBezTo>
                <a:lnTo>
                  <a:pt x="0" y="3215627"/>
                </a:lnTo>
                <a:cubicBezTo>
                  <a:pt x="0" y="2807847"/>
                  <a:pt x="425255" y="2802022"/>
                  <a:pt x="431080" y="2802022"/>
                </a:cubicBezTo>
                <a:cubicBezTo>
                  <a:pt x="466032" y="2802022"/>
                  <a:pt x="489334" y="2825323"/>
                  <a:pt x="489334" y="2860276"/>
                </a:cubicBezTo>
                <a:cubicBezTo>
                  <a:pt x="489334" y="2953482"/>
                  <a:pt x="565064" y="3029214"/>
                  <a:pt x="658271" y="3029214"/>
                </a:cubicBezTo>
                <a:cubicBezTo>
                  <a:pt x="751478" y="3029214"/>
                  <a:pt x="827208" y="2953482"/>
                  <a:pt x="827208" y="2860276"/>
                </a:cubicBezTo>
                <a:cubicBezTo>
                  <a:pt x="827208" y="2825323"/>
                  <a:pt x="850510" y="2802022"/>
                  <a:pt x="885462" y="2802022"/>
                </a:cubicBezTo>
                <a:cubicBezTo>
                  <a:pt x="886191" y="2802022"/>
                  <a:pt x="890469" y="2801658"/>
                  <a:pt x="897659" y="2801465"/>
                </a:cubicBezTo>
                <a:close/>
                <a:moveTo>
                  <a:pt x="3058340" y="2295211"/>
                </a:moveTo>
                <a:cubicBezTo>
                  <a:pt x="2936007" y="2295211"/>
                  <a:pt x="2836975" y="2394243"/>
                  <a:pt x="2836975" y="2516576"/>
                </a:cubicBezTo>
                <a:cubicBezTo>
                  <a:pt x="2836975" y="2638910"/>
                  <a:pt x="2936007" y="2737942"/>
                  <a:pt x="3058340" y="2737942"/>
                </a:cubicBezTo>
                <a:cubicBezTo>
                  <a:pt x="3180674" y="2737942"/>
                  <a:pt x="3279706" y="2638910"/>
                  <a:pt x="3279706" y="2516576"/>
                </a:cubicBezTo>
                <a:cubicBezTo>
                  <a:pt x="3279706" y="2394243"/>
                  <a:pt x="3180674" y="2295211"/>
                  <a:pt x="3058340" y="2295211"/>
                </a:cubicBezTo>
                <a:close/>
                <a:moveTo>
                  <a:pt x="1852480" y="2295211"/>
                </a:moveTo>
                <a:cubicBezTo>
                  <a:pt x="1730147" y="2295211"/>
                  <a:pt x="1631115" y="2394243"/>
                  <a:pt x="1631115" y="2516576"/>
                </a:cubicBezTo>
                <a:cubicBezTo>
                  <a:pt x="1631115" y="2638910"/>
                  <a:pt x="1730147" y="2737942"/>
                  <a:pt x="1852480" y="2737942"/>
                </a:cubicBezTo>
                <a:cubicBezTo>
                  <a:pt x="1974814" y="2737942"/>
                  <a:pt x="2073846" y="2638910"/>
                  <a:pt x="2073846" y="2516576"/>
                </a:cubicBezTo>
                <a:cubicBezTo>
                  <a:pt x="2073846" y="2394243"/>
                  <a:pt x="1974814" y="2295211"/>
                  <a:pt x="1852480" y="2295211"/>
                </a:cubicBezTo>
                <a:close/>
                <a:moveTo>
                  <a:pt x="646620" y="2295211"/>
                </a:moveTo>
                <a:cubicBezTo>
                  <a:pt x="524287" y="2295211"/>
                  <a:pt x="425255" y="2394243"/>
                  <a:pt x="425255" y="2516576"/>
                </a:cubicBezTo>
                <a:cubicBezTo>
                  <a:pt x="425255" y="2638910"/>
                  <a:pt x="524287" y="2737942"/>
                  <a:pt x="646620" y="2737942"/>
                </a:cubicBezTo>
                <a:cubicBezTo>
                  <a:pt x="768954" y="2737942"/>
                  <a:pt x="867986" y="2638910"/>
                  <a:pt x="867986" y="2516576"/>
                </a:cubicBezTo>
                <a:cubicBezTo>
                  <a:pt x="867986" y="2394243"/>
                  <a:pt x="768954" y="2295211"/>
                  <a:pt x="646620" y="2295211"/>
                </a:cubicBezTo>
                <a:close/>
                <a:moveTo>
                  <a:pt x="3058340" y="2178703"/>
                </a:moveTo>
                <a:cubicBezTo>
                  <a:pt x="3244754" y="2178703"/>
                  <a:pt x="3396214" y="2330163"/>
                  <a:pt x="3396214" y="2516576"/>
                </a:cubicBezTo>
                <a:cubicBezTo>
                  <a:pt x="3396214" y="2702990"/>
                  <a:pt x="3244754" y="2854450"/>
                  <a:pt x="3058340" y="2854450"/>
                </a:cubicBezTo>
                <a:cubicBezTo>
                  <a:pt x="2871927" y="2854450"/>
                  <a:pt x="2720467" y="2702990"/>
                  <a:pt x="2720467" y="2516576"/>
                </a:cubicBezTo>
                <a:cubicBezTo>
                  <a:pt x="2720467" y="2330163"/>
                  <a:pt x="2871927" y="2178703"/>
                  <a:pt x="3058340" y="2178703"/>
                </a:cubicBezTo>
                <a:close/>
                <a:moveTo>
                  <a:pt x="1852480" y="2178703"/>
                </a:moveTo>
                <a:cubicBezTo>
                  <a:pt x="2038894" y="2178703"/>
                  <a:pt x="2190354" y="2330163"/>
                  <a:pt x="2190354" y="2516576"/>
                </a:cubicBezTo>
                <a:cubicBezTo>
                  <a:pt x="2190354" y="2702990"/>
                  <a:pt x="2038894" y="2854450"/>
                  <a:pt x="1852480" y="2854450"/>
                </a:cubicBezTo>
                <a:cubicBezTo>
                  <a:pt x="1666067" y="2854450"/>
                  <a:pt x="1514607" y="2702990"/>
                  <a:pt x="1514607" y="2516576"/>
                </a:cubicBezTo>
                <a:cubicBezTo>
                  <a:pt x="1514607" y="2330163"/>
                  <a:pt x="1666067" y="2178703"/>
                  <a:pt x="1852480" y="2178703"/>
                </a:cubicBezTo>
                <a:close/>
                <a:moveTo>
                  <a:pt x="646620" y="2178703"/>
                </a:moveTo>
                <a:cubicBezTo>
                  <a:pt x="833034" y="2178703"/>
                  <a:pt x="984494" y="2330163"/>
                  <a:pt x="984494" y="2516576"/>
                </a:cubicBezTo>
                <a:cubicBezTo>
                  <a:pt x="984494" y="2702990"/>
                  <a:pt x="833034" y="2854450"/>
                  <a:pt x="646620" y="2854450"/>
                </a:cubicBezTo>
                <a:cubicBezTo>
                  <a:pt x="460207" y="2854450"/>
                  <a:pt x="308747" y="2702990"/>
                  <a:pt x="308747" y="2516576"/>
                </a:cubicBezTo>
                <a:cubicBezTo>
                  <a:pt x="308747" y="2330163"/>
                  <a:pt x="460207" y="2178703"/>
                  <a:pt x="646620" y="2178703"/>
                </a:cubicBezTo>
                <a:close/>
                <a:moveTo>
                  <a:pt x="1869958" y="1438875"/>
                </a:moveTo>
                <a:cubicBezTo>
                  <a:pt x="1884521" y="1438875"/>
                  <a:pt x="1899085" y="1444701"/>
                  <a:pt x="1910736" y="1456352"/>
                </a:cubicBezTo>
                <a:lnTo>
                  <a:pt x="2027244" y="1572860"/>
                </a:lnTo>
                <a:cubicBezTo>
                  <a:pt x="2050546" y="1596162"/>
                  <a:pt x="2050546" y="1631114"/>
                  <a:pt x="2027244" y="1654416"/>
                </a:cubicBezTo>
                <a:cubicBezTo>
                  <a:pt x="2003942" y="1677717"/>
                  <a:pt x="1968990" y="1677717"/>
                  <a:pt x="1945688" y="1654416"/>
                </a:cubicBezTo>
                <a:lnTo>
                  <a:pt x="1928212" y="1636940"/>
                </a:lnTo>
                <a:lnTo>
                  <a:pt x="1928212" y="2120449"/>
                </a:lnTo>
                <a:cubicBezTo>
                  <a:pt x="1928212" y="2155401"/>
                  <a:pt x="1904910" y="2178703"/>
                  <a:pt x="1869958" y="2178703"/>
                </a:cubicBezTo>
                <a:cubicBezTo>
                  <a:pt x="1835005" y="2178703"/>
                  <a:pt x="1811704" y="2149576"/>
                  <a:pt x="1811704" y="2120449"/>
                </a:cubicBezTo>
                <a:lnTo>
                  <a:pt x="1811704" y="1636940"/>
                </a:lnTo>
                <a:lnTo>
                  <a:pt x="1794228" y="1654416"/>
                </a:lnTo>
                <a:cubicBezTo>
                  <a:pt x="1770926" y="1677717"/>
                  <a:pt x="1735972" y="1677717"/>
                  <a:pt x="1712671" y="1654416"/>
                </a:cubicBezTo>
                <a:cubicBezTo>
                  <a:pt x="1689369" y="1631114"/>
                  <a:pt x="1689369" y="1596162"/>
                  <a:pt x="1712671" y="1572860"/>
                </a:cubicBezTo>
                <a:lnTo>
                  <a:pt x="1829180" y="1456352"/>
                </a:lnTo>
                <a:cubicBezTo>
                  <a:pt x="1840831" y="1444701"/>
                  <a:pt x="1855394" y="1438875"/>
                  <a:pt x="1869958" y="1438875"/>
                </a:cubicBezTo>
                <a:close/>
                <a:moveTo>
                  <a:pt x="909492" y="662094"/>
                </a:moveTo>
                <a:cubicBezTo>
                  <a:pt x="917138" y="663004"/>
                  <a:pt x="924783" y="665553"/>
                  <a:pt x="932065" y="669922"/>
                </a:cubicBezTo>
                <a:lnTo>
                  <a:pt x="1083526" y="757303"/>
                </a:lnTo>
                <a:cubicBezTo>
                  <a:pt x="1101002" y="763128"/>
                  <a:pt x="1106828" y="774779"/>
                  <a:pt x="1112653" y="792255"/>
                </a:cubicBezTo>
                <a:cubicBezTo>
                  <a:pt x="1112653" y="809732"/>
                  <a:pt x="1112653" y="827208"/>
                  <a:pt x="1101002" y="838859"/>
                </a:cubicBezTo>
                <a:lnTo>
                  <a:pt x="1001970" y="978668"/>
                </a:lnTo>
                <a:cubicBezTo>
                  <a:pt x="984494" y="1007796"/>
                  <a:pt x="949542" y="1013621"/>
                  <a:pt x="920415" y="996145"/>
                </a:cubicBezTo>
                <a:cubicBezTo>
                  <a:pt x="891288" y="978668"/>
                  <a:pt x="885462" y="943716"/>
                  <a:pt x="902938" y="914589"/>
                </a:cubicBezTo>
                <a:lnTo>
                  <a:pt x="920415" y="885462"/>
                </a:lnTo>
                <a:cubicBezTo>
                  <a:pt x="792256" y="932065"/>
                  <a:pt x="704874" y="1042748"/>
                  <a:pt x="704874" y="1170907"/>
                </a:cubicBezTo>
                <a:lnTo>
                  <a:pt x="704874" y="2097148"/>
                </a:lnTo>
                <a:cubicBezTo>
                  <a:pt x="704874" y="2132101"/>
                  <a:pt x="681573" y="2155403"/>
                  <a:pt x="646620" y="2155403"/>
                </a:cubicBezTo>
                <a:cubicBezTo>
                  <a:pt x="617493" y="2155403"/>
                  <a:pt x="588366" y="2126275"/>
                  <a:pt x="600017" y="2097148"/>
                </a:cubicBezTo>
                <a:lnTo>
                  <a:pt x="600017" y="1182558"/>
                </a:lnTo>
                <a:cubicBezTo>
                  <a:pt x="600017" y="1001970"/>
                  <a:pt x="722351" y="850509"/>
                  <a:pt x="891288" y="786430"/>
                </a:cubicBezTo>
                <a:lnTo>
                  <a:pt x="873811" y="774779"/>
                </a:lnTo>
                <a:cubicBezTo>
                  <a:pt x="844684" y="757303"/>
                  <a:pt x="833033" y="722350"/>
                  <a:pt x="850510" y="693223"/>
                </a:cubicBezTo>
                <a:cubicBezTo>
                  <a:pt x="863617" y="671378"/>
                  <a:pt x="886554" y="659363"/>
                  <a:pt x="909492" y="662094"/>
                </a:cubicBezTo>
                <a:close/>
                <a:moveTo>
                  <a:pt x="2789644" y="643707"/>
                </a:moveTo>
                <a:cubicBezTo>
                  <a:pt x="2797290" y="642251"/>
                  <a:pt x="2804935" y="642251"/>
                  <a:pt x="2812217" y="643707"/>
                </a:cubicBezTo>
                <a:cubicBezTo>
                  <a:pt x="2826780" y="646619"/>
                  <a:pt x="2839887" y="655357"/>
                  <a:pt x="2848625" y="669921"/>
                </a:cubicBezTo>
                <a:cubicBezTo>
                  <a:pt x="2866102" y="699048"/>
                  <a:pt x="2860276" y="734001"/>
                  <a:pt x="2831149" y="751477"/>
                </a:cubicBezTo>
                <a:lnTo>
                  <a:pt x="2813673" y="763128"/>
                </a:lnTo>
                <a:cubicBezTo>
                  <a:pt x="2988435" y="821382"/>
                  <a:pt x="3110769" y="978668"/>
                  <a:pt x="3110769" y="1159256"/>
                </a:cubicBezTo>
                <a:lnTo>
                  <a:pt x="3110769" y="2079672"/>
                </a:lnTo>
                <a:cubicBezTo>
                  <a:pt x="3110769" y="2114624"/>
                  <a:pt x="3087467" y="2137926"/>
                  <a:pt x="3052515" y="2137926"/>
                </a:cubicBezTo>
                <a:cubicBezTo>
                  <a:pt x="3017562" y="2137926"/>
                  <a:pt x="2994261" y="2114624"/>
                  <a:pt x="2994261" y="2079672"/>
                </a:cubicBezTo>
                <a:lnTo>
                  <a:pt x="2994261" y="1159256"/>
                </a:lnTo>
                <a:cubicBezTo>
                  <a:pt x="2994261" y="1031097"/>
                  <a:pt x="2906879" y="920414"/>
                  <a:pt x="2784546" y="873811"/>
                </a:cubicBezTo>
                <a:lnTo>
                  <a:pt x="2802022" y="897112"/>
                </a:lnTo>
                <a:cubicBezTo>
                  <a:pt x="2825324" y="926239"/>
                  <a:pt x="2819498" y="961192"/>
                  <a:pt x="2790371" y="978668"/>
                </a:cubicBezTo>
                <a:cubicBezTo>
                  <a:pt x="2761244" y="1001970"/>
                  <a:pt x="2726292" y="996144"/>
                  <a:pt x="2708816" y="967017"/>
                </a:cubicBezTo>
                <a:lnTo>
                  <a:pt x="2598133" y="833033"/>
                </a:lnTo>
                <a:cubicBezTo>
                  <a:pt x="2586482" y="821382"/>
                  <a:pt x="2580657" y="803906"/>
                  <a:pt x="2586482" y="786429"/>
                </a:cubicBezTo>
                <a:cubicBezTo>
                  <a:pt x="2592307" y="768953"/>
                  <a:pt x="2603958" y="751477"/>
                  <a:pt x="2615609" y="745652"/>
                </a:cubicBezTo>
                <a:lnTo>
                  <a:pt x="2767070" y="652445"/>
                </a:lnTo>
                <a:cubicBezTo>
                  <a:pt x="2774352" y="648076"/>
                  <a:pt x="2781998" y="645163"/>
                  <a:pt x="2789644" y="643707"/>
                </a:cubicBezTo>
                <a:close/>
                <a:moveTo>
                  <a:pt x="1852480" y="500984"/>
                </a:moveTo>
                <a:cubicBezTo>
                  <a:pt x="1759274" y="500984"/>
                  <a:pt x="1677718" y="576715"/>
                  <a:pt x="1677718" y="675747"/>
                </a:cubicBezTo>
                <a:cubicBezTo>
                  <a:pt x="1677718" y="774779"/>
                  <a:pt x="1759274" y="850509"/>
                  <a:pt x="1852480" y="850509"/>
                </a:cubicBezTo>
                <a:cubicBezTo>
                  <a:pt x="1951512" y="850509"/>
                  <a:pt x="2027242" y="774779"/>
                  <a:pt x="2027242" y="675747"/>
                </a:cubicBezTo>
                <a:cubicBezTo>
                  <a:pt x="2027242" y="576715"/>
                  <a:pt x="1945687" y="500984"/>
                  <a:pt x="1852480" y="500984"/>
                </a:cubicBezTo>
                <a:close/>
                <a:moveTo>
                  <a:pt x="1852480" y="378651"/>
                </a:moveTo>
                <a:cubicBezTo>
                  <a:pt x="2015592" y="378651"/>
                  <a:pt x="2143751" y="506810"/>
                  <a:pt x="2143751" y="669921"/>
                </a:cubicBezTo>
                <a:cubicBezTo>
                  <a:pt x="2143751" y="833033"/>
                  <a:pt x="2009766" y="961192"/>
                  <a:pt x="1852480" y="961192"/>
                </a:cubicBezTo>
                <a:cubicBezTo>
                  <a:pt x="1695194" y="961192"/>
                  <a:pt x="1561210" y="833033"/>
                  <a:pt x="1561210" y="669921"/>
                </a:cubicBezTo>
                <a:cubicBezTo>
                  <a:pt x="1561210" y="506810"/>
                  <a:pt x="1695194" y="378651"/>
                  <a:pt x="1852480" y="378651"/>
                </a:cubicBezTo>
                <a:close/>
                <a:moveTo>
                  <a:pt x="1805878" y="122333"/>
                </a:moveTo>
                <a:lnTo>
                  <a:pt x="1788402" y="238841"/>
                </a:lnTo>
                <a:cubicBezTo>
                  <a:pt x="1788402" y="262143"/>
                  <a:pt x="1770926" y="279619"/>
                  <a:pt x="1747624" y="285445"/>
                </a:cubicBezTo>
                <a:cubicBezTo>
                  <a:pt x="1712671" y="297096"/>
                  <a:pt x="1677719" y="308746"/>
                  <a:pt x="1648592" y="326223"/>
                </a:cubicBezTo>
                <a:cubicBezTo>
                  <a:pt x="1631116" y="337873"/>
                  <a:pt x="1601989" y="332048"/>
                  <a:pt x="1584512" y="320397"/>
                </a:cubicBezTo>
                <a:lnTo>
                  <a:pt x="1491305" y="250492"/>
                </a:lnTo>
                <a:lnTo>
                  <a:pt x="1427225" y="314572"/>
                </a:lnTo>
                <a:lnTo>
                  <a:pt x="1497130" y="407778"/>
                </a:lnTo>
                <a:cubicBezTo>
                  <a:pt x="1514607" y="425255"/>
                  <a:pt x="1514607" y="454382"/>
                  <a:pt x="1502956" y="471858"/>
                </a:cubicBezTo>
                <a:cubicBezTo>
                  <a:pt x="1485479" y="506810"/>
                  <a:pt x="1473829" y="535937"/>
                  <a:pt x="1462178" y="570890"/>
                </a:cubicBezTo>
                <a:cubicBezTo>
                  <a:pt x="1456352" y="594191"/>
                  <a:pt x="1438876" y="605842"/>
                  <a:pt x="1415574" y="611668"/>
                </a:cubicBezTo>
                <a:lnTo>
                  <a:pt x="1299066" y="629144"/>
                </a:lnTo>
                <a:lnTo>
                  <a:pt x="1299066" y="716525"/>
                </a:lnTo>
                <a:lnTo>
                  <a:pt x="1415574" y="734001"/>
                </a:lnTo>
                <a:cubicBezTo>
                  <a:pt x="1438876" y="734001"/>
                  <a:pt x="1456352" y="751478"/>
                  <a:pt x="1462178" y="774779"/>
                </a:cubicBezTo>
                <a:cubicBezTo>
                  <a:pt x="1473829" y="809732"/>
                  <a:pt x="1485479" y="844684"/>
                  <a:pt x="1502956" y="873812"/>
                </a:cubicBezTo>
                <a:cubicBezTo>
                  <a:pt x="1514607" y="891288"/>
                  <a:pt x="1508782" y="920415"/>
                  <a:pt x="1497130" y="937892"/>
                </a:cubicBezTo>
                <a:lnTo>
                  <a:pt x="1427225" y="1031098"/>
                </a:lnTo>
                <a:lnTo>
                  <a:pt x="1491305" y="1095178"/>
                </a:lnTo>
                <a:lnTo>
                  <a:pt x="1584512" y="1025273"/>
                </a:lnTo>
                <a:cubicBezTo>
                  <a:pt x="1601989" y="1007797"/>
                  <a:pt x="1631116" y="1007797"/>
                  <a:pt x="1648592" y="1019447"/>
                </a:cubicBezTo>
                <a:cubicBezTo>
                  <a:pt x="1683544" y="1036924"/>
                  <a:pt x="1712671" y="1048575"/>
                  <a:pt x="1747624" y="1060225"/>
                </a:cubicBezTo>
                <a:cubicBezTo>
                  <a:pt x="1770926" y="1066051"/>
                  <a:pt x="1782576" y="1083527"/>
                  <a:pt x="1788402" y="1106829"/>
                </a:cubicBezTo>
                <a:lnTo>
                  <a:pt x="1805878" y="1223337"/>
                </a:lnTo>
                <a:lnTo>
                  <a:pt x="1899085" y="1223337"/>
                </a:lnTo>
                <a:lnTo>
                  <a:pt x="1916561" y="1106829"/>
                </a:lnTo>
                <a:cubicBezTo>
                  <a:pt x="1916561" y="1083527"/>
                  <a:pt x="1934037" y="1066051"/>
                  <a:pt x="1957339" y="1060225"/>
                </a:cubicBezTo>
                <a:cubicBezTo>
                  <a:pt x="1992291" y="1048575"/>
                  <a:pt x="2027244" y="1036924"/>
                  <a:pt x="2056371" y="1019447"/>
                </a:cubicBezTo>
                <a:cubicBezTo>
                  <a:pt x="2073847" y="1007797"/>
                  <a:pt x="2102974" y="1013622"/>
                  <a:pt x="2120450" y="1025273"/>
                </a:cubicBezTo>
                <a:lnTo>
                  <a:pt x="2213657" y="1095178"/>
                </a:lnTo>
                <a:lnTo>
                  <a:pt x="2277736" y="1031098"/>
                </a:lnTo>
                <a:lnTo>
                  <a:pt x="2207831" y="937892"/>
                </a:lnTo>
                <a:cubicBezTo>
                  <a:pt x="2190355" y="920415"/>
                  <a:pt x="2190355" y="891288"/>
                  <a:pt x="2202006" y="873812"/>
                </a:cubicBezTo>
                <a:cubicBezTo>
                  <a:pt x="2219482" y="844684"/>
                  <a:pt x="2236958" y="815557"/>
                  <a:pt x="2242784" y="780605"/>
                </a:cubicBezTo>
                <a:cubicBezTo>
                  <a:pt x="2248609" y="757303"/>
                  <a:pt x="2266085" y="745652"/>
                  <a:pt x="2289387" y="739827"/>
                </a:cubicBezTo>
                <a:lnTo>
                  <a:pt x="2405895" y="722351"/>
                </a:lnTo>
                <a:lnTo>
                  <a:pt x="2405895" y="629144"/>
                </a:lnTo>
                <a:lnTo>
                  <a:pt x="2289387" y="611668"/>
                </a:lnTo>
                <a:cubicBezTo>
                  <a:pt x="2266085" y="611668"/>
                  <a:pt x="2248609" y="594191"/>
                  <a:pt x="2242784" y="570890"/>
                </a:cubicBezTo>
                <a:cubicBezTo>
                  <a:pt x="2231133" y="535937"/>
                  <a:pt x="2219482" y="500985"/>
                  <a:pt x="2202006" y="471858"/>
                </a:cubicBezTo>
                <a:cubicBezTo>
                  <a:pt x="2190355" y="454382"/>
                  <a:pt x="2196181" y="425255"/>
                  <a:pt x="2207831" y="407778"/>
                </a:cubicBezTo>
                <a:lnTo>
                  <a:pt x="2277736" y="314572"/>
                </a:lnTo>
                <a:lnTo>
                  <a:pt x="2213657" y="250492"/>
                </a:lnTo>
                <a:lnTo>
                  <a:pt x="2120450" y="320397"/>
                </a:lnTo>
                <a:cubicBezTo>
                  <a:pt x="2102974" y="337873"/>
                  <a:pt x="2073847" y="337873"/>
                  <a:pt x="2056371" y="326223"/>
                </a:cubicBezTo>
                <a:cubicBezTo>
                  <a:pt x="2027244" y="308746"/>
                  <a:pt x="1992291" y="291270"/>
                  <a:pt x="1957339" y="285445"/>
                </a:cubicBezTo>
                <a:cubicBezTo>
                  <a:pt x="1934037" y="279619"/>
                  <a:pt x="1922386" y="262143"/>
                  <a:pt x="1916561" y="238841"/>
                </a:cubicBezTo>
                <a:lnTo>
                  <a:pt x="1899085" y="122333"/>
                </a:lnTo>
                <a:close/>
                <a:moveTo>
                  <a:pt x="1759275" y="0"/>
                </a:moveTo>
                <a:lnTo>
                  <a:pt x="1951513" y="0"/>
                </a:lnTo>
                <a:cubicBezTo>
                  <a:pt x="1980640" y="0"/>
                  <a:pt x="2003942" y="23301"/>
                  <a:pt x="2009767" y="52428"/>
                </a:cubicBezTo>
                <a:lnTo>
                  <a:pt x="2027244" y="180587"/>
                </a:lnTo>
                <a:cubicBezTo>
                  <a:pt x="2044720" y="186413"/>
                  <a:pt x="2062196" y="198064"/>
                  <a:pt x="2079672" y="203889"/>
                </a:cubicBezTo>
                <a:lnTo>
                  <a:pt x="2184530" y="122333"/>
                </a:lnTo>
                <a:cubicBezTo>
                  <a:pt x="2207831" y="104857"/>
                  <a:pt x="2236958" y="104857"/>
                  <a:pt x="2260260" y="128159"/>
                </a:cubicBezTo>
                <a:lnTo>
                  <a:pt x="2400070" y="267968"/>
                </a:lnTo>
                <a:cubicBezTo>
                  <a:pt x="2423371" y="285445"/>
                  <a:pt x="2423371" y="320397"/>
                  <a:pt x="2405895" y="343699"/>
                </a:cubicBezTo>
                <a:lnTo>
                  <a:pt x="2324339" y="448556"/>
                </a:lnTo>
                <a:cubicBezTo>
                  <a:pt x="2335990" y="466032"/>
                  <a:pt x="2341816" y="483509"/>
                  <a:pt x="2347641" y="500985"/>
                </a:cubicBezTo>
                <a:lnTo>
                  <a:pt x="2475800" y="518461"/>
                </a:lnTo>
                <a:cubicBezTo>
                  <a:pt x="2504927" y="524288"/>
                  <a:pt x="2528229" y="547588"/>
                  <a:pt x="2528229" y="576715"/>
                </a:cubicBezTo>
                <a:lnTo>
                  <a:pt x="2528229" y="768954"/>
                </a:lnTo>
                <a:cubicBezTo>
                  <a:pt x="2528229" y="798081"/>
                  <a:pt x="2504927" y="821383"/>
                  <a:pt x="2475800" y="827208"/>
                </a:cubicBezTo>
                <a:lnTo>
                  <a:pt x="2347641" y="844684"/>
                </a:lnTo>
                <a:cubicBezTo>
                  <a:pt x="2341816" y="862160"/>
                  <a:pt x="2330165" y="879638"/>
                  <a:pt x="2324339" y="897114"/>
                </a:cubicBezTo>
                <a:lnTo>
                  <a:pt x="2405895" y="1001971"/>
                </a:lnTo>
                <a:cubicBezTo>
                  <a:pt x="2423371" y="1025273"/>
                  <a:pt x="2423371" y="1054400"/>
                  <a:pt x="2400070" y="1077702"/>
                </a:cubicBezTo>
                <a:lnTo>
                  <a:pt x="2260260" y="1217511"/>
                </a:lnTo>
                <a:cubicBezTo>
                  <a:pt x="2242784" y="1240813"/>
                  <a:pt x="2207831" y="1240813"/>
                  <a:pt x="2184530" y="1223337"/>
                </a:cubicBezTo>
                <a:lnTo>
                  <a:pt x="2079672" y="1141781"/>
                </a:lnTo>
                <a:cubicBezTo>
                  <a:pt x="2062196" y="1153432"/>
                  <a:pt x="2044720" y="1159257"/>
                  <a:pt x="2027244" y="1165083"/>
                </a:cubicBezTo>
                <a:lnTo>
                  <a:pt x="2003942" y="1293242"/>
                </a:lnTo>
                <a:cubicBezTo>
                  <a:pt x="1998117" y="1322369"/>
                  <a:pt x="1974815" y="1345671"/>
                  <a:pt x="1945688" y="1345671"/>
                </a:cubicBezTo>
                <a:lnTo>
                  <a:pt x="1753449" y="1345671"/>
                </a:lnTo>
                <a:cubicBezTo>
                  <a:pt x="1724322" y="1345671"/>
                  <a:pt x="1701021" y="1322369"/>
                  <a:pt x="1695195" y="1293242"/>
                </a:cubicBezTo>
                <a:lnTo>
                  <a:pt x="1677719" y="1165083"/>
                </a:lnTo>
                <a:cubicBezTo>
                  <a:pt x="1660243" y="1159257"/>
                  <a:pt x="1642766" y="1147607"/>
                  <a:pt x="1625290" y="1141781"/>
                </a:cubicBezTo>
                <a:lnTo>
                  <a:pt x="1520433" y="1223337"/>
                </a:lnTo>
                <a:cubicBezTo>
                  <a:pt x="1497130" y="1240813"/>
                  <a:pt x="1468003" y="1240813"/>
                  <a:pt x="1444702" y="1217511"/>
                </a:cubicBezTo>
                <a:lnTo>
                  <a:pt x="1304892" y="1077702"/>
                </a:lnTo>
                <a:cubicBezTo>
                  <a:pt x="1281590" y="1060225"/>
                  <a:pt x="1281590" y="1025273"/>
                  <a:pt x="1299066" y="1001971"/>
                </a:cubicBezTo>
                <a:lnTo>
                  <a:pt x="1380622" y="897114"/>
                </a:lnTo>
                <a:cubicBezTo>
                  <a:pt x="1368971" y="879638"/>
                  <a:pt x="1363146" y="862160"/>
                  <a:pt x="1357320" y="844684"/>
                </a:cubicBezTo>
                <a:lnTo>
                  <a:pt x="1229161" y="827208"/>
                </a:lnTo>
                <a:cubicBezTo>
                  <a:pt x="1200034" y="827208"/>
                  <a:pt x="1182558" y="798081"/>
                  <a:pt x="1176733" y="768954"/>
                </a:cubicBezTo>
                <a:lnTo>
                  <a:pt x="1176733" y="576715"/>
                </a:lnTo>
                <a:cubicBezTo>
                  <a:pt x="1176733" y="547588"/>
                  <a:pt x="1200034" y="524288"/>
                  <a:pt x="1229161" y="518461"/>
                </a:cubicBezTo>
                <a:lnTo>
                  <a:pt x="1357320" y="500985"/>
                </a:lnTo>
                <a:cubicBezTo>
                  <a:pt x="1363146" y="483509"/>
                  <a:pt x="1374797" y="466032"/>
                  <a:pt x="1380622" y="448556"/>
                </a:cubicBezTo>
                <a:lnTo>
                  <a:pt x="1299066" y="343699"/>
                </a:lnTo>
                <a:cubicBezTo>
                  <a:pt x="1281590" y="320397"/>
                  <a:pt x="1281590" y="291270"/>
                  <a:pt x="1304892" y="267968"/>
                </a:cubicBezTo>
                <a:lnTo>
                  <a:pt x="1444702" y="128159"/>
                </a:lnTo>
                <a:cubicBezTo>
                  <a:pt x="1462178" y="104857"/>
                  <a:pt x="1497130" y="104857"/>
                  <a:pt x="1520433" y="122333"/>
                </a:cubicBezTo>
                <a:lnTo>
                  <a:pt x="1625290" y="203889"/>
                </a:lnTo>
                <a:cubicBezTo>
                  <a:pt x="1642766" y="192238"/>
                  <a:pt x="1660243" y="186413"/>
                  <a:pt x="1677719" y="180587"/>
                </a:cubicBezTo>
                <a:lnTo>
                  <a:pt x="1701021" y="52428"/>
                </a:lnTo>
                <a:cubicBezTo>
                  <a:pt x="1706846" y="23301"/>
                  <a:pt x="1730148" y="0"/>
                  <a:pt x="1759275" y="0"/>
                </a:cubicBezTo>
                <a:close/>
              </a:path>
            </a:pathLst>
          </a:custGeom>
          <a:solidFill>
            <a:srgbClr val="45E1D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597589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18353E-AED7-4A4A-8678-960B5FA4B8F3}"/>
              </a:ext>
            </a:extLst>
          </p:cNvPr>
          <p:cNvGraphicFramePr>
            <a:graphicFrameLocks noChangeAspect="1"/>
          </p:cNvGraphicFramePr>
          <p:nvPr>
            <p:custDataLst>
              <p:tags r:id="rId1"/>
            </p:custDataLst>
            <p:extLst>
              <p:ext uri="{D42A27DB-BD31-4B8C-83A1-F6EECF244321}">
                <p14:modId xmlns:p14="http://schemas.microsoft.com/office/powerpoint/2010/main" val="1370146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D118353E-AED7-4A4A-8678-960B5FA4B8F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536C2C-F896-4E60-984C-D84CCAD8C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Title 3">
            <a:extLst>
              <a:ext uri="{FF2B5EF4-FFF2-40B4-BE49-F238E27FC236}">
                <a16:creationId xmlns:a16="http://schemas.microsoft.com/office/drawing/2014/main" id="{05A2FE30-D496-684B-8A91-C05FB484EE23}"/>
              </a:ext>
            </a:extLst>
          </p:cNvPr>
          <p:cNvSpPr>
            <a:spLocks noGrp="1"/>
          </p:cNvSpPr>
          <p:nvPr>
            <p:ph type="title"/>
          </p:nvPr>
        </p:nvSpPr>
        <p:spPr>
          <a:xfrm>
            <a:off x="737591" y="4200768"/>
            <a:ext cx="8494899" cy="1384995"/>
          </a:xfrm>
        </p:spPr>
        <p:txBody>
          <a:bodyPr vert="horz"/>
          <a:lstStyle/>
          <a:p>
            <a:r>
              <a:rPr lang="en-US" dirty="0"/>
              <a:t>Examples of requests / Use cases</a:t>
            </a:r>
          </a:p>
        </p:txBody>
      </p:sp>
    </p:spTree>
    <p:extLst>
      <p:ext uri="{BB962C8B-B14F-4D97-AF65-F5344CB8AC3E}">
        <p14:creationId xmlns:p14="http://schemas.microsoft.com/office/powerpoint/2010/main" val="132525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028ECA-44E9-4167-8620-C75C1D960470}"/>
              </a:ext>
            </a:extLst>
          </p:cNvPr>
          <p:cNvGraphicFramePr>
            <a:graphicFrameLocks noChangeAspect="1"/>
          </p:cNvGraphicFramePr>
          <p:nvPr>
            <p:custDataLst>
              <p:tags r:id="rId1"/>
            </p:custDataLst>
            <p:extLst>
              <p:ext uri="{D42A27DB-BD31-4B8C-83A1-F6EECF244321}">
                <p14:modId xmlns:p14="http://schemas.microsoft.com/office/powerpoint/2010/main" val="225647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2028ECA-44E9-4167-8620-C75C1D9604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81406E99-5CF7-7937-A573-8457F4892EE2}"/>
              </a:ext>
            </a:extLst>
          </p:cNvPr>
          <p:cNvSpPr>
            <a:spLocks/>
          </p:cNvSpPr>
          <p:nvPr/>
        </p:nvSpPr>
        <p:spPr>
          <a:xfrm>
            <a:off x="6746099" y="1857375"/>
            <a:ext cx="1065989" cy="4451349"/>
          </a:xfrm>
          <a:prstGeom prst="rect">
            <a:avLst/>
          </a:prstGeom>
          <a:gradFill>
            <a:gsLst>
              <a:gs pos="100000">
                <a:schemeClr val="bg1"/>
              </a:gs>
              <a:gs pos="0">
                <a:schemeClr val="tx2"/>
              </a:gs>
            </a:gsLst>
            <a:lin ang="13500000" scaled="1"/>
          </a:grad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0" name="Google Shape;1410;p9"/>
          <p:cNvSpPr txBox="1">
            <a:spLocks noGrp="1"/>
          </p:cNvSpPr>
          <p:nvPr>
            <p:ph type="title"/>
          </p:nvPr>
        </p:nvSpPr>
        <p:spPr>
          <a:xfrm>
            <a:off x="539400" y="562841"/>
            <a:ext cx="7261122" cy="997196"/>
          </a:xfrm>
          <a:noFill/>
          <a:ln>
            <a:noFill/>
          </a:ln>
        </p:spPr>
        <p:txBody>
          <a:bodyPr spcFirstLastPara="1" wrap="square" lIns="0" tIns="0" rIns="0" bIns="0" anchor="t" anchorCtr="0">
            <a:spAutoFit/>
          </a:bodyPr>
          <a:lstStyle/>
          <a:p>
            <a:pPr lvl="0"/>
            <a:r>
              <a:rPr lang="en-US" sz="2400" kern="1200" dirty="0">
                <a:solidFill>
                  <a:schemeClr val="bg2"/>
                </a:solidFill>
                <a:latin typeface="Franklin Gothic Demi" panose="020B0703020102020204" pitchFamily="34" charset="0"/>
                <a:ea typeface="+mj-ea"/>
                <a:cs typeface="Calibri" panose="020F0502020204030204" pitchFamily="34" charset="0"/>
              </a:rPr>
              <a:t>We support the local &amp; regional C&amp;I teams mostly to answer open-ended questions to better understand specific markets and industries </a:t>
            </a:r>
          </a:p>
        </p:txBody>
      </p:sp>
      <p:sp>
        <p:nvSpPr>
          <p:cNvPr id="7" name="Rectangle 7">
            <a:extLst>
              <a:ext uri="{FF2B5EF4-FFF2-40B4-BE49-F238E27FC236}">
                <a16:creationId xmlns:a16="http://schemas.microsoft.com/office/drawing/2014/main" id="{2EAF50BB-9DD8-7ECC-A938-E8B7AB189CB1}"/>
              </a:ext>
            </a:extLst>
          </p:cNvPr>
          <p:cNvSpPr>
            <a:spLocks noChangeArrowheads="1"/>
          </p:cNvSpPr>
          <p:nvPr/>
        </p:nvSpPr>
        <p:spPr bwMode="auto">
          <a:xfrm>
            <a:off x="8318261" y="1899285"/>
            <a:ext cx="3322737" cy="19261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lnSpc>
                <a:spcPct val="75000"/>
              </a:lnSpc>
              <a:spcAft>
                <a:spcPct val="20000"/>
              </a:spcAft>
              <a:buFont typeface="Arial" charset="0"/>
              <a:buNone/>
            </a:pPr>
            <a:r>
              <a:rPr lang="en-US" b="1" dirty="0">
                <a:solidFill>
                  <a:schemeClr val="tx2"/>
                </a:solidFill>
                <a:latin typeface="Franklin Gothic"/>
              </a:rPr>
              <a:t>Approach</a:t>
            </a:r>
          </a:p>
        </p:txBody>
      </p:sp>
      <p:sp>
        <p:nvSpPr>
          <p:cNvPr id="9" name="Rectangle 10">
            <a:extLst>
              <a:ext uri="{FF2B5EF4-FFF2-40B4-BE49-F238E27FC236}">
                <a16:creationId xmlns:a16="http://schemas.microsoft.com/office/drawing/2014/main" id="{FB42D1B6-C378-31DD-A181-DC950664CA45}"/>
              </a:ext>
            </a:extLst>
          </p:cNvPr>
          <p:cNvSpPr>
            <a:spLocks noChangeArrowheads="1"/>
          </p:cNvSpPr>
          <p:nvPr/>
        </p:nvSpPr>
        <p:spPr bwMode="auto">
          <a:xfrm>
            <a:off x="8318261" y="2257373"/>
            <a:ext cx="3533556" cy="1900520"/>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4762" lvl="3" indent="0">
              <a:lnSpc>
                <a:spcPct val="90000"/>
              </a:lnSpc>
              <a:spcAft>
                <a:spcPct val="20000"/>
              </a:spcAft>
              <a:buNone/>
            </a:pPr>
            <a:r>
              <a:rPr lang="en-US" sz="1000" b="1" dirty="0">
                <a:solidFill>
                  <a:schemeClr val="bg1"/>
                </a:solidFill>
                <a:latin typeface="Franklin Gothic"/>
              </a:rPr>
              <a:t>1. Breaking down the need into specific points </a:t>
            </a:r>
          </a:p>
          <a:p>
            <a:pPr lvl="3">
              <a:lnSpc>
                <a:spcPct val="90000"/>
              </a:lnSpc>
              <a:spcAft>
                <a:spcPct val="20000"/>
              </a:spcAft>
              <a:buSzPct val="100000"/>
              <a:buFont typeface="Wingdings" panose="05000000000000000000" pitchFamily="2" charset="2"/>
              <a:buChar char="§"/>
            </a:pPr>
            <a:r>
              <a:rPr lang="en-US" sz="700" i="1" dirty="0">
                <a:solidFill>
                  <a:schemeClr val="bg1"/>
                </a:solidFill>
                <a:latin typeface="Franklin Gothic"/>
              </a:rPr>
              <a:t>Provision of a list of hospitals with the largest bed capacity for selected regions (Veneto, Lombardy, Emilia Romagna, etc.) </a:t>
            </a:r>
          </a:p>
          <a:p>
            <a:pPr lvl="3">
              <a:lnSpc>
                <a:spcPct val="90000"/>
              </a:lnSpc>
              <a:spcAft>
                <a:spcPct val="20000"/>
              </a:spcAft>
              <a:buSzPct val="100000"/>
              <a:buFont typeface="Wingdings" panose="05000000000000000000" pitchFamily="2" charset="2"/>
              <a:buChar char="§"/>
            </a:pPr>
            <a:r>
              <a:rPr lang="en-US" sz="700" i="1" dirty="0">
                <a:solidFill>
                  <a:schemeClr val="bg1"/>
                </a:solidFill>
                <a:latin typeface="Franklin Gothic"/>
              </a:rPr>
              <a:t>Identification of the operator in charge of providing facility management services</a:t>
            </a:r>
            <a:r>
              <a:rPr lang="en-US" sz="700" dirty="0">
                <a:solidFill>
                  <a:schemeClr val="bg1"/>
                </a:solidFill>
                <a:latin typeface="Franklin Gothic"/>
              </a:rPr>
              <a:t> for each h²ospital along with the </a:t>
            </a:r>
            <a:r>
              <a:rPr lang="en-US" sz="700" i="1" dirty="0">
                <a:solidFill>
                  <a:schemeClr val="bg1"/>
                </a:solidFill>
                <a:latin typeface="Franklin Gothic"/>
              </a:rPr>
              <a:t>information on the concession end date </a:t>
            </a:r>
          </a:p>
          <a:p>
            <a:pPr lvl="3">
              <a:lnSpc>
                <a:spcPct val="90000"/>
              </a:lnSpc>
              <a:spcAft>
                <a:spcPct val="20000"/>
              </a:spcAft>
              <a:buSzPct val="100000"/>
              <a:buFont typeface="Wingdings" panose="05000000000000000000" pitchFamily="2" charset="2"/>
              <a:buChar char="v"/>
            </a:pPr>
            <a:endParaRPr lang="en-US" sz="700" i="1" dirty="0">
              <a:solidFill>
                <a:schemeClr val="bg1"/>
              </a:solidFill>
              <a:latin typeface="Franklin Gothic"/>
            </a:endParaRPr>
          </a:p>
          <a:p>
            <a:pPr marL="4762" lvl="3" indent="0">
              <a:lnSpc>
                <a:spcPct val="90000"/>
              </a:lnSpc>
              <a:spcAft>
                <a:spcPct val="20000"/>
              </a:spcAft>
              <a:buSzPct val="100000"/>
              <a:buNone/>
            </a:pPr>
            <a:r>
              <a:rPr lang="en-US" sz="1000" b="1" i="1" dirty="0">
                <a:solidFill>
                  <a:schemeClr val="bg1"/>
                </a:solidFill>
                <a:latin typeface="Franklin Gothic"/>
              </a:rPr>
              <a:t>2. </a:t>
            </a:r>
            <a:r>
              <a:rPr lang="en-US" sz="1000" b="1" dirty="0">
                <a:solidFill>
                  <a:schemeClr val="bg1"/>
                </a:solidFill>
                <a:latin typeface="Franklin Gothic"/>
              </a:rPr>
              <a:t>Clarifying the ask to mitigate risk of misalignment </a:t>
            </a:r>
          </a:p>
          <a:p>
            <a:pPr lvl="3">
              <a:lnSpc>
                <a:spcPct val="90000"/>
              </a:lnSpc>
              <a:spcAft>
                <a:spcPct val="20000"/>
              </a:spcAft>
              <a:buSzPct val="100000"/>
              <a:buFont typeface="Wingdings" panose="05000000000000000000" pitchFamily="2" charset="2"/>
              <a:buChar char="§"/>
            </a:pPr>
            <a:r>
              <a:rPr lang="en-US" sz="700" b="1" i="1" dirty="0">
                <a:solidFill>
                  <a:schemeClr val="bg1"/>
                </a:solidFill>
                <a:latin typeface="Franklin Gothic"/>
              </a:rPr>
              <a:t>Specifying with the client the types of FM services to focus on </a:t>
            </a:r>
            <a:r>
              <a:rPr lang="en-US" sz="700" i="1" dirty="0">
                <a:solidFill>
                  <a:schemeClr val="bg1"/>
                </a:solidFill>
                <a:latin typeface="Franklin Gothic"/>
              </a:rPr>
              <a:t>(Hard= hard maintenance, EN management), Soft=Cleaning) </a:t>
            </a:r>
          </a:p>
          <a:p>
            <a:pPr marL="4762" lvl="3" indent="0">
              <a:lnSpc>
                <a:spcPct val="90000"/>
              </a:lnSpc>
              <a:spcAft>
                <a:spcPct val="20000"/>
              </a:spcAft>
              <a:buSzPct val="100000"/>
              <a:buNone/>
            </a:pPr>
            <a:endParaRPr lang="en-US" sz="800" i="1" dirty="0">
              <a:solidFill>
                <a:schemeClr val="bg1"/>
              </a:solidFill>
              <a:latin typeface="Franklin Gothic"/>
            </a:endParaRPr>
          </a:p>
          <a:p>
            <a:pPr marL="4762" lvl="3" indent="0">
              <a:lnSpc>
                <a:spcPct val="90000"/>
              </a:lnSpc>
              <a:spcAft>
                <a:spcPct val="20000"/>
              </a:spcAft>
              <a:buSzPct val="100000"/>
              <a:buNone/>
            </a:pPr>
            <a:r>
              <a:rPr lang="en-US" sz="1000" b="1" dirty="0">
                <a:solidFill>
                  <a:schemeClr val="bg1"/>
                </a:solidFill>
                <a:latin typeface="Franklin Gothic"/>
              </a:rPr>
              <a:t>3. Defining a targeted research strategy deploying different research methodologies</a:t>
            </a:r>
          </a:p>
          <a:p>
            <a:pPr lvl="3">
              <a:lnSpc>
                <a:spcPct val="90000"/>
              </a:lnSpc>
              <a:spcAft>
                <a:spcPct val="20000"/>
              </a:spcAft>
              <a:buSzPct val="100000"/>
              <a:buFont typeface="Wingdings" panose="05000000000000000000" pitchFamily="2" charset="2"/>
              <a:buChar char="§"/>
            </a:pPr>
            <a:r>
              <a:rPr lang="en-US" sz="700" b="1" u="sng" dirty="0">
                <a:solidFill>
                  <a:schemeClr val="bg1"/>
                </a:solidFill>
                <a:latin typeface="Franklin Gothic"/>
              </a:rPr>
              <a:t>Secondary research</a:t>
            </a:r>
            <a:r>
              <a:rPr lang="en-US" sz="700" dirty="0">
                <a:solidFill>
                  <a:schemeClr val="bg1"/>
                </a:solidFill>
                <a:latin typeface="Franklin Gothic"/>
              </a:rPr>
              <a:t>: </a:t>
            </a:r>
            <a:r>
              <a:rPr lang="en-US" sz="700" dirty="0" err="1">
                <a:solidFill>
                  <a:schemeClr val="bg1"/>
                </a:solidFill>
                <a:latin typeface="Franklin Gothic"/>
              </a:rPr>
              <a:t>Istat</a:t>
            </a:r>
            <a:r>
              <a:rPr lang="en-US" sz="700" dirty="0">
                <a:solidFill>
                  <a:schemeClr val="bg1"/>
                </a:solidFill>
                <a:latin typeface="Franklin Gothic"/>
              </a:rPr>
              <a:t> – Health statistics; ISS (</a:t>
            </a:r>
            <a:r>
              <a:rPr lang="en-US" sz="700" dirty="0" err="1">
                <a:solidFill>
                  <a:schemeClr val="bg1"/>
                </a:solidFill>
                <a:latin typeface="Franklin Gothic"/>
              </a:rPr>
              <a:t>Istituto</a:t>
            </a:r>
            <a:r>
              <a:rPr lang="en-US" sz="700" dirty="0">
                <a:solidFill>
                  <a:schemeClr val="bg1"/>
                </a:solidFill>
                <a:latin typeface="Franklin Gothic"/>
              </a:rPr>
              <a:t> </a:t>
            </a:r>
            <a:r>
              <a:rPr lang="en-US" sz="700" dirty="0" err="1">
                <a:solidFill>
                  <a:schemeClr val="bg1"/>
                </a:solidFill>
                <a:latin typeface="Franklin Gothic"/>
              </a:rPr>
              <a:t>Superiore</a:t>
            </a:r>
            <a:r>
              <a:rPr lang="en-US" sz="700" dirty="0">
                <a:solidFill>
                  <a:schemeClr val="bg1"/>
                </a:solidFill>
                <a:latin typeface="Franklin Gothic"/>
              </a:rPr>
              <a:t> di </a:t>
            </a:r>
            <a:r>
              <a:rPr lang="en-US" sz="700" dirty="0" err="1">
                <a:solidFill>
                  <a:schemeClr val="bg1"/>
                </a:solidFill>
                <a:latin typeface="Franklin Gothic"/>
              </a:rPr>
              <a:t>Sanita</a:t>
            </a:r>
            <a:r>
              <a:rPr lang="en-US" sz="700" dirty="0">
                <a:solidFill>
                  <a:schemeClr val="bg1"/>
                </a:solidFill>
                <a:latin typeface="Franklin Gothic"/>
              </a:rPr>
              <a:t>), hospital’s website + Press search, Public tender documents </a:t>
            </a:r>
          </a:p>
          <a:p>
            <a:pPr lvl="3">
              <a:lnSpc>
                <a:spcPct val="90000"/>
              </a:lnSpc>
              <a:spcAft>
                <a:spcPct val="20000"/>
              </a:spcAft>
              <a:buFont typeface="Wingdings" panose="05000000000000000000" pitchFamily="2" charset="2"/>
              <a:buChar char="§"/>
            </a:pPr>
            <a:r>
              <a:rPr lang="en-US" sz="700" b="1" u="sng" dirty="0">
                <a:solidFill>
                  <a:schemeClr val="bg1"/>
                </a:solidFill>
                <a:latin typeface="Franklin Gothic"/>
              </a:rPr>
              <a:t>Primary research</a:t>
            </a:r>
            <a:r>
              <a:rPr lang="en-US" sz="1000" b="1" i="1" dirty="0">
                <a:solidFill>
                  <a:schemeClr val="bg1"/>
                </a:solidFill>
                <a:latin typeface="Franklin Gothic"/>
              </a:rPr>
              <a:t> </a:t>
            </a:r>
            <a:r>
              <a:rPr lang="en-US" sz="700" dirty="0">
                <a:solidFill>
                  <a:schemeClr val="bg1"/>
                </a:solidFill>
                <a:latin typeface="Franklin Gothic"/>
              </a:rPr>
              <a:t>was also leveraged to confirm the FM operators </a:t>
            </a:r>
          </a:p>
        </p:txBody>
      </p:sp>
      <p:sp>
        <p:nvSpPr>
          <p:cNvPr id="4" name="Rectangle 4">
            <a:extLst>
              <a:ext uri="{FF2B5EF4-FFF2-40B4-BE49-F238E27FC236}">
                <a16:creationId xmlns:a16="http://schemas.microsoft.com/office/drawing/2014/main" id="{789B4017-990A-E08B-DCA3-A27F843F4675}"/>
              </a:ext>
            </a:extLst>
          </p:cNvPr>
          <p:cNvSpPr>
            <a:spLocks noChangeArrowheads="1"/>
          </p:cNvSpPr>
          <p:nvPr/>
        </p:nvSpPr>
        <p:spPr bwMode="auto">
          <a:xfrm>
            <a:off x="550863" y="2257373"/>
            <a:ext cx="986600" cy="1900520"/>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b="1" i="1" dirty="0">
                <a:solidFill>
                  <a:schemeClr val="bg2"/>
                </a:solidFill>
                <a:latin typeface="Franklin Gothic"/>
              </a:rPr>
              <a:t>Market</a:t>
            </a:r>
            <a:br>
              <a:rPr lang="en-US" sz="1200" b="1" i="1" dirty="0">
                <a:solidFill>
                  <a:schemeClr val="bg2"/>
                </a:solidFill>
                <a:latin typeface="Franklin Gothic"/>
              </a:rPr>
            </a:br>
            <a:r>
              <a:rPr lang="en-US" sz="1200" b="1" i="1" dirty="0">
                <a:solidFill>
                  <a:schemeClr val="bg2"/>
                </a:solidFill>
                <a:latin typeface="Franklin Gothic"/>
              </a:rPr>
              <a:t>analysis </a:t>
            </a:r>
          </a:p>
        </p:txBody>
      </p:sp>
      <p:sp>
        <p:nvSpPr>
          <p:cNvPr id="11" name="Rectangle 6">
            <a:extLst>
              <a:ext uri="{FF2B5EF4-FFF2-40B4-BE49-F238E27FC236}">
                <a16:creationId xmlns:a16="http://schemas.microsoft.com/office/drawing/2014/main" id="{D119B8F7-BFD6-1458-D901-730064B4812C}"/>
              </a:ext>
            </a:extLst>
          </p:cNvPr>
          <p:cNvSpPr>
            <a:spLocks noChangeArrowheads="1"/>
          </p:cNvSpPr>
          <p:nvPr/>
        </p:nvSpPr>
        <p:spPr bwMode="auto">
          <a:xfrm>
            <a:off x="550863" y="1899285"/>
            <a:ext cx="986600" cy="19261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lnSpc>
                <a:spcPct val="75000"/>
              </a:lnSpc>
              <a:spcAft>
                <a:spcPct val="20000"/>
              </a:spcAft>
              <a:buFont typeface="Arial" charset="0"/>
              <a:buNone/>
            </a:pPr>
            <a:r>
              <a:rPr lang="en-US" b="1" dirty="0">
                <a:solidFill>
                  <a:schemeClr val="bg2"/>
                </a:solidFill>
                <a:latin typeface="Franklin Gothic"/>
              </a:rPr>
              <a:t>Type</a:t>
            </a:r>
          </a:p>
        </p:txBody>
      </p:sp>
      <p:sp>
        <p:nvSpPr>
          <p:cNvPr id="22" name="Rectangle 4">
            <a:extLst>
              <a:ext uri="{FF2B5EF4-FFF2-40B4-BE49-F238E27FC236}">
                <a16:creationId xmlns:a16="http://schemas.microsoft.com/office/drawing/2014/main" id="{773780BC-9ADF-6831-1B51-19E44C6354DA}"/>
              </a:ext>
            </a:extLst>
          </p:cNvPr>
          <p:cNvSpPr>
            <a:spLocks noChangeArrowheads="1"/>
          </p:cNvSpPr>
          <p:nvPr/>
        </p:nvSpPr>
        <p:spPr bwMode="auto">
          <a:xfrm>
            <a:off x="550863" y="4413364"/>
            <a:ext cx="986600" cy="188820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b="1" i="1" dirty="0">
                <a:solidFill>
                  <a:schemeClr val="bg2"/>
                </a:solidFill>
                <a:latin typeface="Franklin Gothic"/>
              </a:rPr>
              <a:t>Market regulation analysis </a:t>
            </a:r>
          </a:p>
        </p:txBody>
      </p:sp>
      <p:sp>
        <p:nvSpPr>
          <p:cNvPr id="15" name="Rectangle 6">
            <a:extLst>
              <a:ext uri="{FF2B5EF4-FFF2-40B4-BE49-F238E27FC236}">
                <a16:creationId xmlns:a16="http://schemas.microsoft.com/office/drawing/2014/main" id="{EAA733AE-D59A-7B99-FABF-7BE07B646657}"/>
              </a:ext>
            </a:extLst>
          </p:cNvPr>
          <p:cNvSpPr>
            <a:spLocks noChangeArrowheads="1"/>
          </p:cNvSpPr>
          <p:nvPr/>
        </p:nvSpPr>
        <p:spPr bwMode="auto">
          <a:xfrm>
            <a:off x="1743298" y="1899285"/>
            <a:ext cx="986600" cy="19261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lnSpc>
                <a:spcPct val="75000"/>
              </a:lnSpc>
              <a:spcAft>
                <a:spcPct val="20000"/>
              </a:spcAft>
              <a:buFont typeface="Arial" charset="0"/>
              <a:buNone/>
            </a:pPr>
            <a:r>
              <a:rPr lang="en-US" b="1" dirty="0">
                <a:solidFill>
                  <a:schemeClr val="bg2"/>
                </a:solidFill>
                <a:latin typeface="Franklin Gothic"/>
              </a:rPr>
              <a:t>Topic</a:t>
            </a:r>
          </a:p>
        </p:txBody>
      </p:sp>
      <p:sp>
        <p:nvSpPr>
          <p:cNvPr id="16" name="Rectangle 4">
            <a:extLst>
              <a:ext uri="{FF2B5EF4-FFF2-40B4-BE49-F238E27FC236}">
                <a16:creationId xmlns:a16="http://schemas.microsoft.com/office/drawing/2014/main" id="{B6C50E40-B650-C097-8B5E-19F61BD47C2A}"/>
              </a:ext>
            </a:extLst>
          </p:cNvPr>
          <p:cNvSpPr>
            <a:spLocks noChangeArrowheads="1"/>
          </p:cNvSpPr>
          <p:nvPr/>
        </p:nvSpPr>
        <p:spPr bwMode="auto">
          <a:xfrm>
            <a:off x="1743298" y="2257373"/>
            <a:ext cx="986600" cy="1900520"/>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b="1" dirty="0">
                <a:latin typeface="Franklin Gothic"/>
              </a:rPr>
              <a:t>Facility Management services for hospitals</a:t>
            </a:r>
          </a:p>
        </p:txBody>
      </p:sp>
      <p:sp>
        <p:nvSpPr>
          <p:cNvPr id="23" name="Rectangle 4">
            <a:extLst>
              <a:ext uri="{FF2B5EF4-FFF2-40B4-BE49-F238E27FC236}">
                <a16:creationId xmlns:a16="http://schemas.microsoft.com/office/drawing/2014/main" id="{44EC52D7-AC76-C040-ACC1-DA69D9BFA009}"/>
              </a:ext>
            </a:extLst>
          </p:cNvPr>
          <p:cNvSpPr>
            <a:spLocks noChangeArrowheads="1"/>
          </p:cNvSpPr>
          <p:nvPr/>
        </p:nvSpPr>
        <p:spPr bwMode="auto">
          <a:xfrm>
            <a:off x="1743298" y="4413364"/>
            <a:ext cx="986600" cy="188820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b="1" dirty="0">
                <a:latin typeface="Franklin Gothic"/>
              </a:rPr>
              <a:t>Information security and data regulation for the banking sector in Egypt</a:t>
            </a:r>
          </a:p>
        </p:txBody>
      </p:sp>
      <p:sp>
        <p:nvSpPr>
          <p:cNvPr id="6" name="Rectangle 6">
            <a:extLst>
              <a:ext uri="{FF2B5EF4-FFF2-40B4-BE49-F238E27FC236}">
                <a16:creationId xmlns:a16="http://schemas.microsoft.com/office/drawing/2014/main" id="{B6BF699C-603A-3959-42B8-501CC42619F6}"/>
              </a:ext>
            </a:extLst>
          </p:cNvPr>
          <p:cNvSpPr>
            <a:spLocks noChangeArrowheads="1"/>
          </p:cNvSpPr>
          <p:nvPr/>
        </p:nvSpPr>
        <p:spPr bwMode="auto">
          <a:xfrm>
            <a:off x="2935734" y="1899285"/>
            <a:ext cx="3707447" cy="19261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lnSpc>
                <a:spcPct val="75000"/>
              </a:lnSpc>
              <a:spcAft>
                <a:spcPct val="20000"/>
              </a:spcAft>
              <a:buFont typeface="Arial" charset="0"/>
              <a:buNone/>
            </a:pPr>
            <a:r>
              <a:rPr lang="en-US" b="1" dirty="0">
                <a:solidFill>
                  <a:schemeClr val="bg2"/>
                </a:solidFill>
                <a:latin typeface="Franklin Gothic"/>
              </a:rPr>
              <a:t>Request</a:t>
            </a:r>
          </a:p>
        </p:txBody>
      </p:sp>
      <p:sp>
        <p:nvSpPr>
          <p:cNvPr id="17" name="Rectangle 4">
            <a:extLst>
              <a:ext uri="{FF2B5EF4-FFF2-40B4-BE49-F238E27FC236}">
                <a16:creationId xmlns:a16="http://schemas.microsoft.com/office/drawing/2014/main" id="{57133AD9-230C-44DB-D3D4-404AA84BBBBE}"/>
              </a:ext>
            </a:extLst>
          </p:cNvPr>
          <p:cNvSpPr>
            <a:spLocks noChangeArrowheads="1"/>
          </p:cNvSpPr>
          <p:nvPr/>
        </p:nvSpPr>
        <p:spPr bwMode="auto">
          <a:xfrm>
            <a:off x="2935734" y="2257373"/>
            <a:ext cx="3707447" cy="1900520"/>
          </a:xfrm>
          <a:prstGeom prst="rect">
            <a:avLst/>
          </a:prstGeom>
          <a:noFill/>
          <a:ln w="3175">
            <a:noFill/>
            <a:miter lim="800000"/>
            <a:headEnd/>
            <a:tailEnd/>
          </a:ln>
          <a:effectLst/>
          <a:extLst>
            <a:ext uri="{909E8E84-426E-40DD-AFC4-6F175D3DCCD1}">
              <a14:hiddenFill xmlns:a14="http://schemas.microsoft.com/office/drawing/2010/main">
                <a:solidFill>
                  <a:schemeClr val="hlink"/>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Aft>
                <a:spcPts val="300"/>
              </a:spcAft>
            </a:pPr>
            <a:r>
              <a:rPr lang="en-US" sz="1200" dirty="0">
                <a:latin typeface="Franklin Gothic"/>
              </a:rPr>
              <a:t>We are interested </a:t>
            </a:r>
            <a:r>
              <a:rPr lang="en-US" sz="1200" b="1" dirty="0">
                <a:latin typeface="Franklin Gothic"/>
              </a:rPr>
              <a:t>in understanding:</a:t>
            </a:r>
          </a:p>
          <a:p>
            <a:pPr marL="171450" indent="-171450">
              <a:spcAft>
                <a:spcPts val="300"/>
              </a:spcAft>
              <a:buClr>
                <a:schemeClr val="bg2"/>
              </a:buClr>
              <a:buFont typeface="Wingdings" panose="05000000000000000000" pitchFamily="2" charset="2"/>
              <a:buChar char="§"/>
            </a:pPr>
            <a:r>
              <a:rPr lang="en-US" sz="1200" dirty="0">
                <a:latin typeface="Franklin Gothic"/>
              </a:rPr>
              <a:t>The contracts for Facility Management activities (both hard and soft), </a:t>
            </a:r>
          </a:p>
          <a:p>
            <a:pPr marL="171450" indent="-171450">
              <a:spcAft>
                <a:spcPts val="300"/>
              </a:spcAft>
              <a:buClr>
                <a:schemeClr val="bg2"/>
              </a:buClr>
              <a:buFont typeface="Wingdings" panose="05000000000000000000" pitchFamily="2" charset="2"/>
              <a:buChar char="§"/>
            </a:pPr>
            <a:r>
              <a:rPr lang="en-US" sz="1200" dirty="0">
                <a:latin typeface="Franklin Gothic"/>
              </a:rPr>
              <a:t>Their end date/renovation date for each of the hospitals and</a:t>
            </a:r>
          </a:p>
          <a:p>
            <a:pPr marL="171450" indent="-171450">
              <a:spcAft>
                <a:spcPts val="300"/>
              </a:spcAft>
              <a:buClr>
                <a:schemeClr val="bg2"/>
              </a:buClr>
              <a:buFont typeface="Wingdings" panose="05000000000000000000" pitchFamily="2" charset="2"/>
              <a:buChar char="§"/>
            </a:pPr>
            <a:r>
              <a:rPr lang="en-US" sz="1200" dirty="0">
                <a:latin typeface="Franklin Gothic"/>
              </a:rPr>
              <a:t>(If possible) the player who is handling it</a:t>
            </a:r>
          </a:p>
        </p:txBody>
      </p:sp>
      <p:sp>
        <p:nvSpPr>
          <p:cNvPr id="24" name="Rectangle 4">
            <a:extLst>
              <a:ext uri="{FF2B5EF4-FFF2-40B4-BE49-F238E27FC236}">
                <a16:creationId xmlns:a16="http://schemas.microsoft.com/office/drawing/2014/main" id="{03296887-B3E1-8BF6-8B2D-397B169E3920}"/>
              </a:ext>
            </a:extLst>
          </p:cNvPr>
          <p:cNvSpPr>
            <a:spLocks noChangeArrowheads="1"/>
          </p:cNvSpPr>
          <p:nvPr/>
        </p:nvSpPr>
        <p:spPr bwMode="auto">
          <a:xfrm>
            <a:off x="2935734" y="4413364"/>
            <a:ext cx="3707447" cy="1815882"/>
          </a:xfrm>
          <a:prstGeom prst="rect">
            <a:avLst/>
          </a:prstGeom>
          <a:noFill/>
          <a:ln w="3175">
            <a:noFill/>
            <a:miter lim="800000"/>
            <a:headEnd/>
            <a:tailEnd/>
          </a:ln>
          <a:effectLst/>
          <a:extLst>
            <a:ext uri="{909E8E84-426E-40DD-AFC4-6F175D3DCCD1}">
              <a14:hiddenFill xmlns:a14="http://schemas.microsoft.com/office/drawing/2010/main">
                <a:solidFill>
                  <a:schemeClr val="hlink"/>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spcAft>
                <a:spcPts val="300"/>
              </a:spcAft>
              <a:buClr>
                <a:schemeClr val="tx2"/>
              </a:buClr>
            </a:pPr>
            <a:r>
              <a:rPr lang="en-US" sz="1200" dirty="0">
                <a:latin typeface="Franklin Gothic"/>
              </a:rPr>
              <a:t>We are </a:t>
            </a:r>
            <a:r>
              <a:rPr lang="en-US" sz="1200" b="1" dirty="0">
                <a:latin typeface="Franklin Gothic"/>
              </a:rPr>
              <a:t>building a perspective </a:t>
            </a:r>
            <a:r>
              <a:rPr lang="en-US" sz="1200" dirty="0">
                <a:latin typeface="Franklin Gothic"/>
              </a:rPr>
              <a:t>on the Central bank of Egypt’s regulations about data usage and information security.</a:t>
            </a:r>
          </a:p>
          <a:p>
            <a:pPr defTabSz="895350">
              <a:spcAft>
                <a:spcPts val="300"/>
              </a:spcAft>
              <a:buClr>
                <a:schemeClr val="tx2"/>
              </a:buClr>
            </a:pPr>
            <a:r>
              <a:rPr lang="en-US" sz="1200" dirty="0">
                <a:latin typeface="Franklin Gothic"/>
              </a:rPr>
              <a:t>We are looking for a view on:</a:t>
            </a:r>
          </a:p>
          <a:p>
            <a:pPr marL="171450" indent="-171450" defTabSz="895350">
              <a:spcAft>
                <a:spcPts val="300"/>
              </a:spcAft>
              <a:buClr>
                <a:schemeClr val="bg2"/>
              </a:buClr>
              <a:buFont typeface="Wingdings" panose="05000000000000000000" pitchFamily="2" charset="2"/>
              <a:buChar char="§"/>
            </a:pPr>
            <a:r>
              <a:rPr lang="en-US" sz="1200" dirty="0">
                <a:latin typeface="Franklin Gothic"/>
              </a:rPr>
              <a:t>Data Regulations for banks in Egypt</a:t>
            </a:r>
          </a:p>
          <a:p>
            <a:pPr marL="171450" indent="-171450" defTabSz="895350">
              <a:spcAft>
                <a:spcPts val="300"/>
              </a:spcAft>
              <a:buClr>
                <a:schemeClr val="bg2"/>
              </a:buClr>
              <a:buFont typeface="Wingdings" panose="05000000000000000000" pitchFamily="2" charset="2"/>
              <a:buChar char="§"/>
            </a:pPr>
            <a:r>
              <a:rPr lang="en-US" sz="1200" dirty="0">
                <a:latin typeface="Franklin Gothic"/>
              </a:rPr>
              <a:t>Guidelines and requirements that banks should follow to use data</a:t>
            </a:r>
          </a:p>
          <a:p>
            <a:pPr marL="171450" indent="-171450" defTabSz="895350">
              <a:spcAft>
                <a:spcPts val="300"/>
              </a:spcAft>
              <a:buClr>
                <a:schemeClr val="bg2"/>
              </a:buClr>
              <a:buFont typeface="Wingdings" panose="05000000000000000000" pitchFamily="2" charset="2"/>
              <a:buChar char="§"/>
            </a:pPr>
            <a:r>
              <a:rPr lang="en-US" sz="1200" dirty="0">
                <a:latin typeface="Franklin Gothic"/>
              </a:rPr>
              <a:t>Information security framework to be followed by banks and financial institutions </a:t>
            </a:r>
          </a:p>
        </p:txBody>
      </p:sp>
      <p:sp>
        <p:nvSpPr>
          <p:cNvPr id="26" name="Rectangle 10">
            <a:extLst>
              <a:ext uri="{FF2B5EF4-FFF2-40B4-BE49-F238E27FC236}">
                <a16:creationId xmlns:a16="http://schemas.microsoft.com/office/drawing/2014/main" id="{1CA7830C-C241-1AE4-F748-0B2A6B6F5948}"/>
              </a:ext>
            </a:extLst>
          </p:cNvPr>
          <p:cNvSpPr>
            <a:spLocks noChangeArrowheads="1"/>
          </p:cNvSpPr>
          <p:nvPr/>
        </p:nvSpPr>
        <p:spPr bwMode="auto">
          <a:xfrm>
            <a:off x="8318261" y="4413364"/>
            <a:ext cx="3322737" cy="188820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4762" lvl="3" indent="0">
              <a:lnSpc>
                <a:spcPct val="90000"/>
              </a:lnSpc>
              <a:spcAft>
                <a:spcPct val="20000"/>
              </a:spcAft>
              <a:buNone/>
            </a:pPr>
            <a:r>
              <a:rPr lang="en-US" sz="1000" b="1" dirty="0">
                <a:solidFill>
                  <a:schemeClr val="bg1"/>
                </a:solidFill>
                <a:latin typeface="Franklin Gothic"/>
              </a:rPr>
              <a:t>1. Clarifying the objective of the research </a:t>
            </a:r>
          </a:p>
          <a:p>
            <a:pPr lvl="3">
              <a:lnSpc>
                <a:spcPct val="90000"/>
              </a:lnSpc>
              <a:spcAft>
                <a:spcPct val="20000"/>
              </a:spcAft>
              <a:buFont typeface="Wingdings" panose="05000000000000000000" pitchFamily="2" charset="2"/>
              <a:buChar char="§"/>
            </a:pPr>
            <a:r>
              <a:rPr lang="en-US" sz="700" i="1" u="sng" dirty="0">
                <a:solidFill>
                  <a:schemeClr val="bg1"/>
                </a:solidFill>
                <a:latin typeface="Franklin Gothic"/>
              </a:rPr>
              <a:t>Underlying question is</a:t>
            </a:r>
            <a:r>
              <a:rPr lang="en-US" sz="700" i="1" dirty="0">
                <a:solidFill>
                  <a:schemeClr val="bg1"/>
                </a:solidFill>
                <a:latin typeface="Franklin Gothic"/>
              </a:rPr>
              <a:t>: How can banks use and monetize the data they have ? </a:t>
            </a:r>
          </a:p>
          <a:p>
            <a:pPr marL="4762" lvl="3" indent="0">
              <a:lnSpc>
                <a:spcPct val="90000"/>
              </a:lnSpc>
              <a:spcAft>
                <a:spcPct val="20000"/>
              </a:spcAft>
              <a:buNone/>
            </a:pPr>
            <a:endParaRPr lang="en-US" sz="700" i="1" dirty="0">
              <a:solidFill>
                <a:schemeClr val="bg1"/>
              </a:solidFill>
              <a:latin typeface="Franklin Gothic"/>
            </a:endParaRPr>
          </a:p>
          <a:p>
            <a:pPr marL="4762" lvl="3" indent="0">
              <a:lnSpc>
                <a:spcPct val="90000"/>
              </a:lnSpc>
              <a:spcAft>
                <a:spcPct val="20000"/>
              </a:spcAft>
              <a:buNone/>
            </a:pPr>
            <a:r>
              <a:rPr lang="en-US" sz="1000" b="1" dirty="0">
                <a:solidFill>
                  <a:schemeClr val="bg1"/>
                </a:solidFill>
                <a:latin typeface="Franklin Gothic"/>
              </a:rPr>
              <a:t>2. Mapping the regulations by the CBE around the use of customer data </a:t>
            </a:r>
          </a:p>
          <a:p>
            <a:pPr lvl="3">
              <a:lnSpc>
                <a:spcPct val="90000"/>
              </a:lnSpc>
              <a:spcAft>
                <a:spcPct val="20000"/>
              </a:spcAft>
              <a:buFont typeface="Wingdings" panose="05000000000000000000" pitchFamily="2" charset="2"/>
              <a:buChar char="§"/>
            </a:pPr>
            <a:r>
              <a:rPr lang="en-US" sz="700" i="1" dirty="0">
                <a:solidFill>
                  <a:schemeClr val="bg1"/>
                </a:solidFill>
                <a:latin typeface="Franklin Gothic"/>
              </a:rPr>
              <a:t>Protection of Banks’ customer data, Clients rights protection law) </a:t>
            </a:r>
          </a:p>
          <a:p>
            <a:pPr lvl="3">
              <a:lnSpc>
                <a:spcPct val="90000"/>
              </a:lnSpc>
              <a:spcAft>
                <a:spcPct val="20000"/>
              </a:spcAft>
              <a:buFont typeface="Arial" panose="020B0604020202020204" pitchFamily="34" charset="0"/>
              <a:buChar char="•"/>
            </a:pPr>
            <a:endParaRPr lang="en-US" sz="700" i="1" dirty="0">
              <a:solidFill>
                <a:schemeClr val="bg1"/>
              </a:solidFill>
              <a:latin typeface="Franklin Gothic"/>
            </a:endParaRPr>
          </a:p>
          <a:p>
            <a:pPr marL="4762" lvl="3" indent="0">
              <a:lnSpc>
                <a:spcPct val="90000"/>
              </a:lnSpc>
              <a:spcAft>
                <a:spcPct val="20000"/>
              </a:spcAft>
              <a:buNone/>
            </a:pPr>
            <a:r>
              <a:rPr lang="en-US" sz="1000" b="1" dirty="0">
                <a:solidFill>
                  <a:schemeClr val="bg1"/>
                </a:solidFill>
                <a:latin typeface="Franklin Gothic"/>
              </a:rPr>
              <a:t>3. Getting the perspective on regulations regarding customer data usage within the telco sector</a:t>
            </a:r>
          </a:p>
          <a:p>
            <a:pPr marL="4762" lvl="3" indent="0">
              <a:lnSpc>
                <a:spcPct val="90000"/>
              </a:lnSpc>
              <a:spcAft>
                <a:spcPct val="20000"/>
              </a:spcAft>
              <a:buNone/>
            </a:pPr>
            <a:r>
              <a:rPr lang="en-US" sz="1000" b="1" dirty="0">
                <a:solidFill>
                  <a:schemeClr val="bg1"/>
                </a:solidFill>
                <a:latin typeface="Franklin Gothic"/>
              </a:rPr>
              <a:t>How ? </a:t>
            </a:r>
          </a:p>
          <a:p>
            <a:pPr marL="4762" lvl="3" indent="0">
              <a:lnSpc>
                <a:spcPct val="90000"/>
              </a:lnSpc>
              <a:spcAft>
                <a:spcPct val="20000"/>
              </a:spcAft>
              <a:buNone/>
            </a:pPr>
            <a:endParaRPr lang="en-US" sz="1000" b="1" dirty="0">
              <a:solidFill>
                <a:schemeClr val="bg1"/>
              </a:solidFill>
              <a:latin typeface="Franklin Gothic"/>
            </a:endParaRPr>
          </a:p>
          <a:p>
            <a:pPr marL="4762" lvl="3" indent="0">
              <a:lnSpc>
                <a:spcPct val="90000"/>
              </a:lnSpc>
              <a:spcAft>
                <a:spcPct val="20000"/>
              </a:spcAft>
              <a:buNone/>
            </a:pPr>
            <a:r>
              <a:rPr lang="en-US" sz="700" i="1" dirty="0">
                <a:solidFill>
                  <a:schemeClr val="bg1"/>
                </a:solidFill>
                <a:latin typeface="Franklin Gothic"/>
              </a:rPr>
              <a:t>For the above, </a:t>
            </a:r>
            <a:r>
              <a:rPr lang="en-US" sz="700" b="1" i="1" dirty="0">
                <a:solidFill>
                  <a:schemeClr val="bg1"/>
                </a:solidFill>
                <a:latin typeface="Franklin Gothic"/>
              </a:rPr>
              <a:t>secondary research </a:t>
            </a:r>
            <a:r>
              <a:rPr lang="en-US" sz="700" i="1" dirty="0">
                <a:solidFill>
                  <a:schemeClr val="bg1"/>
                </a:solidFill>
                <a:latin typeface="Franklin Gothic"/>
              </a:rPr>
              <a:t>has been conducted leveraging the relevant authorities' websites (CBE, Financial Regulatory Authority, National Telecommunications Regulation Authority)</a:t>
            </a:r>
          </a:p>
        </p:txBody>
      </p:sp>
      <p:sp>
        <p:nvSpPr>
          <p:cNvPr id="13" name="Google Shape;1446;p9">
            <a:extLst>
              <a:ext uri="{FF2B5EF4-FFF2-40B4-BE49-F238E27FC236}">
                <a16:creationId xmlns:a16="http://schemas.microsoft.com/office/drawing/2014/main" id="{8DCE1FA3-78F3-162F-C315-1B190F474AB9}"/>
              </a:ext>
            </a:extLst>
          </p:cNvPr>
          <p:cNvSpPr txBox="1"/>
          <p:nvPr/>
        </p:nvSpPr>
        <p:spPr>
          <a:xfrm>
            <a:off x="10528915" y="270785"/>
            <a:ext cx="634113"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chemeClr val="bg1"/>
                </a:solidFill>
                <a:latin typeface="Franklin Gothic"/>
                <a:ea typeface="Franklin Gothic"/>
                <a:cs typeface="Franklin Gothic"/>
                <a:sym typeface="Franklin Gothic"/>
              </a:rPr>
              <a:t>Research</a:t>
            </a:r>
            <a:endParaRPr sz="1400" b="0" i="0" u="none" strike="noStrike" cap="none" dirty="0">
              <a:solidFill>
                <a:schemeClr val="bg1"/>
              </a:solidFill>
              <a:latin typeface="Arial"/>
              <a:ea typeface="Arial"/>
              <a:cs typeface="Arial"/>
              <a:sym typeface="Arial"/>
            </a:endParaRPr>
          </a:p>
        </p:txBody>
      </p:sp>
      <p:grpSp>
        <p:nvGrpSpPr>
          <p:cNvPr id="29" name="Group 28">
            <a:extLst>
              <a:ext uri="{FF2B5EF4-FFF2-40B4-BE49-F238E27FC236}">
                <a16:creationId xmlns:a16="http://schemas.microsoft.com/office/drawing/2014/main" id="{459D7C2D-2892-A72B-EA03-33BC54C6C6D9}"/>
              </a:ext>
            </a:extLst>
          </p:cNvPr>
          <p:cNvGrpSpPr/>
          <p:nvPr/>
        </p:nvGrpSpPr>
        <p:grpSpPr>
          <a:xfrm>
            <a:off x="11195685" y="146183"/>
            <a:ext cx="401030" cy="403092"/>
            <a:chOff x="11195685" y="146183"/>
            <a:chExt cx="401030" cy="403092"/>
          </a:xfrm>
        </p:grpSpPr>
        <p:sp>
          <p:nvSpPr>
            <p:cNvPr id="19" name="Google Shape;1447;p9">
              <a:extLst>
                <a:ext uri="{FF2B5EF4-FFF2-40B4-BE49-F238E27FC236}">
                  <a16:creationId xmlns:a16="http://schemas.microsoft.com/office/drawing/2014/main" id="{48AA774F-F7CB-D966-D771-523629F527EA}"/>
                </a:ext>
              </a:extLst>
            </p:cNvPr>
            <p:cNvSpPr/>
            <p:nvPr/>
          </p:nvSpPr>
          <p:spPr>
            <a:xfrm>
              <a:off x="11195685" y="146183"/>
              <a:ext cx="401030" cy="403092"/>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28" name="Graphic 27">
              <a:extLst>
                <a:ext uri="{FF2B5EF4-FFF2-40B4-BE49-F238E27FC236}">
                  <a16:creationId xmlns:a16="http://schemas.microsoft.com/office/drawing/2014/main" id="{9E0BC414-732C-FCE7-6C57-B0BA08F7E3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74669" y="226198"/>
              <a:ext cx="243062" cy="243062"/>
            </a:xfrm>
            <a:prstGeom prst="rect">
              <a:avLst/>
            </a:prstGeom>
          </p:spPr>
        </p:pic>
      </p:grpSp>
      <p:sp>
        <p:nvSpPr>
          <p:cNvPr id="5" name="Line 5">
            <a:extLst>
              <a:ext uri="{FF2B5EF4-FFF2-40B4-BE49-F238E27FC236}">
                <a16:creationId xmlns:a16="http://schemas.microsoft.com/office/drawing/2014/main" id="{5BBEC221-130D-3946-E231-E44B9D77DE66}"/>
              </a:ext>
            </a:extLst>
          </p:cNvPr>
          <p:cNvSpPr>
            <a:spLocks noChangeShapeType="1"/>
          </p:cNvSpPr>
          <p:nvPr/>
        </p:nvSpPr>
        <p:spPr bwMode="auto">
          <a:xfrm>
            <a:off x="550863" y="2129638"/>
            <a:ext cx="7261226" cy="0"/>
          </a:xfrm>
          <a:prstGeom prst="line">
            <a:avLst/>
          </a:prstGeom>
          <a:ln w="19050">
            <a:solidFill>
              <a:schemeClr val="bg2"/>
            </a:solidFill>
            <a:prstDash val="soli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pPr algn="ctr"/>
            <a:endParaRPr lang="en-US" sz="1100" dirty="0">
              <a:solidFill>
                <a:schemeClr val="tx1"/>
              </a:solidFill>
              <a:latin typeface="+mj-lt"/>
              <a:ea typeface="+mn-ea"/>
              <a:cs typeface="+mn-cs"/>
            </a:endParaRPr>
          </a:p>
        </p:txBody>
      </p:sp>
      <p:sp>
        <p:nvSpPr>
          <p:cNvPr id="10" name="Line 11">
            <a:extLst>
              <a:ext uri="{FF2B5EF4-FFF2-40B4-BE49-F238E27FC236}">
                <a16:creationId xmlns:a16="http://schemas.microsoft.com/office/drawing/2014/main" id="{D685EF3A-6468-8B56-6E7D-890CC61355DD}"/>
              </a:ext>
            </a:extLst>
          </p:cNvPr>
          <p:cNvSpPr>
            <a:spLocks noChangeShapeType="1"/>
          </p:cNvSpPr>
          <p:nvPr/>
        </p:nvSpPr>
        <p:spPr bwMode="auto">
          <a:xfrm>
            <a:off x="550863" y="4285630"/>
            <a:ext cx="7261226" cy="0"/>
          </a:xfrm>
          <a:prstGeom prst="line">
            <a:avLst/>
          </a:prstGeom>
          <a:ln>
            <a:solidFill>
              <a:schemeClr val="tx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endParaRPr lang="en-US" sz="1050" dirty="0">
              <a:solidFill>
                <a:schemeClr val="tx1"/>
              </a:solidFill>
              <a:latin typeface="+mj-lt"/>
              <a:ea typeface="+mn-ea"/>
              <a:cs typeface="+mn-cs"/>
            </a:endParaRPr>
          </a:p>
        </p:txBody>
      </p:sp>
      <p:sp>
        <p:nvSpPr>
          <p:cNvPr id="39" name="Line 5">
            <a:extLst>
              <a:ext uri="{FF2B5EF4-FFF2-40B4-BE49-F238E27FC236}">
                <a16:creationId xmlns:a16="http://schemas.microsoft.com/office/drawing/2014/main" id="{B078075E-AB58-CE9B-9939-C250BB073A14}"/>
              </a:ext>
            </a:extLst>
          </p:cNvPr>
          <p:cNvSpPr>
            <a:spLocks noChangeShapeType="1"/>
          </p:cNvSpPr>
          <p:nvPr/>
        </p:nvSpPr>
        <p:spPr bwMode="auto">
          <a:xfrm>
            <a:off x="8318260" y="2129638"/>
            <a:ext cx="3322738" cy="0"/>
          </a:xfrm>
          <a:prstGeom prst="line">
            <a:avLst/>
          </a:prstGeom>
          <a:ln w="19050">
            <a:solidFill>
              <a:schemeClr val="bg1"/>
            </a:solidFill>
            <a:prstDash val="soli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pPr algn="ctr"/>
            <a:endParaRPr lang="en-US" sz="1100" dirty="0">
              <a:solidFill>
                <a:schemeClr val="tx1"/>
              </a:solidFill>
              <a:latin typeface="+mj-lt"/>
              <a:ea typeface="+mn-ea"/>
              <a:cs typeface="+mn-cs"/>
            </a:endParaRPr>
          </a:p>
        </p:txBody>
      </p:sp>
      <p:sp>
        <p:nvSpPr>
          <p:cNvPr id="40" name="Line 11">
            <a:extLst>
              <a:ext uri="{FF2B5EF4-FFF2-40B4-BE49-F238E27FC236}">
                <a16:creationId xmlns:a16="http://schemas.microsoft.com/office/drawing/2014/main" id="{8D6129C6-7F7A-D08D-7B14-0A395D44118E}"/>
              </a:ext>
            </a:extLst>
          </p:cNvPr>
          <p:cNvSpPr>
            <a:spLocks noChangeShapeType="1"/>
          </p:cNvSpPr>
          <p:nvPr/>
        </p:nvSpPr>
        <p:spPr bwMode="auto">
          <a:xfrm>
            <a:off x="8318260" y="4285630"/>
            <a:ext cx="3322738" cy="0"/>
          </a:xfrm>
          <a:prstGeom prst="line">
            <a:avLst/>
          </a:prstGeom>
          <a:ln>
            <a:solidFill>
              <a:schemeClr val="bg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endParaRPr lang="en-US" sz="1050" dirty="0">
              <a:solidFill>
                <a:schemeClr val="tx1"/>
              </a:solidFill>
              <a:latin typeface="+mj-lt"/>
              <a:ea typeface="+mn-ea"/>
              <a:cs typeface="+mn-cs"/>
            </a:endParaRPr>
          </a:p>
        </p:txBody>
      </p:sp>
      <p:sp>
        <p:nvSpPr>
          <p:cNvPr id="41" name="Rectangle 6">
            <a:extLst>
              <a:ext uri="{FF2B5EF4-FFF2-40B4-BE49-F238E27FC236}">
                <a16:creationId xmlns:a16="http://schemas.microsoft.com/office/drawing/2014/main" id="{673E8800-FF2C-9484-254F-4701E577105F}"/>
              </a:ext>
            </a:extLst>
          </p:cNvPr>
          <p:cNvSpPr>
            <a:spLocks noChangeArrowheads="1"/>
          </p:cNvSpPr>
          <p:nvPr/>
        </p:nvSpPr>
        <p:spPr bwMode="auto">
          <a:xfrm>
            <a:off x="6849017" y="1899285"/>
            <a:ext cx="757237" cy="19261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lgn="ctr">
              <a:lnSpc>
                <a:spcPct val="75000"/>
              </a:lnSpc>
              <a:spcAft>
                <a:spcPct val="20000"/>
              </a:spcAft>
              <a:buFont typeface="Arial" charset="0"/>
              <a:buNone/>
            </a:pPr>
            <a:r>
              <a:rPr lang="en-US" b="1" dirty="0">
                <a:solidFill>
                  <a:schemeClr val="bg2"/>
                </a:solidFill>
                <a:latin typeface="Franklin Gothic"/>
              </a:rPr>
              <a:t>Office</a:t>
            </a:r>
          </a:p>
        </p:txBody>
      </p:sp>
      <p:pic>
        <p:nvPicPr>
          <p:cNvPr id="31" name="Picture 30">
            <a:extLst>
              <a:ext uri="{FF2B5EF4-FFF2-40B4-BE49-F238E27FC236}">
                <a16:creationId xmlns:a16="http://schemas.microsoft.com/office/drawing/2014/main" id="{8876D2A8-51F6-37C4-10FD-D59A0A36F81D}"/>
              </a:ext>
            </a:extLst>
          </p:cNvPr>
          <p:cNvPicPr>
            <a:picLocks noChangeAspect="1"/>
          </p:cNvPicPr>
          <p:nvPr/>
        </p:nvPicPr>
        <p:blipFill>
          <a:blip r:embed="rId8"/>
          <a:stretch>
            <a:fillRect/>
          </a:stretch>
        </p:blipFill>
        <p:spPr>
          <a:xfrm>
            <a:off x="6922534" y="2970359"/>
            <a:ext cx="713118" cy="474548"/>
          </a:xfrm>
          <a:prstGeom prst="rect">
            <a:avLst/>
          </a:prstGeom>
        </p:spPr>
      </p:pic>
      <p:pic>
        <p:nvPicPr>
          <p:cNvPr id="32" name="Picture 31">
            <a:extLst>
              <a:ext uri="{FF2B5EF4-FFF2-40B4-BE49-F238E27FC236}">
                <a16:creationId xmlns:a16="http://schemas.microsoft.com/office/drawing/2014/main" id="{EE8744C7-729A-9A5A-B10E-528FC01DF7DB}"/>
              </a:ext>
            </a:extLst>
          </p:cNvPr>
          <p:cNvPicPr>
            <a:picLocks noChangeAspect="1"/>
          </p:cNvPicPr>
          <p:nvPr/>
        </p:nvPicPr>
        <p:blipFill>
          <a:blip r:embed="rId9"/>
          <a:stretch>
            <a:fillRect/>
          </a:stretch>
        </p:blipFill>
        <p:spPr>
          <a:xfrm>
            <a:off x="6922547" y="5119724"/>
            <a:ext cx="713093" cy="475488"/>
          </a:xfrm>
          <a:prstGeom prst="rect">
            <a:avLst/>
          </a:prstGeom>
        </p:spPr>
      </p:pic>
      <p:sp>
        <p:nvSpPr>
          <p:cNvPr id="18" name="Freeform: Shape 17">
            <a:extLst>
              <a:ext uri="{FF2B5EF4-FFF2-40B4-BE49-F238E27FC236}">
                <a16:creationId xmlns:a16="http://schemas.microsoft.com/office/drawing/2014/main" id="{41E8099D-EE5F-5996-2F93-90B438B6C86C}"/>
              </a:ext>
            </a:extLst>
          </p:cNvPr>
          <p:cNvSpPr>
            <a:spLocks noChangeAspect="1"/>
          </p:cNvSpPr>
          <p:nvPr/>
        </p:nvSpPr>
        <p:spPr>
          <a:xfrm>
            <a:off x="546973" y="5250136"/>
            <a:ext cx="690152" cy="690152"/>
          </a:xfrm>
          <a:custGeom>
            <a:avLst/>
            <a:gdLst>
              <a:gd name="connsiteX0" fmla="*/ 1345671 w 3728263"/>
              <a:gd name="connsiteY0" fmla="*/ 2248609 h 3728263"/>
              <a:gd name="connsiteX1" fmla="*/ 1124304 w 3728263"/>
              <a:gd name="connsiteY1" fmla="*/ 2469975 h 3728263"/>
              <a:gd name="connsiteX2" fmla="*/ 1561211 w 3728263"/>
              <a:gd name="connsiteY2" fmla="*/ 2469975 h 3728263"/>
              <a:gd name="connsiteX3" fmla="*/ 1532084 w 3728263"/>
              <a:gd name="connsiteY3" fmla="*/ 2359292 h 3728263"/>
              <a:gd name="connsiteX4" fmla="*/ 1380623 w 3728263"/>
              <a:gd name="connsiteY4" fmla="*/ 2510753 h 3728263"/>
              <a:gd name="connsiteX5" fmla="*/ 1299067 w 3728263"/>
              <a:gd name="connsiteY5" fmla="*/ 2510753 h 3728263"/>
              <a:gd name="connsiteX6" fmla="*/ 1299067 w 3728263"/>
              <a:gd name="connsiteY6" fmla="*/ 2429197 h 3728263"/>
              <a:gd name="connsiteX7" fmla="*/ 1450528 w 3728263"/>
              <a:gd name="connsiteY7" fmla="*/ 2277736 h 3728263"/>
              <a:gd name="connsiteX8" fmla="*/ 1345671 w 3728263"/>
              <a:gd name="connsiteY8" fmla="*/ 2248609 h 3728263"/>
              <a:gd name="connsiteX9" fmla="*/ 1269940 w 3728263"/>
              <a:gd name="connsiteY9" fmla="*/ 1677719 h 3728263"/>
              <a:gd name="connsiteX10" fmla="*/ 1234988 w 3728263"/>
              <a:gd name="connsiteY10" fmla="*/ 1829180 h 3728263"/>
              <a:gd name="connsiteX11" fmla="*/ 1194210 w 3728263"/>
              <a:gd name="connsiteY11" fmla="*/ 1869957 h 3728263"/>
              <a:gd name="connsiteX12" fmla="*/ 1013621 w 3728263"/>
              <a:gd name="connsiteY12" fmla="*/ 1945688 h 3728263"/>
              <a:gd name="connsiteX13" fmla="*/ 949541 w 3728263"/>
              <a:gd name="connsiteY13" fmla="*/ 1945688 h 3728263"/>
              <a:gd name="connsiteX14" fmla="*/ 815557 w 3728263"/>
              <a:gd name="connsiteY14" fmla="*/ 1864132 h 3728263"/>
              <a:gd name="connsiteX15" fmla="*/ 722351 w 3728263"/>
              <a:gd name="connsiteY15" fmla="*/ 1957339 h 3728263"/>
              <a:gd name="connsiteX16" fmla="*/ 803906 w 3728263"/>
              <a:gd name="connsiteY16" fmla="*/ 2091323 h 3728263"/>
              <a:gd name="connsiteX17" fmla="*/ 803906 w 3728263"/>
              <a:gd name="connsiteY17" fmla="*/ 2149577 h 3728263"/>
              <a:gd name="connsiteX18" fmla="*/ 728176 w 3728263"/>
              <a:gd name="connsiteY18" fmla="*/ 2330165 h 3728263"/>
              <a:gd name="connsiteX19" fmla="*/ 687398 w 3728263"/>
              <a:gd name="connsiteY19" fmla="*/ 2370943 h 3728263"/>
              <a:gd name="connsiteX20" fmla="*/ 535937 w 3728263"/>
              <a:gd name="connsiteY20" fmla="*/ 2405895 h 3728263"/>
              <a:gd name="connsiteX21" fmla="*/ 535937 w 3728263"/>
              <a:gd name="connsiteY21" fmla="*/ 2534054 h 3728263"/>
              <a:gd name="connsiteX22" fmla="*/ 687398 w 3728263"/>
              <a:gd name="connsiteY22" fmla="*/ 2574832 h 3728263"/>
              <a:gd name="connsiteX23" fmla="*/ 728176 w 3728263"/>
              <a:gd name="connsiteY23" fmla="*/ 2615610 h 3728263"/>
              <a:gd name="connsiteX24" fmla="*/ 803906 w 3728263"/>
              <a:gd name="connsiteY24" fmla="*/ 2796198 h 3728263"/>
              <a:gd name="connsiteX25" fmla="*/ 803906 w 3728263"/>
              <a:gd name="connsiteY25" fmla="*/ 2854452 h 3728263"/>
              <a:gd name="connsiteX26" fmla="*/ 722351 w 3728263"/>
              <a:gd name="connsiteY26" fmla="*/ 2988436 h 3728263"/>
              <a:gd name="connsiteX27" fmla="*/ 815557 w 3728263"/>
              <a:gd name="connsiteY27" fmla="*/ 3081643 h 3728263"/>
              <a:gd name="connsiteX28" fmla="*/ 972843 w 3728263"/>
              <a:gd name="connsiteY28" fmla="*/ 3000087 h 3728263"/>
              <a:gd name="connsiteX29" fmla="*/ 1031097 w 3728263"/>
              <a:gd name="connsiteY29" fmla="*/ 3000087 h 3728263"/>
              <a:gd name="connsiteX30" fmla="*/ 1211686 w 3728263"/>
              <a:gd name="connsiteY30" fmla="*/ 3075817 h 3728263"/>
              <a:gd name="connsiteX31" fmla="*/ 1252464 w 3728263"/>
              <a:gd name="connsiteY31" fmla="*/ 3116595 h 3728263"/>
              <a:gd name="connsiteX32" fmla="*/ 1287416 w 3728263"/>
              <a:gd name="connsiteY32" fmla="*/ 3268056 h 3728263"/>
              <a:gd name="connsiteX33" fmla="*/ 1415575 w 3728263"/>
              <a:gd name="connsiteY33" fmla="*/ 3268056 h 3728263"/>
              <a:gd name="connsiteX34" fmla="*/ 1450528 w 3728263"/>
              <a:gd name="connsiteY34" fmla="*/ 3116595 h 3728263"/>
              <a:gd name="connsiteX35" fmla="*/ 1491306 w 3728263"/>
              <a:gd name="connsiteY35" fmla="*/ 3075817 h 3728263"/>
              <a:gd name="connsiteX36" fmla="*/ 1671894 w 3728263"/>
              <a:gd name="connsiteY36" fmla="*/ 3000087 h 3728263"/>
              <a:gd name="connsiteX37" fmla="*/ 1730148 w 3728263"/>
              <a:gd name="connsiteY37" fmla="*/ 3000087 h 3728263"/>
              <a:gd name="connsiteX38" fmla="*/ 1864132 w 3728263"/>
              <a:gd name="connsiteY38" fmla="*/ 3081643 h 3728263"/>
              <a:gd name="connsiteX39" fmla="*/ 1957339 w 3728263"/>
              <a:gd name="connsiteY39" fmla="*/ 2988436 h 3728263"/>
              <a:gd name="connsiteX40" fmla="*/ 1875783 w 3728263"/>
              <a:gd name="connsiteY40" fmla="*/ 2854452 h 3728263"/>
              <a:gd name="connsiteX41" fmla="*/ 1875783 w 3728263"/>
              <a:gd name="connsiteY41" fmla="*/ 2796198 h 3728263"/>
              <a:gd name="connsiteX42" fmla="*/ 1957339 w 3728263"/>
              <a:gd name="connsiteY42" fmla="*/ 2603959 h 3728263"/>
              <a:gd name="connsiteX43" fmla="*/ 1998116 w 3728263"/>
              <a:gd name="connsiteY43" fmla="*/ 2563181 h 3728263"/>
              <a:gd name="connsiteX44" fmla="*/ 2149577 w 3728263"/>
              <a:gd name="connsiteY44" fmla="*/ 2528229 h 3728263"/>
              <a:gd name="connsiteX45" fmla="*/ 2149577 w 3728263"/>
              <a:gd name="connsiteY45" fmla="*/ 2400070 h 3728263"/>
              <a:gd name="connsiteX46" fmla="*/ 1998116 w 3728263"/>
              <a:gd name="connsiteY46" fmla="*/ 2365117 h 3728263"/>
              <a:gd name="connsiteX47" fmla="*/ 1957339 w 3728263"/>
              <a:gd name="connsiteY47" fmla="*/ 2324340 h 3728263"/>
              <a:gd name="connsiteX48" fmla="*/ 1881608 w 3728263"/>
              <a:gd name="connsiteY48" fmla="*/ 2143752 h 3728263"/>
              <a:gd name="connsiteX49" fmla="*/ 1881608 w 3728263"/>
              <a:gd name="connsiteY49" fmla="*/ 2085498 h 3728263"/>
              <a:gd name="connsiteX50" fmla="*/ 1963164 w 3728263"/>
              <a:gd name="connsiteY50" fmla="*/ 1951513 h 3728263"/>
              <a:gd name="connsiteX51" fmla="*/ 1957339 w 3728263"/>
              <a:gd name="connsiteY51" fmla="*/ 1945688 h 3728263"/>
              <a:gd name="connsiteX52" fmla="*/ 1619465 w 3728263"/>
              <a:gd name="connsiteY52" fmla="*/ 2283562 h 3728263"/>
              <a:gd name="connsiteX53" fmla="*/ 1677719 w 3728263"/>
              <a:gd name="connsiteY53" fmla="*/ 2475800 h 3728263"/>
              <a:gd name="connsiteX54" fmla="*/ 1339845 w 3728263"/>
              <a:gd name="connsiteY54" fmla="*/ 2813674 h 3728263"/>
              <a:gd name="connsiteX55" fmla="*/ 1001970 w 3728263"/>
              <a:gd name="connsiteY55" fmla="*/ 2475800 h 3728263"/>
              <a:gd name="connsiteX56" fmla="*/ 1339845 w 3728263"/>
              <a:gd name="connsiteY56" fmla="*/ 2137926 h 3728263"/>
              <a:gd name="connsiteX57" fmla="*/ 1532084 w 3728263"/>
              <a:gd name="connsiteY57" fmla="*/ 2196181 h 3728263"/>
              <a:gd name="connsiteX58" fmla="*/ 1852481 w 3728263"/>
              <a:gd name="connsiteY58" fmla="*/ 1869957 h 3728263"/>
              <a:gd name="connsiteX59" fmla="*/ 1846656 w 3728263"/>
              <a:gd name="connsiteY59" fmla="*/ 1864132 h 3728263"/>
              <a:gd name="connsiteX60" fmla="*/ 1712671 w 3728263"/>
              <a:gd name="connsiteY60" fmla="*/ 1945688 h 3728263"/>
              <a:gd name="connsiteX61" fmla="*/ 1654417 w 3728263"/>
              <a:gd name="connsiteY61" fmla="*/ 1945688 h 3728263"/>
              <a:gd name="connsiteX62" fmla="*/ 1473829 w 3728263"/>
              <a:gd name="connsiteY62" fmla="*/ 1869957 h 3728263"/>
              <a:gd name="connsiteX63" fmla="*/ 1433052 w 3728263"/>
              <a:gd name="connsiteY63" fmla="*/ 1829180 h 3728263"/>
              <a:gd name="connsiteX64" fmla="*/ 1398099 w 3728263"/>
              <a:gd name="connsiteY64" fmla="*/ 1677719 h 3728263"/>
              <a:gd name="connsiteX65" fmla="*/ 396127 w 3728263"/>
              <a:gd name="connsiteY65" fmla="*/ 1170907 h 3728263"/>
              <a:gd name="connsiteX66" fmla="*/ 2283561 w 3728263"/>
              <a:gd name="connsiteY66" fmla="*/ 1170907 h 3728263"/>
              <a:gd name="connsiteX67" fmla="*/ 2341815 w 3728263"/>
              <a:gd name="connsiteY67" fmla="*/ 1229161 h 3728263"/>
              <a:gd name="connsiteX68" fmla="*/ 2283561 w 3728263"/>
              <a:gd name="connsiteY68" fmla="*/ 1287415 h 3728263"/>
              <a:gd name="connsiteX69" fmla="*/ 396127 w 3728263"/>
              <a:gd name="connsiteY69" fmla="*/ 1287415 h 3728263"/>
              <a:gd name="connsiteX70" fmla="*/ 337873 w 3728263"/>
              <a:gd name="connsiteY70" fmla="*/ 1229161 h 3728263"/>
              <a:gd name="connsiteX71" fmla="*/ 396127 w 3728263"/>
              <a:gd name="connsiteY71" fmla="*/ 1170907 h 3728263"/>
              <a:gd name="connsiteX72" fmla="*/ 396127 w 3728263"/>
              <a:gd name="connsiteY72" fmla="*/ 757303 h 3728263"/>
              <a:gd name="connsiteX73" fmla="*/ 2283561 w 3728263"/>
              <a:gd name="connsiteY73" fmla="*/ 757303 h 3728263"/>
              <a:gd name="connsiteX74" fmla="*/ 2341815 w 3728263"/>
              <a:gd name="connsiteY74" fmla="*/ 815557 h 3728263"/>
              <a:gd name="connsiteX75" fmla="*/ 2283561 w 3728263"/>
              <a:gd name="connsiteY75" fmla="*/ 873811 h 3728263"/>
              <a:gd name="connsiteX76" fmla="*/ 396127 w 3728263"/>
              <a:gd name="connsiteY76" fmla="*/ 873811 h 3728263"/>
              <a:gd name="connsiteX77" fmla="*/ 337873 w 3728263"/>
              <a:gd name="connsiteY77" fmla="*/ 815557 h 3728263"/>
              <a:gd name="connsiteX78" fmla="*/ 396127 w 3728263"/>
              <a:gd name="connsiteY78" fmla="*/ 757303 h 3728263"/>
              <a:gd name="connsiteX79" fmla="*/ 396127 w 3728263"/>
              <a:gd name="connsiteY79" fmla="*/ 337873 h 3728263"/>
              <a:gd name="connsiteX80" fmla="*/ 2283561 w 3728263"/>
              <a:gd name="connsiteY80" fmla="*/ 337873 h 3728263"/>
              <a:gd name="connsiteX81" fmla="*/ 2341815 w 3728263"/>
              <a:gd name="connsiteY81" fmla="*/ 396127 h 3728263"/>
              <a:gd name="connsiteX82" fmla="*/ 2283561 w 3728263"/>
              <a:gd name="connsiteY82" fmla="*/ 454381 h 3728263"/>
              <a:gd name="connsiteX83" fmla="*/ 396127 w 3728263"/>
              <a:gd name="connsiteY83" fmla="*/ 454381 h 3728263"/>
              <a:gd name="connsiteX84" fmla="*/ 337873 w 3728263"/>
              <a:gd name="connsiteY84" fmla="*/ 396127 h 3728263"/>
              <a:gd name="connsiteX85" fmla="*/ 396127 w 3728263"/>
              <a:gd name="connsiteY85" fmla="*/ 337873 h 3728263"/>
              <a:gd name="connsiteX86" fmla="*/ 227191 w 3728263"/>
              <a:gd name="connsiteY86" fmla="*/ 116508 h 3728263"/>
              <a:gd name="connsiteX87" fmla="*/ 116508 w 3728263"/>
              <a:gd name="connsiteY87" fmla="*/ 227191 h 3728263"/>
              <a:gd name="connsiteX88" fmla="*/ 116508 w 3728263"/>
              <a:gd name="connsiteY88" fmla="*/ 3501072 h 3728263"/>
              <a:gd name="connsiteX89" fmla="*/ 227191 w 3728263"/>
              <a:gd name="connsiteY89" fmla="*/ 3611755 h 3728263"/>
              <a:gd name="connsiteX90" fmla="*/ 2458324 w 3728263"/>
              <a:gd name="connsiteY90" fmla="*/ 3611755 h 3728263"/>
              <a:gd name="connsiteX91" fmla="*/ 2569007 w 3728263"/>
              <a:gd name="connsiteY91" fmla="*/ 3501072 h 3728263"/>
              <a:gd name="connsiteX92" fmla="*/ 2563181 w 3728263"/>
              <a:gd name="connsiteY92" fmla="*/ 3501072 h 3728263"/>
              <a:gd name="connsiteX93" fmla="*/ 2563181 w 3728263"/>
              <a:gd name="connsiteY93" fmla="*/ 1869957 h 3728263"/>
              <a:gd name="connsiteX94" fmla="*/ 2289387 w 3728263"/>
              <a:gd name="connsiteY94" fmla="*/ 1596163 h 3728263"/>
              <a:gd name="connsiteX95" fmla="*/ 2033069 w 3728263"/>
              <a:gd name="connsiteY95" fmla="*/ 1852481 h 3728263"/>
              <a:gd name="connsiteX96" fmla="*/ 2068021 w 3728263"/>
              <a:gd name="connsiteY96" fmla="*/ 1887434 h 3728263"/>
              <a:gd name="connsiteX97" fmla="*/ 2073847 w 3728263"/>
              <a:gd name="connsiteY97" fmla="*/ 1957339 h 3728263"/>
              <a:gd name="connsiteX98" fmla="*/ 1986466 w 3728263"/>
              <a:gd name="connsiteY98" fmla="*/ 2102974 h 3728263"/>
              <a:gd name="connsiteX99" fmla="*/ 2050545 w 3728263"/>
              <a:gd name="connsiteY99" fmla="*/ 2254435 h 3728263"/>
              <a:gd name="connsiteX100" fmla="*/ 2213657 w 3728263"/>
              <a:gd name="connsiteY100" fmla="*/ 2295213 h 3728263"/>
              <a:gd name="connsiteX101" fmla="*/ 2260260 w 3728263"/>
              <a:gd name="connsiteY101" fmla="*/ 2353467 h 3728263"/>
              <a:gd name="connsiteX102" fmla="*/ 2260260 w 3728263"/>
              <a:gd name="connsiteY102" fmla="*/ 2574832 h 3728263"/>
              <a:gd name="connsiteX103" fmla="*/ 2213657 w 3728263"/>
              <a:gd name="connsiteY103" fmla="*/ 2633086 h 3728263"/>
              <a:gd name="connsiteX104" fmla="*/ 2050545 w 3728263"/>
              <a:gd name="connsiteY104" fmla="*/ 2673864 h 3728263"/>
              <a:gd name="connsiteX105" fmla="*/ 1986466 w 3728263"/>
              <a:gd name="connsiteY105" fmla="*/ 2825325 h 3728263"/>
              <a:gd name="connsiteX106" fmla="*/ 2073847 w 3728263"/>
              <a:gd name="connsiteY106" fmla="*/ 2970960 h 3728263"/>
              <a:gd name="connsiteX107" fmla="*/ 2068021 w 3728263"/>
              <a:gd name="connsiteY107" fmla="*/ 3040865 h 3728263"/>
              <a:gd name="connsiteX108" fmla="*/ 1910735 w 3728263"/>
              <a:gd name="connsiteY108" fmla="*/ 3198151 h 3728263"/>
              <a:gd name="connsiteX109" fmla="*/ 1840830 w 3728263"/>
              <a:gd name="connsiteY109" fmla="*/ 3203977 h 3728263"/>
              <a:gd name="connsiteX110" fmla="*/ 1695195 w 3728263"/>
              <a:gd name="connsiteY110" fmla="*/ 3116595 h 3728263"/>
              <a:gd name="connsiteX111" fmla="*/ 1543734 w 3728263"/>
              <a:gd name="connsiteY111" fmla="*/ 3180675 h 3728263"/>
              <a:gd name="connsiteX112" fmla="*/ 1502957 w 3728263"/>
              <a:gd name="connsiteY112" fmla="*/ 3343786 h 3728263"/>
              <a:gd name="connsiteX113" fmla="*/ 1444702 w 3728263"/>
              <a:gd name="connsiteY113" fmla="*/ 3390390 h 3728263"/>
              <a:gd name="connsiteX114" fmla="*/ 1223337 w 3728263"/>
              <a:gd name="connsiteY114" fmla="*/ 3390390 h 3728263"/>
              <a:gd name="connsiteX115" fmla="*/ 1165083 w 3728263"/>
              <a:gd name="connsiteY115" fmla="*/ 3343786 h 3728263"/>
              <a:gd name="connsiteX116" fmla="*/ 1124304 w 3728263"/>
              <a:gd name="connsiteY116" fmla="*/ 3180675 h 3728263"/>
              <a:gd name="connsiteX117" fmla="*/ 978669 w 3728263"/>
              <a:gd name="connsiteY117" fmla="*/ 3116595 h 3728263"/>
              <a:gd name="connsiteX118" fmla="*/ 833033 w 3728263"/>
              <a:gd name="connsiteY118" fmla="*/ 3203977 h 3728263"/>
              <a:gd name="connsiteX119" fmla="*/ 763128 w 3728263"/>
              <a:gd name="connsiteY119" fmla="*/ 3198151 h 3728263"/>
              <a:gd name="connsiteX120" fmla="*/ 605842 w 3728263"/>
              <a:gd name="connsiteY120" fmla="*/ 3040865 h 3728263"/>
              <a:gd name="connsiteX121" fmla="*/ 600017 w 3728263"/>
              <a:gd name="connsiteY121" fmla="*/ 2970960 h 3728263"/>
              <a:gd name="connsiteX122" fmla="*/ 693223 w 3728263"/>
              <a:gd name="connsiteY122" fmla="*/ 2831150 h 3728263"/>
              <a:gd name="connsiteX123" fmla="*/ 629144 w 3728263"/>
              <a:gd name="connsiteY123" fmla="*/ 2679690 h 3728263"/>
              <a:gd name="connsiteX124" fmla="*/ 466032 w 3728263"/>
              <a:gd name="connsiteY124" fmla="*/ 2638912 h 3728263"/>
              <a:gd name="connsiteX125" fmla="*/ 419429 w 3728263"/>
              <a:gd name="connsiteY125" fmla="*/ 2580658 h 3728263"/>
              <a:gd name="connsiteX126" fmla="*/ 419429 w 3728263"/>
              <a:gd name="connsiteY126" fmla="*/ 2359292 h 3728263"/>
              <a:gd name="connsiteX127" fmla="*/ 466032 w 3728263"/>
              <a:gd name="connsiteY127" fmla="*/ 2301038 h 3728263"/>
              <a:gd name="connsiteX128" fmla="*/ 623319 w 3728263"/>
              <a:gd name="connsiteY128" fmla="*/ 2266086 h 3728263"/>
              <a:gd name="connsiteX129" fmla="*/ 687398 w 3728263"/>
              <a:gd name="connsiteY129" fmla="*/ 2114625 h 3728263"/>
              <a:gd name="connsiteX130" fmla="*/ 600017 w 3728263"/>
              <a:gd name="connsiteY130" fmla="*/ 1968989 h 3728263"/>
              <a:gd name="connsiteX131" fmla="*/ 605842 w 3728263"/>
              <a:gd name="connsiteY131" fmla="*/ 1899084 h 3728263"/>
              <a:gd name="connsiteX132" fmla="*/ 763128 w 3728263"/>
              <a:gd name="connsiteY132" fmla="*/ 1741798 h 3728263"/>
              <a:gd name="connsiteX133" fmla="*/ 833033 w 3728263"/>
              <a:gd name="connsiteY133" fmla="*/ 1735973 h 3728263"/>
              <a:gd name="connsiteX134" fmla="*/ 978669 w 3728263"/>
              <a:gd name="connsiteY134" fmla="*/ 1823354 h 3728263"/>
              <a:gd name="connsiteX135" fmla="*/ 1130129 w 3728263"/>
              <a:gd name="connsiteY135" fmla="*/ 1759275 h 3728263"/>
              <a:gd name="connsiteX136" fmla="*/ 1170908 w 3728263"/>
              <a:gd name="connsiteY136" fmla="*/ 1596163 h 3728263"/>
              <a:gd name="connsiteX137" fmla="*/ 1229162 w 3728263"/>
              <a:gd name="connsiteY137" fmla="*/ 1549560 h 3728263"/>
              <a:gd name="connsiteX138" fmla="*/ 1450528 w 3728263"/>
              <a:gd name="connsiteY138" fmla="*/ 1549560 h 3728263"/>
              <a:gd name="connsiteX139" fmla="*/ 1508782 w 3728263"/>
              <a:gd name="connsiteY139" fmla="*/ 1596163 h 3728263"/>
              <a:gd name="connsiteX140" fmla="*/ 1549560 w 3728263"/>
              <a:gd name="connsiteY140" fmla="*/ 1759275 h 3728263"/>
              <a:gd name="connsiteX141" fmla="*/ 1701021 w 3728263"/>
              <a:gd name="connsiteY141" fmla="*/ 1823354 h 3728263"/>
              <a:gd name="connsiteX142" fmla="*/ 1846656 w 3728263"/>
              <a:gd name="connsiteY142" fmla="*/ 1735973 h 3728263"/>
              <a:gd name="connsiteX143" fmla="*/ 1916561 w 3728263"/>
              <a:gd name="connsiteY143" fmla="*/ 1741798 h 3728263"/>
              <a:gd name="connsiteX144" fmla="*/ 1951513 w 3728263"/>
              <a:gd name="connsiteY144" fmla="*/ 1776751 h 3728263"/>
              <a:gd name="connsiteX145" fmla="*/ 2248609 w 3728263"/>
              <a:gd name="connsiteY145" fmla="*/ 1479655 h 3728263"/>
              <a:gd name="connsiteX146" fmla="*/ 2330165 w 3728263"/>
              <a:gd name="connsiteY146" fmla="*/ 1479655 h 3728263"/>
              <a:gd name="connsiteX147" fmla="*/ 2563181 w 3728263"/>
              <a:gd name="connsiteY147" fmla="*/ 1712671 h 3728263"/>
              <a:gd name="connsiteX148" fmla="*/ 2563181 w 3728263"/>
              <a:gd name="connsiteY148" fmla="*/ 227191 h 3728263"/>
              <a:gd name="connsiteX149" fmla="*/ 2452498 w 3728263"/>
              <a:gd name="connsiteY149" fmla="*/ 116508 h 3728263"/>
              <a:gd name="connsiteX150" fmla="*/ 227191 w 3728263"/>
              <a:gd name="connsiteY150" fmla="*/ 0 h 3728263"/>
              <a:gd name="connsiteX151" fmla="*/ 2452498 w 3728263"/>
              <a:gd name="connsiteY151" fmla="*/ 0 h 3728263"/>
              <a:gd name="connsiteX152" fmla="*/ 2679690 w 3728263"/>
              <a:gd name="connsiteY152" fmla="*/ 227191 h 3728263"/>
              <a:gd name="connsiteX153" fmla="*/ 2679690 w 3728263"/>
              <a:gd name="connsiteY153" fmla="*/ 1829180 h 3728263"/>
              <a:gd name="connsiteX154" fmla="*/ 2743769 w 3728263"/>
              <a:gd name="connsiteY154" fmla="*/ 1893259 h 3728263"/>
              <a:gd name="connsiteX155" fmla="*/ 3530199 w 3728263"/>
              <a:gd name="connsiteY155" fmla="*/ 1106828 h 3728263"/>
              <a:gd name="connsiteX156" fmla="*/ 3279707 w 3728263"/>
              <a:gd name="connsiteY156" fmla="*/ 1106828 h 3728263"/>
              <a:gd name="connsiteX157" fmla="*/ 3221453 w 3728263"/>
              <a:gd name="connsiteY157" fmla="*/ 1048574 h 3728263"/>
              <a:gd name="connsiteX158" fmla="*/ 3279707 w 3728263"/>
              <a:gd name="connsiteY158" fmla="*/ 990319 h 3728263"/>
              <a:gd name="connsiteX159" fmla="*/ 3670009 w 3728263"/>
              <a:gd name="connsiteY159" fmla="*/ 990319 h 3728263"/>
              <a:gd name="connsiteX160" fmla="*/ 3728263 w 3728263"/>
              <a:gd name="connsiteY160" fmla="*/ 1048574 h 3728263"/>
              <a:gd name="connsiteX161" fmla="*/ 3728263 w 3728263"/>
              <a:gd name="connsiteY161" fmla="*/ 1438877 h 3728263"/>
              <a:gd name="connsiteX162" fmla="*/ 3670009 w 3728263"/>
              <a:gd name="connsiteY162" fmla="*/ 1497131 h 3728263"/>
              <a:gd name="connsiteX163" fmla="*/ 3611755 w 3728263"/>
              <a:gd name="connsiteY163" fmla="*/ 1438877 h 3728263"/>
              <a:gd name="connsiteX164" fmla="*/ 3611755 w 3728263"/>
              <a:gd name="connsiteY164" fmla="*/ 1188384 h 3728263"/>
              <a:gd name="connsiteX165" fmla="*/ 2784547 w 3728263"/>
              <a:gd name="connsiteY165" fmla="*/ 2015593 h 3728263"/>
              <a:gd name="connsiteX166" fmla="*/ 2702991 w 3728263"/>
              <a:gd name="connsiteY166" fmla="*/ 2015593 h 3728263"/>
              <a:gd name="connsiteX167" fmla="*/ 2679690 w 3728263"/>
              <a:gd name="connsiteY167" fmla="*/ 1992291 h 3728263"/>
              <a:gd name="connsiteX168" fmla="*/ 2679690 w 3728263"/>
              <a:gd name="connsiteY168" fmla="*/ 3501072 h 3728263"/>
              <a:gd name="connsiteX169" fmla="*/ 2452498 w 3728263"/>
              <a:gd name="connsiteY169" fmla="*/ 3728263 h 3728263"/>
              <a:gd name="connsiteX170" fmla="*/ 227191 w 3728263"/>
              <a:gd name="connsiteY170" fmla="*/ 3728263 h 3728263"/>
              <a:gd name="connsiteX171" fmla="*/ 0 w 3728263"/>
              <a:gd name="connsiteY171" fmla="*/ 3501072 h 3728263"/>
              <a:gd name="connsiteX172" fmla="*/ 0 w 3728263"/>
              <a:gd name="connsiteY172" fmla="*/ 227191 h 3728263"/>
              <a:gd name="connsiteX173" fmla="*/ 227191 w 3728263"/>
              <a:gd name="connsiteY173" fmla="*/ 0 h 372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3728263" h="3728263">
                <a:moveTo>
                  <a:pt x="1345671" y="2248609"/>
                </a:moveTo>
                <a:cubicBezTo>
                  <a:pt x="1223337" y="2248609"/>
                  <a:pt x="1124304" y="2347641"/>
                  <a:pt x="1124304" y="2469975"/>
                </a:cubicBezTo>
                <a:cubicBezTo>
                  <a:pt x="1124304" y="2761245"/>
                  <a:pt x="1561211" y="2761245"/>
                  <a:pt x="1561211" y="2469975"/>
                </a:cubicBezTo>
                <a:cubicBezTo>
                  <a:pt x="1561211" y="2429197"/>
                  <a:pt x="1549560" y="2394244"/>
                  <a:pt x="1532084" y="2359292"/>
                </a:cubicBezTo>
                <a:lnTo>
                  <a:pt x="1380623" y="2510753"/>
                </a:lnTo>
                <a:cubicBezTo>
                  <a:pt x="1357321" y="2534054"/>
                  <a:pt x="1322369" y="2534054"/>
                  <a:pt x="1299067" y="2510753"/>
                </a:cubicBezTo>
                <a:cubicBezTo>
                  <a:pt x="1275766" y="2487451"/>
                  <a:pt x="1275766" y="2452498"/>
                  <a:pt x="1299067" y="2429197"/>
                </a:cubicBezTo>
                <a:lnTo>
                  <a:pt x="1450528" y="2277736"/>
                </a:lnTo>
                <a:cubicBezTo>
                  <a:pt x="1421401" y="2260260"/>
                  <a:pt x="1386448" y="2248609"/>
                  <a:pt x="1345671" y="2248609"/>
                </a:cubicBezTo>
                <a:close/>
                <a:moveTo>
                  <a:pt x="1269940" y="1677719"/>
                </a:moveTo>
                <a:lnTo>
                  <a:pt x="1234988" y="1829180"/>
                </a:lnTo>
                <a:cubicBezTo>
                  <a:pt x="1229162" y="1846656"/>
                  <a:pt x="1217511" y="1864132"/>
                  <a:pt x="1194210" y="1869957"/>
                </a:cubicBezTo>
                <a:cubicBezTo>
                  <a:pt x="1130129" y="1887434"/>
                  <a:pt x="1066050" y="1910735"/>
                  <a:pt x="1013621" y="1945688"/>
                </a:cubicBezTo>
                <a:cubicBezTo>
                  <a:pt x="990319" y="1957339"/>
                  <a:pt x="967018" y="1957339"/>
                  <a:pt x="949541" y="1945688"/>
                </a:cubicBezTo>
                <a:lnTo>
                  <a:pt x="815557" y="1864132"/>
                </a:lnTo>
                <a:lnTo>
                  <a:pt x="722351" y="1957339"/>
                </a:lnTo>
                <a:lnTo>
                  <a:pt x="803906" y="2091323"/>
                </a:lnTo>
                <a:cubicBezTo>
                  <a:pt x="815557" y="2108799"/>
                  <a:pt x="815557" y="2132101"/>
                  <a:pt x="803906" y="2149577"/>
                </a:cubicBezTo>
                <a:cubicBezTo>
                  <a:pt x="768954" y="2207831"/>
                  <a:pt x="745652" y="2266086"/>
                  <a:pt x="728176" y="2330165"/>
                </a:cubicBezTo>
                <a:cubicBezTo>
                  <a:pt x="728176" y="2347641"/>
                  <a:pt x="710700" y="2365117"/>
                  <a:pt x="687398" y="2370943"/>
                </a:cubicBezTo>
                <a:lnTo>
                  <a:pt x="535937" y="2405895"/>
                </a:lnTo>
                <a:lnTo>
                  <a:pt x="535937" y="2534054"/>
                </a:lnTo>
                <a:lnTo>
                  <a:pt x="687398" y="2574832"/>
                </a:lnTo>
                <a:cubicBezTo>
                  <a:pt x="704874" y="2574832"/>
                  <a:pt x="722351" y="2592308"/>
                  <a:pt x="728176" y="2615610"/>
                </a:cubicBezTo>
                <a:cubicBezTo>
                  <a:pt x="745652" y="2679690"/>
                  <a:pt x="768954" y="2737944"/>
                  <a:pt x="803906" y="2796198"/>
                </a:cubicBezTo>
                <a:cubicBezTo>
                  <a:pt x="815557" y="2813674"/>
                  <a:pt x="815557" y="2836976"/>
                  <a:pt x="803906" y="2854452"/>
                </a:cubicBezTo>
                <a:lnTo>
                  <a:pt x="722351" y="2988436"/>
                </a:lnTo>
                <a:lnTo>
                  <a:pt x="815557" y="3081643"/>
                </a:lnTo>
                <a:lnTo>
                  <a:pt x="972843" y="3000087"/>
                </a:lnTo>
                <a:cubicBezTo>
                  <a:pt x="990319" y="2988436"/>
                  <a:pt x="1013621" y="2988436"/>
                  <a:pt x="1031097" y="3000087"/>
                </a:cubicBezTo>
                <a:cubicBezTo>
                  <a:pt x="1089351" y="3035040"/>
                  <a:pt x="1147607" y="3058341"/>
                  <a:pt x="1211686" y="3075817"/>
                </a:cubicBezTo>
                <a:cubicBezTo>
                  <a:pt x="1229162" y="3081643"/>
                  <a:pt x="1246638" y="3093294"/>
                  <a:pt x="1252464" y="3116595"/>
                </a:cubicBezTo>
                <a:lnTo>
                  <a:pt x="1287416" y="3268056"/>
                </a:lnTo>
                <a:lnTo>
                  <a:pt x="1415575" y="3268056"/>
                </a:lnTo>
                <a:lnTo>
                  <a:pt x="1450528" y="3116595"/>
                </a:lnTo>
                <a:cubicBezTo>
                  <a:pt x="1450528" y="3099119"/>
                  <a:pt x="1468004" y="3081643"/>
                  <a:pt x="1491306" y="3075817"/>
                </a:cubicBezTo>
                <a:cubicBezTo>
                  <a:pt x="1555385" y="3058341"/>
                  <a:pt x="1613639" y="3035040"/>
                  <a:pt x="1671894" y="3000087"/>
                </a:cubicBezTo>
                <a:cubicBezTo>
                  <a:pt x="1689370" y="2988436"/>
                  <a:pt x="1712671" y="2988436"/>
                  <a:pt x="1730148" y="3000087"/>
                </a:cubicBezTo>
                <a:lnTo>
                  <a:pt x="1864132" y="3081643"/>
                </a:lnTo>
                <a:lnTo>
                  <a:pt x="1957339" y="2988436"/>
                </a:lnTo>
                <a:lnTo>
                  <a:pt x="1875783" y="2854452"/>
                </a:lnTo>
                <a:cubicBezTo>
                  <a:pt x="1864132" y="2836976"/>
                  <a:pt x="1864132" y="2813674"/>
                  <a:pt x="1875783" y="2796198"/>
                </a:cubicBezTo>
                <a:cubicBezTo>
                  <a:pt x="1910735" y="2737944"/>
                  <a:pt x="1934037" y="2679690"/>
                  <a:pt x="1957339" y="2603959"/>
                </a:cubicBezTo>
                <a:cubicBezTo>
                  <a:pt x="1957339" y="2586483"/>
                  <a:pt x="1974815" y="2569007"/>
                  <a:pt x="1998116" y="2563181"/>
                </a:cubicBezTo>
                <a:lnTo>
                  <a:pt x="2149577" y="2528229"/>
                </a:lnTo>
                <a:lnTo>
                  <a:pt x="2149577" y="2400070"/>
                </a:lnTo>
                <a:lnTo>
                  <a:pt x="1998116" y="2365117"/>
                </a:lnTo>
                <a:cubicBezTo>
                  <a:pt x="1980640" y="2365117"/>
                  <a:pt x="1963164" y="2347641"/>
                  <a:pt x="1957339" y="2324340"/>
                </a:cubicBezTo>
                <a:cubicBezTo>
                  <a:pt x="1939862" y="2260260"/>
                  <a:pt x="1916561" y="2202006"/>
                  <a:pt x="1881608" y="2143752"/>
                </a:cubicBezTo>
                <a:cubicBezTo>
                  <a:pt x="1869957" y="2126276"/>
                  <a:pt x="1869957" y="2102974"/>
                  <a:pt x="1881608" y="2085498"/>
                </a:cubicBezTo>
                <a:lnTo>
                  <a:pt x="1963164" y="1951513"/>
                </a:lnTo>
                <a:lnTo>
                  <a:pt x="1957339" y="1945688"/>
                </a:lnTo>
                <a:lnTo>
                  <a:pt x="1619465" y="2283562"/>
                </a:lnTo>
                <a:cubicBezTo>
                  <a:pt x="1654417" y="2335990"/>
                  <a:pt x="1677719" y="2405895"/>
                  <a:pt x="1677719" y="2475800"/>
                </a:cubicBezTo>
                <a:cubicBezTo>
                  <a:pt x="1677719" y="2662213"/>
                  <a:pt x="1526258" y="2813674"/>
                  <a:pt x="1339845" y="2813674"/>
                </a:cubicBezTo>
                <a:cubicBezTo>
                  <a:pt x="1153432" y="2813674"/>
                  <a:pt x="1001970" y="2662213"/>
                  <a:pt x="1001970" y="2475800"/>
                </a:cubicBezTo>
                <a:cubicBezTo>
                  <a:pt x="1001970" y="2289387"/>
                  <a:pt x="1153432" y="2137926"/>
                  <a:pt x="1339845" y="2137926"/>
                </a:cubicBezTo>
                <a:cubicBezTo>
                  <a:pt x="1409750" y="2137926"/>
                  <a:pt x="1479655" y="2155403"/>
                  <a:pt x="1532084" y="2196181"/>
                </a:cubicBezTo>
                <a:lnTo>
                  <a:pt x="1852481" y="1869957"/>
                </a:lnTo>
                <a:lnTo>
                  <a:pt x="1846656" y="1864132"/>
                </a:lnTo>
                <a:lnTo>
                  <a:pt x="1712671" y="1945688"/>
                </a:lnTo>
                <a:cubicBezTo>
                  <a:pt x="1695195" y="1957339"/>
                  <a:pt x="1671894" y="1957339"/>
                  <a:pt x="1654417" y="1945688"/>
                </a:cubicBezTo>
                <a:cubicBezTo>
                  <a:pt x="1596163" y="1910735"/>
                  <a:pt x="1537909" y="1887434"/>
                  <a:pt x="1473829" y="1869957"/>
                </a:cubicBezTo>
                <a:cubicBezTo>
                  <a:pt x="1456353" y="1869957"/>
                  <a:pt x="1438877" y="1852481"/>
                  <a:pt x="1433052" y="1829180"/>
                </a:cubicBezTo>
                <a:lnTo>
                  <a:pt x="1398099" y="1677719"/>
                </a:lnTo>
                <a:close/>
                <a:moveTo>
                  <a:pt x="396127" y="1170907"/>
                </a:moveTo>
                <a:lnTo>
                  <a:pt x="2283561" y="1170907"/>
                </a:lnTo>
                <a:cubicBezTo>
                  <a:pt x="2318513" y="1170907"/>
                  <a:pt x="2341815" y="1194208"/>
                  <a:pt x="2341815" y="1229161"/>
                </a:cubicBezTo>
                <a:cubicBezTo>
                  <a:pt x="2341815" y="1264113"/>
                  <a:pt x="2318513" y="1287415"/>
                  <a:pt x="2283561" y="1287415"/>
                </a:cubicBezTo>
                <a:lnTo>
                  <a:pt x="396127" y="1287415"/>
                </a:lnTo>
                <a:cubicBezTo>
                  <a:pt x="361174" y="1287415"/>
                  <a:pt x="337873" y="1264113"/>
                  <a:pt x="337873" y="1229161"/>
                </a:cubicBezTo>
                <a:cubicBezTo>
                  <a:pt x="337873" y="1194208"/>
                  <a:pt x="361174" y="1170907"/>
                  <a:pt x="396127" y="1170907"/>
                </a:cubicBezTo>
                <a:close/>
                <a:moveTo>
                  <a:pt x="396127" y="757303"/>
                </a:moveTo>
                <a:lnTo>
                  <a:pt x="2283561" y="757303"/>
                </a:lnTo>
                <a:cubicBezTo>
                  <a:pt x="2318513" y="757303"/>
                  <a:pt x="2341815" y="780604"/>
                  <a:pt x="2341815" y="815557"/>
                </a:cubicBezTo>
                <a:cubicBezTo>
                  <a:pt x="2341815" y="850509"/>
                  <a:pt x="2318513" y="873811"/>
                  <a:pt x="2283561" y="873811"/>
                </a:cubicBezTo>
                <a:lnTo>
                  <a:pt x="396127" y="873811"/>
                </a:lnTo>
                <a:cubicBezTo>
                  <a:pt x="367000" y="873811"/>
                  <a:pt x="337873" y="850509"/>
                  <a:pt x="337873" y="815557"/>
                </a:cubicBezTo>
                <a:cubicBezTo>
                  <a:pt x="337873" y="780604"/>
                  <a:pt x="361174" y="757303"/>
                  <a:pt x="396127" y="757303"/>
                </a:cubicBezTo>
                <a:close/>
                <a:moveTo>
                  <a:pt x="396127" y="337873"/>
                </a:moveTo>
                <a:lnTo>
                  <a:pt x="2283561" y="337873"/>
                </a:lnTo>
                <a:cubicBezTo>
                  <a:pt x="2318513" y="337873"/>
                  <a:pt x="2341815" y="361174"/>
                  <a:pt x="2341815" y="396127"/>
                </a:cubicBezTo>
                <a:cubicBezTo>
                  <a:pt x="2341815" y="431079"/>
                  <a:pt x="2318513" y="454381"/>
                  <a:pt x="2283561" y="454381"/>
                </a:cubicBezTo>
                <a:lnTo>
                  <a:pt x="396127" y="454381"/>
                </a:lnTo>
                <a:cubicBezTo>
                  <a:pt x="367000" y="454381"/>
                  <a:pt x="337873" y="431079"/>
                  <a:pt x="337873" y="396127"/>
                </a:cubicBezTo>
                <a:cubicBezTo>
                  <a:pt x="337873" y="361174"/>
                  <a:pt x="361174" y="337873"/>
                  <a:pt x="396127" y="337873"/>
                </a:cubicBezTo>
                <a:close/>
                <a:moveTo>
                  <a:pt x="227191" y="116508"/>
                </a:moveTo>
                <a:cubicBezTo>
                  <a:pt x="168937" y="116508"/>
                  <a:pt x="116508" y="168937"/>
                  <a:pt x="116508" y="227191"/>
                </a:cubicBezTo>
                <a:lnTo>
                  <a:pt x="116508" y="3501072"/>
                </a:lnTo>
                <a:cubicBezTo>
                  <a:pt x="116508" y="3559326"/>
                  <a:pt x="168937" y="3611755"/>
                  <a:pt x="227191" y="3611755"/>
                </a:cubicBezTo>
                <a:lnTo>
                  <a:pt x="2458324" y="3611755"/>
                </a:lnTo>
                <a:cubicBezTo>
                  <a:pt x="2516578" y="3611755"/>
                  <a:pt x="2569007" y="3565152"/>
                  <a:pt x="2569007" y="3501072"/>
                </a:cubicBezTo>
                <a:lnTo>
                  <a:pt x="2563181" y="3501072"/>
                </a:lnTo>
                <a:lnTo>
                  <a:pt x="2563181" y="1869957"/>
                </a:lnTo>
                <a:lnTo>
                  <a:pt x="2289387" y="1596163"/>
                </a:lnTo>
                <a:lnTo>
                  <a:pt x="2033069" y="1852481"/>
                </a:lnTo>
                <a:lnTo>
                  <a:pt x="2068021" y="1887434"/>
                </a:lnTo>
                <a:cubicBezTo>
                  <a:pt x="2085498" y="1904910"/>
                  <a:pt x="2085498" y="1934037"/>
                  <a:pt x="2073847" y="1957339"/>
                </a:cubicBezTo>
                <a:lnTo>
                  <a:pt x="1986466" y="2102974"/>
                </a:lnTo>
                <a:cubicBezTo>
                  <a:pt x="2015593" y="2149577"/>
                  <a:pt x="2033069" y="2202006"/>
                  <a:pt x="2050545" y="2254435"/>
                </a:cubicBezTo>
                <a:lnTo>
                  <a:pt x="2213657" y="2295213"/>
                </a:lnTo>
                <a:cubicBezTo>
                  <a:pt x="2242784" y="2301038"/>
                  <a:pt x="2260260" y="2324340"/>
                  <a:pt x="2260260" y="2353467"/>
                </a:cubicBezTo>
                <a:lnTo>
                  <a:pt x="2260260" y="2574832"/>
                </a:lnTo>
                <a:cubicBezTo>
                  <a:pt x="2260260" y="2603959"/>
                  <a:pt x="2236958" y="2627261"/>
                  <a:pt x="2213657" y="2633086"/>
                </a:cubicBezTo>
                <a:lnTo>
                  <a:pt x="2050545" y="2673864"/>
                </a:lnTo>
                <a:cubicBezTo>
                  <a:pt x="2033069" y="2726293"/>
                  <a:pt x="2015593" y="2778722"/>
                  <a:pt x="1986466" y="2825325"/>
                </a:cubicBezTo>
                <a:lnTo>
                  <a:pt x="2073847" y="2970960"/>
                </a:lnTo>
                <a:cubicBezTo>
                  <a:pt x="2091323" y="2994262"/>
                  <a:pt x="2085498" y="3023389"/>
                  <a:pt x="2068021" y="3040865"/>
                </a:cubicBezTo>
                <a:lnTo>
                  <a:pt x="1910735" y="3198151"/>
                </a:lnTo>
                <a:cubicBezTo>
                  <a:pt x="1893259" y="3215627"/>
                  <a:pt x="1864132" y="3215627"/>
                  <a:pt x="1840830" y="3203977"/>
                </a:cubicBezTo>
                <a:lnTo>
                  <a:pt x="1695195" y="3116595"/>
                </a:lnTo>
                <a:cubicBezTo>
                  <a:pt x="1642766" y="3145722"/>
                  <a:pt x="1596163" y="3163199"/>
                  <a:pt x="1543734" y="3180675"/>
                </a:cubicBezTo>
                <a:lnTo>
                  <a:pt x="1502957" y="3343786"/>
                </a:lnTo>
                <a:cubicBezTo>
                  <a:pt x="1497131" y="3372914"/>
                  <a:pt x="1473829" y="3390390"/>
                  <a:pt x="1444702" y="3390390"/>
                </a:cubicBezTo>
                <a:lnTo>
                  <a:pt x="1223337" y="3390390"/>
                </a:lnTo>
                <a:cubicBezTo>
                  <a:pt x="1194210" y="3390390"/>
                  <a:pt x="1170908" y="3367088"/>
                  <a:pt x="1165083" y="3343786"/>
                </a:cubicBezTo>
                <a:lnTo>
                  <a:pt x="1124304" y="3180675"/>
                </a:lnTo>
                <a:cubicBezTo>
                  <a:pt x="1077701" y="3163199"/>
                  <a:pt x="1025272" y="3139897"/>
                  <a:pt x="978669" y="3116595"/>
                </a:cubicBezTo>
                <a:lnTo>
                  <a:pt x="833033" y="3203977"/>
                </a:lnTo>
                <a:cubicBezTo>
                  <a:pt x="809732" y="3221453"/>
                  <a:pt x="780605" y="3215627"/>
                  <a:pt x="763128" y="3198151"/>
                </a:cubicBezTo>
                <a:lnTo>
                  <a:pt x="605842" y="3040865"/>
                </a:lnTo>
                <a:cubicBezTo>
                  <a:pt x="588366" y="3023389"/>
                  <a:pt x="588366" y="2994262"/>
                  <a:pt x="600017" y="2970960"/>
                </a:cubicBezTo>
                <a:lnTo>
                  <a:pt x="693223" y="2831150"/>
                </a:lnTo>
                <a:cubicBezTo>
                  <a:pt x="664096" y="2778722"/>
                  <a:pt x="646620" y="2732118"/>
                  <a:pt x="629144" y="2679690"/>
                </a:cubicBezTo>
                <a:lnTo>
                  <a:pt x="466032" y="2638912"/>
                </a:lnTo>
                <a:cubicBezTo>
                  <a:pt x="436905" y="2633086"/>
                  <a:pt x="419429" y="2609785"/>
                  <a:pt x="419429" y="2580658"/>
                </a:cubicBezTo>
                <a:lnTo>
                  <a:pt x="419429" y="2359292"/>
                </a:lnTo>
                <a:cubicBezTo>
                  <a:pt x="419429" y="2330165"/>
                  <a:pt x="442731" y="2306863"/>
                  <a:pt x="466032" y="2301038"/>
                </a:cubicBezTo>
                <a:lnTo>
                  <a:pt x="623319" y="2266086"/>
                </a:lnTo>
                <a:cubicBezTo>
                  <a:pt x="640795" y="2213657"/>
                  <a:pt x="658271" y="2161228"/>
                  <a:pt x="687398" y="2114625"/>
                </a:cubicBezTo>
                <a:lnTo>
                  <a:pt x="600017" y="1968989"/>
                </a:lnTo>
                <a:cubicBezTo>
                  <a:pt x="582541" y="1945688"/>
                  <a:pt x="588366" y="1916561"/>
                  <a:pt x="605842" y="1899084"/>
                </a:cubicBezTo>
                <a:lnTo>
                  <a:pt x="763128" y="1741798"/>
                </a:lnTo>
                <a:cubicBezTo>
                  <a:pt x="780605" y="1724322"/>
                  <a:pt x="809732" y="1724322"/>
                  <a:pt x="833033" y="1735973"/>
                </a:cubicBezTo>
                <a:lnTo>
                  <a:pt x="978669" y="1823354"/>
                </a:lnTo>
                <a:cubicBezTo>
                  <a:pt x="1025272" y="1794227"/>
                  <a:pt x="1077701" y="1776751"/>
                  <a:pt x="1130129" y="1759275"/>
                </a:cubicBezTo>
                <a:lnTo>
                  <a:pt x="1170908" y="1596163"/>
                </a:lnTo>
                <a:cubicBezTo>
                  <a:pt x="1176734" y="1567036"/>
                  <a:pt x="1200035" y="1549560"/>
                  <a:pt x="1229162" y="1549560"/>
                </a:cubicBezTo>
                <a:lnTo>
                  <a:pt x="1450528" y="1549560"/>
                </a:lnTo>
                <a:cubicBezTo>
                  <a:pt x="1479655" y="1549560"/>
                  <a:pt x="1502957" y="1572862"/>
                  <a:pt x="1508782" y="1596163"/>
                </a:cubicBezTo>
                <a:lnTo>
                  <a:pt x="1549560" y="1759275"/>
                </a:lnTo>
                <a:cubicBezTo>
                  <a:pt x="1601989" y="1776751"/>
                  <a:pt x="1654417" y="1794227"/>
                  <a:pt x="1701021" y="1823354"/>
                </a:cubicBezTo>
                <a:lnTo>
                  <a:pt x="1846656" y="1735973"/>
                </a:lnTo>
                <a:cubicBezTo>
                  <a:pt x="1869957" y="1718497"/>
                  <a:pt x="1899084" y="1724322"/>
                  <a:pt x="1916561" y="1741798"/>
                </a:cubicBezTo>
                <a:lnTo>
                  <a:pt x="1951513" y="1776751"/>
                </a:lnTo>
                <a:lnTo>
                  <a:pt x="2248609" y="1479655"/>
                </a:lnTo>
                <a:cubicBezTo>
                  <a:pt x="2271911" y="1456353"/>
                  <a:pt x="2306863" y="1456353"/>
                  <a:pt x="2330165" y="1479655"/>
                </a:cubicBezTo>
                <a:lnTo>
                  <a:pt x="2563181" y="1712671"/>
                </a:lnTo>
                <a:lnTo>
                  <a:pt x="2563181" y="227191"/>
                </a:lnTo>
                <a:cubicBezTo>
                  <a:pt x="2563181" y="168937"/>
                  <a:pt x="2516578" y="116508"/>
                  <a:pt x="2452498" y="116508"/>
                </a:cubicBezTo>
                <a:close/>
                <a:moveTo>
                  <a:pt x="227191" y="0"/>
                </a:moveTo>
                <a:lnTo>
                  <a:pt x="2452498" y="0"/>
                </a:lnTo>
                <a:cubicBezTo>
                  <a:pt x="2574832" y="0"/>
                  <a:pt x="2679690" y="99032"/>
                  <a:pt x="2679690" y="227191"/>
                </a:cubicBezTo>
                <a:lnTo>
                  <a:pt x="2679690" y="1829180"/>
                </a:lnTo>
                <a:lnTo>
                  <a:pt x="2743769" y="1893259"/>
                </a:lnTo>
                <a:lnTo>
                  <a:pt x="3530199" y="1106828"/>
                </a:lnTo>
                <a:lnTo>
                  <a:pt x="3279707" y="1106828"/>
                </a:lnTo>
                <a:cubicBezTo>
                  <a:pt x="3244754" y="1106828"/>
                  <a:pt x="3221453" y="1083526"/>
                  <a:pt x="3221453" y="1048574"/>
                </a:cubicBezTo>
                <a:cubicBezTo>
                  <a:pt x="3221453" y="1013621"/>
                  <a:pt x="3244754" y="990319"/>
                  <a:pt x="3279707" y="990319"/>
                </a:cubicBezTo>
                <a:lnTo>
                  <a:pt x="3670009" y="990319"/>
                </a:lnTo>
                <a:cubicBezTo>
                  <a:pt x="3699136" y="990319"/>
                  <a:pt x="3728263" y="1013621"/>
                  <a:pt x="3728263" y="1048574"/>
                </a:cubicBezTo>
                <a:lnTo>
                  <a:pt x="3728263" y="1438877"/>
                </a:lnTo>
                <a:cubicBezTo>
                  <a:pt x="3728263" y="1473829"/>
                  <a:pt x="3704962" y="1497131"/>
                  <a:pt x="3670009" y="1497131"/>
                </a:cubicBezTo>
                <a:cubicBezTo>
                  <a:pt x="3635057" y="1497131"/>
                  <a:pt x="3611755" y="1473829"/>
                  <a:pt x="3611755" y="1438877"/>
                </a:cubicBezTo>
                <a:lnTo>
                  <a:pt x="3611755" y="1188384"/>
                </a:lnTo>
                <a:lnTo>
                  <a:pt x="2784547" y="2015593"/>
                </a:lnTo>
                <a:cubicBezTo>
                  <a:pt x="2761245" y="2038894"/>
                  <a:pt x="2726293" y="2038894"/>
                  <a:pt x="2702991" y="2015593"/>
                </a:cubicBezTo>
                <a:lnTo>
                  <a:pt x="2679690" y="1992291"/>
                </a:lnTo>
                <a:lnTo>
                  <a:pt x="2679690" y="3501072"/>
                </a:lnTo>
                <a:cubicBezTo>
                  <a:pt x="2679690" y="3623406"/>
                  <a:pt x="2580658" y="3728263"/>
                  <a:pt x="2452498" y="3728263"/>
                </a:cubicBezTo>
                <a:lnTo>
                  <a:pt x="227191" y="3728263"/>
                </a:lnTo>
                <a:cubicBezTo>
                  <a:pt x="104857" y="3728263"/>
                  <a:pt x="0" y="3623406"/>
                  <a:pt x="0" y="3501072"/>
                </a:cubicBezTo>
                <a:lnTo>
                  <a:pt x="0" y="227191"/>
                </a:lnTo>
                <a:cubicBezTo>
                  <a:pt x="0" y="104857"/>
                  <a:pt x="104857" y="0"/>
                  <a:pt x="227191" y="0"/>
                </a:cubicBezTo>
                <a:close/>
              </a:path>
            </a:pathLst>
          </a:custGeom>
          <a:solidFill>
            <a:schemeClr val="bg2"/>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7A9B9DC9-F222-A258-FAA1-F1B50FF6F044}"/>
              </a:ext>
            </a:extLst>
          </p:cNvPr>
          <p:cNvSpPr>
            <a:spLocks noChangeAspect="1"/>
          </p:cNvSpPr>
          <p:nvPr/>
        </p:nvSpPr>
        <p:spPr>
          <a:xfrm>
            <a:off x="541273" y="2859299"/>
            <a:ext cx="632626" cy="651402"/>
          </a:xfrm>
          <a:custGeom>
            <a:avLst/>
            <a:gdLst>
              <a:gd name="connsiteX0" fmla="*/ 268687 w 3642903"/>
              <a:gd name="connsiteY0" fmla="*/ 2213879 h 3751021"/>
              <a:gd name="connsiteX1" fmla="*/ 256190 w 3642903"/>
              <a:gd name="connsiteY1" fmla="*/ 3626050 h 3751021"/>
              <a:gd name="connsiteX2" fmla="*/ 631103 w 3642903"/>
              <a:gd name="connsiteY2" fmla="*/ 3626050 h 3751021"/>
              <a:gd name="connsiteX3" fmla="*/ 631103 w 3642903"/>
              <a:gd name="connsiteY3" fmla="*/ 2213879 h 3751021"/>
              <a:gd name="connsiteX4" fmla="*/ 493635 w 3642903"/>
              <a:gd name="connsiteY4" fmla="*/ 2351346 h 3751021"/>
              <a:gd name="connsiteX5" fmla="*/ 406155 w 3642903"/>
              <a:gd name="connsiteY5" fmla="*/ 2351346 h 3751021"/>
              <a:gd name="connsiteX6" fmla="*/ 187260 w 3642903"/>
              <a:gd name="connsiteY6" fmla="*/ 1996351 h 3751021"/>
              <a:gd name="connsiteX7" fmla="*/ 231196 w 3642903"/>
              <a:gd name="connsiteY7" fmla="*/ 2013925 h 3751021"/>
              <a:gd name="connsiteX8" fmla="*/ 443646 w 3642903"/>
              <a:gd name="connsiteY8" fmla="*/ 2226375 h 3751021"/>
              <a:gd name="connsiteX9" fmla="*/ 643600 w 3642903"/>
              <a:gd name="connsiteY9" fmla="*/ 2026422 h 3751021"/>
              <a:gd name="connsiteX10" fmla="*/ 718582 w 3642903"/>
              <a:gd name="connsiteY10" fmla="*/ 2001428 h 3751021"/>
              <a:gd name="connsiteX11" fmla="*/ 756074 w 3642903"/>
              <a:gd name="connsiteY11" fmla="*/ 2063913 h 3751021"/>
              <a:gd name="connsiteX12" fmla="*/ 756074 w 3642903"/>
              <a:gd name="connsiteY12" fmla="*/ 3688536 h 3751021"/>
              <a:gd name="connsiteX13" fmla="*/ 693588 w 3642903"/>
              <a:gd name="connsiteY13" fmla="*/ 3751021 h 3751021"/>
              <a:gd name="connsiteX14" fmla="*/ 193704 w 3642903"/>
              <a:gd name="connsiteY14" fmla="*/ 3751021 h 3751021"/>
              <a:gd name="connsiteX15" fmla="*/ 131219 w 3642903"/>
              <a:gd name="connsiteY15" fmla="*/ 3688536 h 3751021"/>
              <a:gd name="connsiteX16" fmla="*/ 131219 w 3642903"/>
              <a:gd name="connsiteY16" fmla="*/ 2063913 h 3751021"/>
              <a:gd name="connsiteX17" fmla="*/ 168710 w 3642903"/>
              <a:gd name="connsiteY17" fmla="*/ 2001428 h 3751021"/>
              <a:gd name="connsiteX18" fmla="*/ 187260 w 3642903"/>
              <a:gd name="connsiteY18" fmla="*/ 1996351 h 3751021"/>
              <a:gd name="connsiteX19" fmla="*/ 1318443 w 3642903"/>
              <a:gd name="connsiteY19" fmla="*/ 1401567 h 3751021"/>
              <a:gd name="connsiteX20" fmla="*/ 1130987 w 3642903"/>
              <a:gd name="connsiteY20" fmla="*/ 1589024 h 3751021"/>
              <a:gd name="connsiteX21" fmla="*/ 1130987 w 3642903"/>
              <a:gd name="connsiteY21" fmla="*/ 3626050 h 3751021"/>
              <a:gd name="connsiteX22" fmla="*/ 1505899 w 3642903"/>
              <a:gd name="connsiteY22" fmla="*/ 3626050 h 3751021"/>
              <a:gd name="connsiteX23" fmla="*/ 1505899 w 3642903"/>
              <a:gd name="connsiteY23" fmla="*/ 1589024 h 3751021"/>
              <a:gd name="connsiteX24" fmla="*/ 1312194 w 3642903"/>
              <a:gd name="connsiteY24" fmla="*/ 1245353 h 3751021"/>
              <a:gd name="connsiteX25" fmla="*/ 1355934 w 3642903"/>
              <a:gd name="connsiteY25" fmla="*/ 1264099 h 3751021"/>
              <a:gd name="connsiteX26" fmla="*/ 1605876 w 3642903"/>
              <a:gd name="connsiteY26" fmla="*/ 1514041 h 3751021"/>
              <a:gd name="connsiteX27" fmla="*/ 1618373 w 3642903"/>
              <a:gd name="connsiteY27" fmla="*/ 1564029 h 3751021"/>
              <a:gd name="connsiteX28" fmla="*/ 1618373 w 3642903"/>
              <a:gd name="connsiteY28" fmla="*/ 3688536 h 3751021"/>
              <a:gd name="connsiteX29" fmla="*/ 1568385 w 3642903"/>
              <a:gd name="connsiteY29" fmla="*/ 3751021 h 3751021"/>
              <a:gd name="connsiteX30" fmla="*/ 1068501 w 3642903"/>
              <a:gd name="connsiteY30" fmla="*/ 3751021 h 3751021"/>
              <a:gd name="connsiteX31" fmla="*/ 1006016 w 3642903"/>
              <a:gd name="connsiteY31" fmla="*/ 3688536 h 3751021"/>
              <a:gd name="connsiteX32" fmla="*/ 1006016 w 3642903"/>
              <a:gd name="connsiteY32" fmla="*/ 1564029 h 3751021"/>
              <a:gd name="connsiteX33" fmla="*/ 1018513 w 3642903"/>
              <a:gd name="connsiteY33" fmla="*/ 1514041 h 3751021"/>
              <a:gd name="connsiteX34" fmla="*/ 1268455 w 3642903"/>
              <a:gd name="connsiteY34" fmla="*/ 1264099 h 3751021"/>
              <a:gd name="connsiteX35" fmla="*/ 1312194 w 3642903"/>
              <a:gd name="connsiteY35" fmla="*/ 1245353 h 3751021"/>
              <a:gd name="connsiteX36" fmla="*/ 2205737 w 3642903"/>
              <a:gd name="connsiteY36" fmla="*/ 1164121 h 3751021"/>
              <a:gd name="connsiteX37" fmla="*/ 2005783 w 3642903"/>
              <a:gd name="connsiteY37" fmla="*/ 1464053 h 3751021"/>
              <a:gd name="connsiteX38" fmla="*/ 2005783 w 3642903"/>
              <a:gd name="connsiteY38" fmla="*/ 3626050 h 3751021"/>
              <a:gd name="connsiteX39" fmla="*/ 2380696 w 3642903"/>
              <a:gd name="connsiteY39" fmla="*/ 3626050 h 3751021"/>
              <a:gd name="connsiteX40" fmla="*/ 2380696 w 3642903"/>
              <a:gd name="connsiteY40" fmla="*/ 1339082 h 3751021"/>
              <a:gd name="connsiteX41" fmla="*/ 2193240 w 3642903"/>
              <a:gd name="connsiteY41" fmla="*/ 1001659 h 3751021"/>
              <a:gd name="connsiteX42" fmla="*/ 2243228 w 3642903"/>
              <a:gd name="connsiteY42" fmla="*/ 1014156 h 3751021"/>
              <a:gd name="connsiteX43" fmla="*/ 2493170 w 3642903"/>
              <a:gd name="connsiteY43" fmla="*/ 1264099 h 3751021"/>
              <a:gd name="connsiteX44" fmla="*/ 2505667 w 3642903"/>
              <a:gd name="connsiteY44" fmla="*/ 1314087 h 3751021"/>
              <a:gd name="connsiteX45" fmla="*/ 2505667 w 3642903"/>
              <a:gd name="connsiteY45" fmla="*/ 3688536 h 3751021"/>
              <a:gd name="connsiteX46" fmla="*/ 2443182 w 3642903"/>
              <a:gd name="connsiteY46" fmla="*/ 3751021 h 3751021"/>
              <a:gd name="connsiteX47" fmla="*/ 1943298 w 3642903"/>
              <a:gd name="connsiteY47" fmla="*/ 3751021 h 3751021"/>
              <a:gd name="connsiteX48" fmla="*/ 1880812 w 3642903"/>
              <a:gd name="connsiteY48" fmla="*/ 3688536 h 3751021"/>
              <a:gd name="connsiteX49" fmla="*/ 1880812 w 3642903"/>
              <a:gd name="connsiteY49" fmla="*/ 1439058 h 3751021"/>
              <a:gd name="connsiteX50" fmla="*/ 1893309 w 3642903"/>
              <a:gd name="connsiteY50" fmla="*/ 1401567 h 3751021"/>
              <a:gd name="connsiteX51" fmla="*/ 2143251 w 3642903"/>
              <a:gd name="connsiteY51" fmla="*/ 1026653 h 3751021"/>
              <a:gd name="connsiteX52" fmla="*/ 2193240 w 3642903"/>
              <a:gd name="connsiteY52" fmla="*/ 1001659 h 3751021"/>
              <a:gd name="connsiteX53" fmla="*/ 3130522 w 3642903"/>
              <a:gd name="connsiteY53" fmla="*/ 964168 h 3751021"/>
              <a:gd name="connsiteX54" fmla="*/ 2880580 w 3642903"/>
              <a:gd name="connsiteY54" fmla="*/ 1214111 h 3751021"/>
              <a:gd name="connsiteX55" fmla="*/ 2880580 w 3642903"/>
              <a:gd name="connsiteY55" fmla="*/ 3626050 h 3751021"/>
              <a:gd name="connsiteX56" fmla="*/ 3255493 w 3642903"/>
              <a:gd name="connsiteY56" fmla="*/ 3626050 h 3751021"/>
              <a:gd name="connsiteX57" fmla="*/ 3255493 w 3642903"/>
              <a:gd name="connsiteY57" fmla="*/ 1089139 h 3751021"/>
              <a:gd name="connsiteX58" fmla="*/ 3130522 w 3642903"/>
              <a:gd name="connsiteY58" fmla="*/ 814203 h 3751021"/>
              <a:gd name="connsiteX59" fmla="*/ 3180510 w 3642903"/>
              <a:gd name="connsiteY59" fmla="*/ 826700 h 3751021"/>
              <a:gd name="connsiteX60" fmla="*/ 3367967 w 3642903"/>
              <a:gd name="connsiteY60" fmla="*/ 1014156 h 3751021"/>
              <a:gd name="connsiteX61" fmla="*/ 3380464 w 3642903"/>
              <a:gd name="connsiteY61" fmla="*/ 1064145 h 3751021"/>
              <a:gd name="connsiteX62" fmla="*/ 3380464 w 3642903"/>
              <a:gd name="connsiteY62" fmla="*/ 3688536 h 3751021"/>
              <a:gd name="connsiteX63" fmla="*/ 3317979 w 3642903"/>
              <a:gd name="connsiteY63" fmla="*/ 3751021 h 3751021"/>
              <a:gd name="connsiteX64" fmla="*/ 2818095 w 3642903"/>
              <a:gd name="connsiteY64" fmla="*/ 3751021 h 3751021"/>
              <a:gd name="connsiteX65" fmla="*/ 2755609 w 3642903"/>
              <a:gd name="connsiteY65" fmla="*/ 3688536 h 3751021"/>
              <a:gd name="connsiteX66" fmla="*/ 2755609 w 3642903"/>
              <a:gd name="connsiteY66" fmla="*/ 1189116 h 3751021"/>
              <a:gd name="connsiteX67" fmla="*/ 2768106 w 3642903"/>
              <a:gd name="connsiteY67" fmla="*/ 1139127 h 3751021"/>
              <a:gd name="connsiteX68" fmla="*/ 3080534 w 3642903"/>
              <a:gd name="connsiteY68" fmla="*/ 826700 h 3751021"/>
              <a:gd name="connsiteX69" fmla="*/ 3130522 w 3642903"/>
              <a:gd name="connsiteY69" fmla="*/ 814203 h 3751021"/>
              <a:gd name="connsiteX70" fmla="*/ 3218002 w 3642903"/>
              <a:gd name="connsiteY70" fmla="*/ 126862 h 3751021"/>
              <a:gd name="connsiteX71" fmla="*/ 3505435 w 3642903"/>
              <a:gd name="connsiteY71" fmla="*/ 414295 h 3751021"/>
              <a:gd name="connsiteX72" fmla="*/ 3505435 w 3642903"/>
              <a:gd name="connsiteY72" fmla="*/ 126862 h 3751021"/>
              <a:gd name="connsiteX73" fmla="*/ 3170289 w 3642903"/>
              <a:gd name="connsiteY73" fmla="*/ 60 h 3751021"/>
              <a:gd name="connsiteX74" fmla="*/ 3557215 w 3642903"/>
              <a:gd name="connsiteY74" fmla="*/ 2482 h 3751021"/>
              <a:gd name="connsiteX75" fmla="*/ 3642903 w 3642903"/>
              <a:gd name="connsiteY75" fmla="*/ 64377 h 3751021"/>
              <a:gd name="connsiteX76" fmla="*/ 3642903 w 3642903"/>
              <a:gd name="connsiteY76" fmla="*/ 564261 h 3751021"/>
              <a:gd name="connsiteX77" fmla="*/ 3605412 w 3642903"/>
              <a:gd name="connsiteY77" fmla="*/ 626746 h 3751021"/>
              <a:gd name="connsiteX78" fmla="*/ 3567920 w 3642903"/>
              <a:gd name="connsiteY78" fmla="*/ 626746 h 3751021"/>
              <a:gd name="connsiteX79" fmla="*/ 3517932 w 3642903"/>
              <a:gd name="connsiteY79" fmla="*/ 614249 h 3751021"/>
              <a:gd name="connsiteX80" fmla="*/ 3305481 w 3642903"/>
              <a:gd name="connsiteY80" fmla="*/ 401798 h 3751021"/>
              <a:gd name="connsiteX81" fmla="*/ 2605644 w 3642903"/>
              <a:gd name="connsiteY81" fmla="*/ 1114133 h 3751021"/>
              <a:gd name="connsiteX82" fmla="*/ 2518164 w 3642903"/>
              <a:gd name="connsiteY82" fmla="*/ 1114133 h 3751021"/>
              <a:gd name="connsiteX83" fmla="*/ 2193240 w 3642903"/>
              <a:gd name="connsiteY83" fmla="*/ 776711 h 3751021"/>
              <a:gd name="connsiteX84" fmla="*/ 1730847 w 3642903"/>
              <a:gd name="connsiteY84" fmla="*/ 1351579 h 3751021"/>
              <a:gd name="connsiteX85" fmla="*/ 1693356 w 3642903"/>
              <a:gd name="connsiteY85" fmla="*/ 1376573 h 3751021"/>
              <a:gd name="connsiteX86" fmla="*/ 1643368 w 3642903"/>
              <a:gd name="connsiteY86" fmla="*/ 1364076 h 3751021"/>
              <a:gd name="connsiteX87" fmla="*/ 1318443 w 3642903"/>
              <a:gd name="connsiteY87" fmla="*/ 1026653 h 3751021"/>
              <a:gd name="connsiteX88" fmla="*/ 493635 w 3642903"/>
              <a:gd name="connsiteY88" fmla="*/ 1976434 h 3751021"/>
              <a:gd name="connsiteX89" fmla="*/ 443646 w 3642903"/>
              <a:gd name="connsiteY89" fmla="*/ 2001428 h 3751021"/>
              <a:gd name="connsiteX90" fmla="*/ 393658 w 3642903"/>
              <a:gd name="connsiteY90" fmla="*/ 1988931 h 3751021"/>
              <a:gd name="connsiteX91" fmla="*/ 18745 w 3642903"/>
              <a:gd name="connsiteY91" fmla="*/ 1614018 h 3751021"/>
              <a:gd name="connsiteX92" fmla="*/ 18745 w 3642903"/>
              <a:gd name="connsiteY92" fmla="*/ 1526538 h 3751021"/>
              <a:gd name="connsiteX93" fmla="*/ 106225 w 3642903"/>
              <a:gd name="connsiteY93" fmla="*/ 1526538 h 3751021"/>
              <a:gd name="connsiteX94" fmla="*/ 443646 w 3642903"/>
              <a:gd name="connsiteY94" fmla="*/ 1851463 h 3751021"/>
              <a:gd name="connsiteX95" fmla="*/ 1268455 w 3642903"/>
              <a:gd name="connsiteY95" fmla="*/ 901682 h 3751021"/>
              <a:gd name="connsiteX96" fmla="*/ 1318443 w 3642903"/>
              <a:gd name="connsiteY96" fmla="*/ 876688 h 3751021"/>
              <a:gd name="connsiteX97" fmla="*/ 1368431 w 3642903"/>
              <a:gd name="connsiteY97" fmla="*/ 889185 h 3751021"/>
              <a:gd name="connsiteX98" fmla="*/ 1693356 w 3642903"/>
              <a:gd name="connsiteY98" fmla="*/ 1226608 h 3751021"/>
              <a:gd name="connsiteX99" fmla="*/ 2155749 w 3642903"/>
              <a:gd name="connsiteY99" fmla="*/ 651740 h 3751021"/>
              <a:gd name="connsiteX100" fmla="*/ 2193240 w 3642903"/>
              <a:gd name="connsiteY100" fmla="*/ 626746 h 3751021"/>
              <a:gd name="connsiteX101" fmla="*/ 2243228 w 3642903"/>
              <a:gd name="connsiteY101" fmla="*/ 639243 h 3751021"/>
              <a:gd name="connsiteX102" fmla="*/ 2568153 w 3642903"/>
              <a:gd name="connsiteY102" fmla="*/ 976665 h 3751021"/>
              <a:gd name="connsiteX103" fmla="*/ 3218002 w 3642903"/>
              <a:gd name="connsiteY103" fmla="*/ 314319 h 3751021"/>
              <a:gd name="connsiteX104" fmla="*/ 3018048 w 3642903"/>
              <a:gd name="connsiteY104" fmla="*/ 114365 h 3751021"/>
              <a:gd name="connsiteX105" fmla="*/ 2996026 w 3642903"/>
              <a:gd name="connsiteY105" fmla="*/ 51880 h 3751021"/>
              <a:gd name="connsiteX106" fmla="*/ 3068037 w 3642903"/>
              <a:gd name="connsiteY106" fmla="*/ 1891 h 3751021"/>
              <a:gd name="connsiteX107" fmla="*/ 3170289 w 3642903"/>
              <a:gd name="connsiteY107" fmla="*/ 60 h 37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642903" h="3751021">
                <a:moveTo>
                  <a:pt x="268687" y="2213879"/>
                </a:moveTo>
                <a:lnTo>
                  <a:pt x="256190" y="3626050"/>
                </a:lnTo>
                <a:lnTo>
                  <a:pt x="631103" y="3626050"/>
                </a:lnTo>
                <a:lnTo>
                  <a:pt x="631103" y="2213879"/>
                </a:lnTo>
                <a:lnTo>
                  <a:pt x="493635" y="2351346"/>
                </a:lnTo>
                <a:cubicBezTo>
                  <a:pt x="468640" y="2376341"/>
                  <a:pt x="431149" y="2376341"/>
                  <a:pt x="406155" y="2351346"/>
                </a:cubicBezTo>
                <a:close/>
                <a:moveTo>
                  <a:pt x="187260" y="1996351"/>
                </a:moveTo>
                <a:cubicBezTo>
                  <a:pt x="205420" y="1995179"/>
                  <a:pt x="221822" y="2004552"/>
                  <a:pt x="231196" y="2013925"/>
                </a:cubicBezTo>
                <a:lnTo>
                  <a:pt x="443646" y="2226375"/>
                </a:lnTo>
                <a:lnTo>
                  <a:pt x="643600" y="2026422"/>
                </a:lnTo>
                <a:cubicBezTo>
                  <a:pt x="668594" y="2001428"/>
                  <a:pt x="693588" y="2001428"/>
                  <a:pt x="718582" y="2001428"/>
                </a:cubicBezTo>
                <a:cubicBezTo>
                  <a:pt x="743577" y="2013925"/>
                  <a:pt x="756074" y="2038919"/>
                  <a:pt x="756074" y="2063913"/>
                </a:cubicBezTo>
                <a:lnTo>
                  <a:pt x="756074" y="3688536"/>
                </a:lnTo>
                <a:cubicBezTo>
                  <a:pt x="756074" y="3726027"/>
                  <a:pt x="731079" y="3751021"/>
                  <a:pt x="693588" y="3751021"/>
                </a:cubicBezTo>
                <a:lnTo>
                  <a:pt x="193704" y="3751021"/>
                </a:lnTo>
                <a:cubicBezTo>
                  <a:pt x="156213" y="3751021"/>
                  <a:pt x="131219" y="3726027"/>
                  <a:pt x="131219" y="3688536"/>
                </a:cubicBezTo>
                <a:lnTo>
                  <a:pt x="131219" y="2063913"/>
                </a:lnTo>
                <a:cubicBezTo>
                  <a:pt x="131219" y="2038919"/>
                  <a:pt x="143716" y="2013925"/>
                  <a:pt x="168710" y="2001428"/>
                </a:cubicBezTo>
                <a:cubicBezTo>
                  <a:pt x="174958" y="1998303"/>
                  <a:pt x="181207" y="1996741"/>
                  <a:pt x="187260" y="1996351"/>
                </a:cubicBezTo>
                <a:close/>
                <a:moveTo>
                  <a:pt x="1318443" y="1401567"/>
                </a:moveTo>
                <a:lnTo>
                  <a:pt x="1130987" y="1589024"/>
                </a:lnTo>
                <a:lnTo>
                  <a:pt x="1130987" y="3626050"/>
                </a:lnTo>
                <a:lnTo>
                  <a:pt x="1505899" y="3626050"/>
                </a:lnTo>
                <a:lnTo>
                  <a:pt x="1505899" y="1589024"/>
                </a:lnTo>
                <a:close/>
                <a:moveTo>
                  <a:pt x="1312194" y="1245353"/>
                </a:moveTo>
                <a:cubicBezTo>
                  <a:pt x="1327816" y="1245353"/>
                  <a:pt x="1343437" y="1251602"/>
                  <a:pt x="1355934" y="1264099"/>
                </a:cubicBezTo>
                <a:lnTo>
                  <a:pt x="1605876" y="1514041"/>
                </a:lnTo>
                <a:cubicBezTo>
                  <a:pt x="1618373" y="1526538"/>
                  <a:pt x="1618373" y="1539035"/>
                  <a:pt x="1618373" y="1564029"/>
                </a:cubicBezTo>
                <a:lnTo>
                  <a:pt x="1618373" y="3688536"/>
                </a:lnTo>
                <a:cubicBezTo>
                  <a:pt x="1630870" y="3726027"/>
                  <a:pt x="1605876" y="3751021"/>
                  <a:pt x="1568385" y="3751021"/>
                </a:cubicBezTo>
                <a:lnTo>
                  <a:pt x="1068501" y="3751021"/>
                </a:lnTo>
                <a:cubicBezTo>
                  <a:pt x="1031010" y="3751021"/>
                  <a:pt x="1006016" y="3726027"/>
                  <a:pt x="1006016" y="3688536"/>
                </a:cubicBezTo>
                <a:lnTo>
                  <a:pt x="1006016" y="1564029"/>
                </a:lnTo>
                <a:cubicBezTo>
                  <a:pt x="1006016" y="1551532"/>
                  <a:pt x="1018513" y="1526538"/>
                  <a:pt x="1018513" y="1514041"/>
                </a:cubicBezTo>
                <a:lnTo>
                  <a:pt x="1268455" y="1264099"/>
                </a:lnTo>
                <a:cubicBezTo>
                  <a:pt x="1280952" y="1251602"/>
                  <a:pt x="1296573" y="1245353"/>
                  <a:pt x="1312194" y="1245353"/>
                </a:cubicBezTo>
                <a:close/>
                <a:moveTo>
                  <a:pt x="2205737" y="1164121"/>
                </a:moveTo>
                <a:lnTo>
                  <a:pt x="2005783" y="1464053"/>
                </a:lnTo>
                <a:lnTo>
                  <a:pt x="2005783" y="3626050"/>
                </a:lnTo>
                <a:lnTo>
                  <a:pt x="2380696" y="3626050"/>
                </a:lnTo>
                <a:lnTo>
                  <a:pt x="2380696" y="1339082"/>
                </a:lnTo>
                <a:close/>
                <a:moveTo>
                  <a:pt x="2193240" y="1001659"/>
                </a:moveTo>
                <a:cubicBezTo>
                  <a:pt x="2205737" y="1001659"/>
                  <a:pt x="2230731" y="1001659"/>
                  <a:pt x="2243228" y="1014156"/>
                </a:cubicBezTo>
                <a:lnTo>
                  <a:pt x="2493170" y="1264099"/>
                </a:lnTo>
                <a:cubicBezTo>
                  <a:pt x="2505667" y="1276596"/>
                  <a:pt x="2505667" y="1289093"/>
                  <a:pt x="2505667" y="1314087"/>
                </a:cubicBezTo>
                <a:lnTo>
                  <a:pt x="2505667" y="3688536"/>
                </a:lnTo>
                <a:cubicBezTo>
                  <a:pt x="2505667" y="3726027"/>
                  <a:pt x="2480673" y="3751021"/>
                  <a:pt x="2443182" y="3751021"/>
                </a:cubicBezTo>
                <a:lnTo>
                  <a:pt x="1943298" y="3751021"/>
                </a:lnTo>
                <a:cubicBezTo>
                  <a:pt x="1905807" y="3751021"/>
                  <a:pt x="1880812" y="3726027"/>
                  <a:pt x="1880812" y="3688536"/>
                </a:cubicBezTo>
                <a:lnTo>
                  <a:pt x="1880812" y="1439058"/>
                </a:lnTo>
                <a:cubicBezTo>
                  <a:pt x="1880812" y="1426561"/>
                  <a:pt x="1880812" y="1414064"/>
                  <a:pt x="1893309" y="1401567"/>
                </a:cubicBezTo>
                <a:lnTo>
                  <a:pt x="2143251" y="1026653"/>
                </a:lnTo>
                <a:cubicBezTo>
                  <a:pt x="2155749" y="1014156"/>
                  <a:pt x="2168246" y="1001659"/>
                  <a:pt x="2193240" y="1001659"/>
                </a:cubicBezTo>
                <a:close/>
                <a:moveTo>
                  <a:pt x="3130522" y="964168"/>
                </a:moveTo>
                <a:lnTo>
                  <a:pt x="2880580" y="1214111"/>
                </a:lnTo>
                <a:lnTo>
                  <a:pt x="2880580" y="3626050"/>
                </a:lnTo>
                <a:lnTo>
                  <a:pt x="3255493" y="3626050"/>
                </a:lnTo>
                <a:lnTo>
                  <a:pt x="3255493" y="1089139"/>
                </a:lnTo>
                <a:close/>
                <a:moveTo>
                  <a:pt x="3130522" y="814203"/>
                </a:moveTo>
                <a:cubicBezTo>
                  <a:pt x="3143019" y="814203"/>
                  <a:pt x="3168013" y="826700"/>
                  <a:pt x="3180510" y="826700"/>
                </a:cubicBezTo>
                <a:lnTo>
                  <a:pt x="3367967" y="1014156"/>
                </a:lnTo>
                <a:cubicBezTo>
                  <a:pt x="3380464" y="1026653"/>
                  <a:pt x="3380464" y="1039150"/>
                  <a:pt x="3380464" y="1064145"/>
                </a:cubicBezTo>
                <a:lnTo>
                  <a:pt x="3380464" y="3688536"/>
                </a:lnTo>
                <a:cubicBezTo>
                  <a:pt x="3380464" y="3726027"/>
                  <a:pt x="3355470" y="3751021"/>
                  <a:pt x="3317979" y="3751021"/>
                </a:cubicBezTo>
                <a:lnTo>
                  <a:pt x="2818095" y="3751021"/>
                </a:lnTo>
                <a:cubicBezTo>
                  <a:pt x="2780603" y="3751021"/>
                  <a:pt x="2755609" y="3726027"/>
                  <a:pt x="2755609" y="3688536"/>
                </a:cubicBezTo>
                <a:lnTo>
                  <a:pt x="2755609" y="1189116"/>
                </a:lnTo>
                <a:cubicBezTo>
                  <a:pt x="2755609" y="1176619"/>
                  <a:pt x="2768106" y="1151624"/>
                  <a:pt x="2768106" y="1139127"/>
                </a:cubicBezTo>
                <a:lnTo>
                  <a:pt x="3080534" y="826700"/>
                </a:lnTo>
                <a:cubicBezTo>
                  <a:pt x="3093031" y="814203"/>
                  <a:pt x="3105528" y="814203"/>
                  <a:pt x="3130522" y="814203"/>
                </a:cubicBezTo>
                <a:close/>
                <a:moveTo>
                  <a:pt x="3218002" y="126862"/>
                </a:moveTo>
                <a:lnTo>
                  <a:pt x="3505435" y="414295"/>
                </a:lnTo>
                <a:lnTo>
                  <a:pt x="3505435" y="126862"/>
                </a:lnTo>
                <a:close/>
                <a:moveTo>
                  <a:pt x="3170289" y="60"/>
                </a:moveTo>
                <a:cubicBezTo>
                  <a:pt x="3298958" y="757"/>
                  <a:pt x="3487143" y="7173"/>
                  <a:pt x="3557215" y="2482"/>
                </a:cubicBezTo>
                <a:cubicBezTo>
                  <a:pt x="3606614" y="-1081"/>
                  <a:pt x="3642903" y="26885"/>
                  <a:pt x="3642903" y="64377"/>
                </a:cubicBezTo>
                <a:lnTo>
                  <a:pt x="3642903" y="564261"/>
                </a:lnTo>
                <a:cubicBezTo>
                  <a:pt x="3642903" y="589255"/>
                  <a:pt x="3630406" y="614249"/>
                  <a:pt x="3605412" y="626746"/>
                </a:cubicBezTo>
                <a:lnTo>
                  <a:pt x="3567920" y="626746"/>
                </a:lnTo>
                <a:cubicBezTo>
                  <a:pt x="3555423" y="626746"/>
                  <a:pt x="3530429" y="614249"/>
                  <a:pt x="3517932" y="614249"/>
                </a:cubicBezTo>
                <a:lnTo>
                  <a:pt x="3305481" y="401798"/>
                </a:lnTo>
                <a:lnTo>
                  <a:pt x="2605644" y="1114133"/>
                </a:lnTo>
                <a:cubicBezTo>
                  <a:pt x="2580650" y="1139127"/>
                  <a:pt x="2543158" y="1139127"/>
                  <a:pt x="2518164" y="1114133"/>
                </a:cubicBezTo>
                <a:lnTo>
                  <a:pt x="2193240" y="776711"/>
                </a:lnTo>
                <a:lnTo>
                  <a:pt x="1730847" y="1351579"/>
                </a:lnTo>
                <a:cubicBezTo>
                  <a:pt x="1730847" y="1364076"/>
                  <a:pt x="1718350" y="1376573"/>
                  <a:pt x="1693356" y="1376573"/>
                </a:cubicBezTo>
                <a:cubicBezTo>
                  <a:pt x="1680859" y="1376573"/>
                  <a:pt x="1655865" y="1376573"/>
                  <a:pt x="1643368" y="1364076"/>
                </a:cubicBezTo>
                <a:lnTo>
                  <a:pt x="1318443" y="1026653"/>
                </a:lnTo>
                <a:lnTo>
                  <a:pt x="493635" y="1976434"/>
                </a:lnTo>
                <a:cubicBezTo>
                  <a:pt x="481138" y="1988931"/>
                  <a:pt x="468640" y="2001428"/>
                  <a:pt x="443646" y="2001428"/>
                </a:cubicBezTo>
                <a:cubicBezTo>
                  <a:pt x="431149" y="2001428"/>
                  <a:pt x="406155" y="1988931"/>
                  <a:pt x="393658" y="1988931"/>
                </a:cubicBezTo>
                <a:lnTo>
                  <a:pt x="18745" y="1614018"/>
                </a:lnTo>
                <a:cubicBezTo>
                  <a:pt x="-6249" y="1589024"/>
                  <a:pt x="-6249" y="1551532"/>
                  <a:pt x="18745" y="1526538"/>
                </a:cubicBezTo>
                <a:cubicBezTo>
                  <a:pt x="43739" y="1501544"/>
                  <a:pt x="81230" y="1501544"/>
                  <a:pt x="106225" y="1526538"/>
                </a:cubicBezTo>
                <a:lnTo>
                  <a:pt x="443646" y="1851463"/>
                </a:lnTo>
                <a:lnTo>
                  <a:pt x="1268455" y="901682"/>
                </a:lnTo>
                <a:cubicBezTo>
                  <a:pt x="1280952" y="889185"/>
                  <a:pt x="1293449" y="876688"/>
                  <a:pt x="1318443" y="876688"/>
                </a:cubicBezTo>
                <a:cubicBezTo>
                  <a:pt x="1330940" y="876688"/>
                  <a:pt x="1355934" y="876688"/>
                  <a:pt x="1368431" y="889185"/>
                </a:cubicBezTo>
                <a:lnTo>
                  <a:pt x="1693356" y="1226608"/>
                </a:lnTo>
                <a:lnTo>
                  <a:pt x="2155749" y="651740"/>
                </a:lnTo>
                <a:cubicBezTo>
                  <a:pt x="2155749" y="639243"/>
                  <a:pt x="2168246" y="626746"/>
                  <a:pt x="2193240" y="626746"/>
                </a:cubicBezTo>
                <a:cubicBezTo>
                  <a:pt x="2205737" y="626746"/>
                  <a:pt x="2230731" y="626746"/>
                  <a:pt x="2243228" y="639243"/>
                </a:cubicBezTo>
                <a:lnTo>
                  <a:pt x="2568153" y="976665"/>
                </a:lnTo>
                <a:lnTo>
                  <a:pt x="3218002" y="314319"/>
                </a:lnTo>
                <a:lnTo>
                  <a:pt x="3018048" y="114365"/>
                </a:lnTo>
                <a:cubicBezTo>
                  <a:pt x="3005551" y="101868"/>
                  <a:pt x="2995435" y="71521"/>
                  <a:pt x="2996026" y="51880"/>
                </a:cubicBezTo>
                <a:cubicBezTo>
                  <a:pt x="2996617" y="32239"/>
                  <a:pt x="2975696" y="8536"/>
                  <a:pt x="3068037" y="1891"/>
                </a:cubicBezTo>
                <a:cubicBezTo>
                  <a:pt x="3091122" y="230"/>
                  <a:pt x="3127399" y="-173"/>
                  <a:pt x="3170289" y="60"/>
                </a:cubicBezTo>
                <a:close/>
              </a:path>
            </a:pathLst>
          </a:custGeom>
          <a:solidFill>
            <a:schemeClr val="bg2"/>
          </a:solidFill>
          <a:ln w="9525" cap="flat">
            <a:noFill/>
            <a:prstDash val="solid"/>
            <a:miter/>
          </a:ln>
        </p:spPr>
        <p:txBody>
          <a:bodyPr rtlCol="0" anchor="ctr"/>
          <a:lstStyle/>
          <a:p>
            <a:endParaRPr lang="en-US" dirty="0">
              <a:latin typeface="Arial Narrow" charset="0"/>
            </a:endParaRPr>
          </a:p>
        </p:txBody>
      </p:sp>
    </p:spTree>
    <p:extLst>
      <p:ext uri="{BB962C8B-B14F-4D97-AF65-F5344CB8AC3E}">
        <p14:creationId xmlns:p14="http://schemas.microsoft.com/office/powerpoint/2010/main" val="4812162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028ECA-44E9-4167-8620-C75C1D960470}"/>
              </a:ext>
            </a:extLst>
          </p:cNvPr>
          <p:cNvGraphicFramePr>
            <a:graphicFrameLocks noChangeAspect="1"/>
          </p:cNvGraphicFramePr>
          <p:nvPr>
            <p:custDataLst>
              <p:tags r:id="rId1"/>
            </p:custDataLst>
            <p:extLst>
              <p:ext uri="{D42A27DB-BD31-4B8C-83A1-F6EECF244321}">
                <p14:modId xmlns:p14="http://schemas.microsoft.com/office/powerpoint/2010/main" val="363421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2028ECA-44E9-4167-8620-C75C1D9604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10" name="Google Shape;1410;p9"/>
          <p:cNvSpPr txBox="1">
            <a:spLocks noGrp="1"/>
          </p:cNvSpPr>
          <p:nvPr>
            <p:ph type="title"/>
          </p:nvPr>
        </p:nvSpPr>
        <p:spPr>
          <a:xfrm>
            <a:off x="539399" y="562841"/>
            <a:ext cx="7451209" cy="664797"/>
          </a:xfrm>
          <a:noFill/>
          <a:ln>
            <a:noFill/>
          </a:ln>
        </p:spPr>
        <p:txBody>
          <a:bodyPr spcFirstLastPara="1" wrap="square" lIns="0" tIns="0" rIns="0" bIns="0" anchor="t" anchorCtr="0">
            <a:spAutoFit/>
          </a:bodyPr>
          <a:lstStyle/>
          <a:p>
            <a:r>
              <a:rPr lang="en-US" sz="2400" kern="1200" dirty="0">
                <a:solidFill>
                  <a:schemeClr val="bg2"/>
                </a:solidFill>
                <a:latin typeface="Franklin Gothic Demi" panose="020B0703020102020204" pitchFamily="34" charset="0"/>
                <a:ea typeface="+mj-ea"/>
                <a:cs typeface="Calibri" panose="020F0502020204030204" pitchFamily="34" charset="0"/>
              </a:rPr>
              <a:t>Different practice areas are also leveraging our teams for industry-specific research and market analysis (1/2)</a:t>
            </a:r>
          </a:p>
        </p:txBody>
      </p:sp>
      <p:sp>
        <p:nvSpPr>
          <p:cNvPr id="26" name="Google Shape;1446;p9">
            <a:extLst>
              <a:ext uri="{FF2B5EF4-FFF2-40B4-BE49-F238E27FC236}">
                <a16:creationId xmlns:a16="http://schemas.microsoft.com/office/drawing/2014/main" id="{26784C82-2DFD-E7CD-6DCB-129ABACCF45B}"/>
              </a:ext>
            </a:extLst>
          </p:cNvPr>
          <p:cNvSpPr txBox="1"/>
          <p:nvPr/>
        </p:nvSpPr>
        <p:spPr>
          <a:xfrm>
            <a:off x="10528915" y="270785"/>
            <a:ext cx="634113"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chemeClr val="bg1"/>
                </a:solidFill>
                <a:latin typeface="Franklin Gothic"/>
                <a:ea typeface="Franklin Gothic"/>
                <a:cs typeface="Franklin Gothic"/>
                <a:sym typeface="Franklin Gothic"/>
              </a:rPr>
              <a:t>Research</a:t>
            </a:r>
            <a:endParaRPr sz="1400" b="0" i="0" u="none" strike="noStrike" cap="none" dirty="0">
              <a:solidFill>
                <a:schemeClr val="bg1"/>
              </a:solidFill>
              <a:latin typeface="Arial"/>
              <a:ea typeface="Arial"/>
              <a:cs typeface="Arial"/>
              <a:sym typeface="Arial"/>
            </a:endParaRPr>
          </a:p>
        </p:txBody>
      </p:sp>
      <p:grpSp>
        <p:nvGrpSpPr>
          <p:cNvPr id="29" name="Group 28">
            <a:extLst>
              <a:ext uri="{FF2B5EF4-FFF2-40B4-BE49-F238E27FC236}">
                <a16:creationId xmlns:a16="http://schemas.microsoft.com/office/drawing/2014/main" id="{1C5BC170-E836-ABBC-64DC-BF531F6B474C}"/>
              </a:ext>
            </a:extLst>
          </p:cNvPr>
          <p:cNvGrpSpPr/>
          <p:nvPr/>
        </p:nvGrpSpPr>
        <p:grpSpPr>
          <a:xfrm>
            <a:off x="11195685" y="146183"/>
            <a:ext cx="401030" cy="403092"/>
            <a:chOff x="11195685" y="146183"/>
            <a:chExt cx="401030" cy="403092"/>
          </a:xfrm>
        </p:grpSpPr>
        <p:sp>
          <p:nvSpPr>
            <p:cNvPr id="30" name="Google Shape;1447;p9">
              <a:extLst>
                <a:ext uri="{FF2B5EF4-FFF2-40B4-BE49-F238E27FC236}">
                  <a16:creationId xmlns:a16="http://schemas.microsoft.com/office/drawing/2014/main" id="{09CCEA60-377E-3564-DDB0-0A2F1A466FA4}"/>
                </a:ext>
              </a:extLst>
            </p:cNvPr>
            <p:cNvSpPr/>
            <p:nvPr/>
          </p:nvSpPr>
          <p:spPr>
            <a:xfrm>
              <a:off x="11195685" y="146183"/>
              <a:ext cx="401030" cy="403092"/>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31" name="Graphic 30">
              <a:extLst>
                <a:ext uri="{FF2B5EF4-FFF2-40B4-BE49-F238E27FC236}">
                  <a16:creationId xmlns:a16="http://schemas.microsoft.com/office/drawing/2014/main" id="{B539A64D-CD93-8D6E-27DD-D9333457F6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74669" y="226198"/>
              <a:ext cx="243062" cy="243062"/>
            </a:xfrm>
            <a:prstGeom prst="rect">
              <a:avLst/>
            </a:prstGeom>
          </p:spPr>
        </p:pic>
      </p:grpSp>
      <p:grpSp>
        <p:nvGrpSpPr>
          <p:cNvPr id="25" name="Group 24">
            <a:extLst>
              <a:ext uri="{FF2B5EF4-FFF2-40B4-BE49-F238E27FC236}">
                <a16:creationId xmlns:a16="http://schemas.microsoft.com/office/drawing/2014/main" id="{AD637423-6B8F-0FAF-3A2F-4A92F8AE777F}"/>
              </a:ext>
            </a:extLst>
          </p:cNvPr>
          <p:cNvGrpSpPr/>
          <p:nvPr/>
        </p:nvGrpSpPr>
        <p:grpSpPr>
          <a:xfrm>
            <a:off x="539400" y="2035008"/>
            <a:ext cx="11097662" cy="0"/>
            <a:chOff x="539400" y="1735427"/>
            <a:chExt cx="11097662" cy="0"/>
          </a:xfrm>
        </p:grpSpPr>
        <p:sp>
          <p:nvSpPr>
            <p:cNvPr id="5" name="Line 5">
              <a:extLst>
                <a:ext uri="{FF2B5EF4-FFF2-40B4-BE49-F238E27FC236}">
                  <a16:creationId xmlns:a16="http://schemas.microsoft.com/office/drawing/2014/main" id="{5BBEC221-130D-3946-E231-E44B9D77DE66}"/>
                </a:ext>
              </a:extLst>
            </p:cNvPr>
            <p:cNvSpPr>
              <a:spLocks noChangeShapeType="1"/>
            </p:cNvSpPr>
            <p:nvPr/>
          </p:nvSpPr>
          <p:spPr bwMode="auto">
            <a:xfrm>
              <a:off x="539400" y="1735427"/>
              <a:ext cx="7345509" cy="0"/>
            </a:xfrm>
            <a:prstGeom prst="line">
              <a:avLst/>
            </a:prstGeom>
            <a:ln w="15875">
              <a:solidFill>
                <a:schemeClr val="bg2"/>
              </a:solidFill>
              <a:prstDash val="soli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endParaRPr lang="en-US" sz="1600" dirty="0">
                <a:solidFill>
                  <a:schemeClr val="tx1"/>
                </a:solidFill>
                <a:latin typeface="+mj-lt"/>
                <a:ea typeface="+mn-ea"/>
                <a:cs typeface="+mn-cs"/>
              </a:endParaRPr>
            </a:p>
          </p:txBody>
        </p:sp>
        <p:sp>
          <p:nvSpPr>
            <p:cNvPr id="1425" name="Line 5">
              <a:extLst>
                <a:ext uri="{FF2B5EF4-FFF2-40B4-BE49-F238E27FC236}">
                  <a16:creationId xmlns:a16="http://schemas.microsoft.com/office/drawing/2014/main" id="{2E204FDA-9D16-8429-BC57-686DF9946C2A}"/>
                </a:ext>
              </a:extLst>
            </p:cNvPr>
            <p:cNvSpPr>
              <a:spLocks noChangeShapeType="1"/>
            </p:cNvSpPr>
            <p:nvPr/>
          </p:nvSpPr>
          <p:spPr bwMode="auto">
            <a:xfrm>
              <a:off x="8319389" y="1735427"/>
              <a:ext cx="3317673" cy="0"/>
            </a:xfrm>
            <a:prstGeom prst="line">
              <a:avLst/>
            </a:prstGeom>
            <a:ln w="15875">
              <a:solidFill>
                <a:schemeClr val="bg1"/>
              </a:solidFill>
              <a:prstDash val="soli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t"/>
            <a:lstStyle/>
            <a:p>
              <a:endParaRPr lang="en-US" sz="1600" dirty="0">
                <a:solidFill>
                  <a:schemeClr val="tx1"/>
                </a:solidFill>
                <a:latin typeface="+mj-lt"/>
                <a:ea typeface="+mn-ea"/>
                <a:cs typeface="+mn-cs"/>
              </a:endParaRPr>
            </a:p>
          </p:txBody>
        </p:sp>
      </p:grpSp>
      <p:grpSp>
        <p:nvGrpSpPr>
          <p:cNvPr id="16" name="Group 15">
            <a:extLst>
              <a:ext uri="{FF2B5EF4-FFF2-40B4-BE49-F238E27FC236}">
                <a16:creationId xmlns:a16="http://schemas.microsoft.com/office/drawing/2014/main" id="{E2A1CC37-884A-7AB5-EB33-2DD12FAAFFAB}"/>
              </a:ext>
            </a:extLst>
          </p:cNvPr>
          <p:cNvGrpSpPr/>
          <p:nvPr/>
        </p:nvGrpSpPr>
        <p:grpSpPr>
          <a:xfrm>
            <a:off x="544814" y="3550832"/>
            <a:ext cx="11094693" cy="0"/>
            <a:chOff x="544814" y="2498778"/>
            <a:chExt cx="11094693" cy="0"/>
          </a:xfrm>
        </p:grpSpPr>
        <p:sp>
          <p:nvSpPr>
            <p:cNvPr id="10" name="Line 11">
              <a:extLst>
                <a:ext uri="{FF2B5EF4-FFF2-40B4-BE49-F238E27FC236}">
                  <a16:creationId xmlns:a16="http://schemas.microsoft.com/office/drawing/2014/main" id="{D685EF3A-6468-8B56-6E7D-890CC61355DD}"/>
                </a:ext>
              </a:extLst>
            </p:cNvPr>
            <p:cNvSpPr>
              <a:spLocks noChangeShapeType="1"/>
            </p:cNvSpPr>
            <p:nvPr/>
          </p:nvSpPr>
          <p:spPr bwMode="auto">
            <a:xfrm>
              <a:off x="544814" y="2498778"/>
              <a:ext cx="7345509" cy="0"/>
            </a:xfrm>
            <a:prstGeom prst="line">
              <a:avLst/>
            </a:prstGeom>
            <a:ln>
              <a:solidFill>
                <a:schemeClr val="tx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endParaRPr lang="en-US" sz="1200" dirty="0">
                <a:solidFill>
                  <a:schemeClr val="tx1"/>
                </a:solidFill>
                <a:latin typeface="+mj-lt"/>
                <a:ea typeface="+mn-ea"/>
                <a:cs typeface="+mn-cs"/>
              </a:endParaRPr>
            </a:p>
          </p:txBody>
        </p:sp>
        <p:sp>
          <p:nvSpPr>
            <p:cNvPr id="1426" name="Line 11">
              <a:extLst>
                <a:ext uri="{FF2B5EF4-FFF2-40B4-BE49-F238E27FC236}">
                  <a16:creationId xmlns:a16="http://schemas.microsoft.com/office/drawing/2014/main" id="{0C908162-06E7-D3DA-0C9A-138096C974C4}"/>
                </a:ext>
              </a:extLst>
            </p:cNvPr>
            <p:cNvSpPr>
              <a:spLocks noChangeShapeType="1"/>
            </p:cNvSpPr>
            <p:nvPr/>
          </p:nvSpPr>
          <p:spPr bwMode="auto">
            <a:xfrm>
              <a:off x="8321834" y="2498778"/>
              <a:ext cx="3317673" cy="0"/>
            </a:xfrm>
            <a:prstGeom prst="line">
              <a:avLst/>
            </a:prstGeom>
            <a:ln>
              <a:solidFill>
                <a:schemeClr val="bg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t"/>
            <a:lstStyle/>
            <a:p>
              <a:endParaRPr lang="en-US" sz="1200" dirty="0">
                <a:solidFill>
                  <a:schemeClr val="tx1"/>
                </a:solidFill>
                <a:latin typeface="+mj-lt"/>
                <a:ea typeface="+mn-ea"/>
                <a:cs typeface="+mn-cs"/>
              </a:endParaRPr>
            </a:p>
          </p:txBody>
        </p:sp>
      </p:grpSp>
      <p:grpSp>
        <p:nvGrpSpPr>
          <p:cNvPr id="17" name="Group 16">
            <a:extLst>
              <a:ext uri="{FF2B5EF4-FFF2-40B4-BE49-F238E27FC236}">
                <a16:creationId xmlns:a16="http://schemas.microsoft.com/office/drawing/2014/main" id="{16B11BE2-79D8-9F98-172A-AFA634D7DA79}"/>
              </a:ext>
            </a:extLst>
          </p:cNvPr>
          <p:cNvGrpSpPr/>
          <p:nvPr/>
        </p:nvGrpSpPr>
        <p:grpSpPr>
          <a:xfrm>
            <a:off x="548425" y="5066656"/>
            <a:ext cx="11092713" cy="0"/>
            <a:chOff x="548425" y="3427067"/>
            <a:chExt cx="11092713" cy="0"/>
          </a:xfrm>
        </p:grpSpPr>
        <p:sp>
          <p:nvSpPr>
            <p:cNvPr id="13" name="Line 11">
              <a:extLst>
                <a:ext uri="{FF2B5EF4-FFF2-40B4-BE49-F238E27FC236}">
                  <a16:creationId xmlns:a16="http://schemas.microsoft.com/office/drawing/2014/main" id="{F0D8851E-5587-A2BE-491C-D7A1EC7EA4B1}"/>
                </a:ext>
              </a:extLst>
            </p:cNvPr>
            <p:cNvSpPr>
              <a:spLocks noChangeShapeType="1"/>
            </p:cNvSpPr>
            <p:nvPr/>
          </p:nvSpPr>
          <p:spPr bwMode="auto">
            <a:xfrm>
              <a:off x="548425" y="3427067"/>
              <a:ext cx="7345509" cy="0"/>
            </a:xfrm>
            <a:prstGeom prst="line">
              <a:avLst/>
            </a:prstGeom>
            <a:ln>
              <a:solidFill>
                <a:schemeClr val="tx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endParaRPr lang="en-US" sz="1200" dirty="0">
                <a:solidFill>
                  <a:schemeClr val="tx1"/>
                </a:solidFill>
                <a:latin typeface="+mj-lt"/>
                <a:ea typeface="+mn-ea"/>
                <a:cs typeface="+mn-cs"/>
              </a:endParaRPr>
            </a:p>
          </p:txBody>
        </p:sp>
        <p:sp>
          <p:nvSpPr>
            <p:cNvPr id="1427" name="Line 11">
              <a:extLst>
                <a:ext uri="{FF2B5EF4-FFF2-40B4-BE49-F238E27FC236}">
                  <a16:creationId xmlns:a16="http://schemas.microsoft.com/office/drawing/2014/main" id="{924334C9-422F-E628-B539-C10934A787D8}"/>
                </a:ext>
              </a:extLst>
            </p:cNvPr>
            <p:cNvSpPr>
              <a:spLocks noChangeShapeType="1"/>
            </p:cNvSpPr>
            <p:nvPr/>
          </p:nvSpPr>
          <p:spPr bwMode="auto">
            <a:xfrm>
              <a:off x="8323465" y="3427067"/>
              <a:ext cx="3317673" cy="0"/>
            </a:xfrm>
            <a:prstGeom prst="line">
              <a:avLst/>
            </a:prstGeom>
            <a:ln>
              <a:solidFill>
                <a:schemeClr val="bg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t"/>
            <a:lstStyle/>
            <a:p>
              <a:endParaRPr lang="en-US" sz="1200" dirty="0">
                <a:solidFill>
                  <a:schemeClr val="tx1"/>
                </a:solidFill>
                <a:latin typeface="+mj-lt"/>
                <a:ea typeface="+mn-ea"/>
                <a:cs typeface="+mn-cs"/>
              </a:endParaRPr>
            </a:p>
          </p:txBody>
        </p:sp>
      </p:grpSp>
      <p:sp>
        <p:nvSpPr>
          <p:cNvPr id="1432" name="Rectangle 10">
            <a:extLst>
              <a:ext uri="{FF2B5EF4-FFF2-40B4-BE49-F238E27FC236}">
                <a16:creationId xmlns:a16="http://schemas.microsoft.com/office/drawing/2014/main" id="{0F79D5CA-8F48-4AD2-CCF1-23A9AF52A643}"/>
              </a:ext>
            </a:extLst>
          </p:cNvPr>
          <p:cNvSpPr>
            <a:spLocks noChangeArrowheads="1"/>
          </p:cNvSpPr>
          <p:nvPr/>
        </p:nvSpPr>
        <p:spPr bwMode="auto">
          <a:xfrm>
            <a:off x="8330501" y="2086702"/>
            <a:ext cx="3538038"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233362" lvl="3" indent="-228600">
              <a:spcBef>
                <a:spcPts val="300"/>
              </a:spcBef>
              <a:buFont typeface="+mj-lt"/>
              <a:buAutoNum type="arabicPeriod"/>
            </a:pPr>
            <a:r>
              <a:rPr lang="en-US" sz="1000" i="1" dirty="0">
                <a:solidFill>
                  <a:schemeClr val="bg1"/>
                </a:solidFill>
                <a:latin typeface="Franklin Gothic"/>
              </a:rPr>
              <a:t>Insights on </a:t>
            </a:r>
            <a:r>
              <a:rPr lang="en-US" sz="1000" b="1" i="1" dirty="0">
                <a:solidFill>
                  <a:schemeClr val="bg1"/>
                </a:solidFill>
                <a:latin typeface="Franklin Gothic"/>
              </a:rPr>
              <a:t>how school leadership is appointed</a:t>
            </a:r>
            <a:r>
              <a:rPr lang="en-US" sz="1000" i="1" dirty="0">
                <a:solidFill>
                  <a:schemeClr val="bg1"/>
                </a:solidFill>
                <a:latin typeface="Franklin Gothic"/>
              </a:rPr>
              <a:t>, what are the </a:t>
            </a:r>
            <a:r>
              <a:rPr lang="en-US" sz="1000" b="1" i="1" dirty="0">
                <a:solidFill>
                  <a:schemeClr val="bg1"/>
                </a:solidFill>
                <a:latin typeface="Franklin Gothic"/>
              </a:rPr>
              <a:t>governance and organizational structures </a:t>
            </a:r>
            <a:r>
              <a:rPr lang="en-US" sz="1000" i="1" dirty="0">
                <a:solidFill>
                  <a:schemeClr val="bg1"/>
                </a:solidFill>
                <a:latin typeface="Franklin Gothic"/>
              </a:rPr>
              <a:t>of each school,  </a:t>
            </a:r>
            <a:r>
              <a:rPr lang="en-US" sz="1000" b="1" i="1" dirty="0">
                <a:solidFill>
                  <a:schemeClr val="bg1"/>
                </a:solidFill>
                <a:latin typeface="Franklin Gothic"/>
              </a:rPr>
              <a:t>backgrounds of the board’s members</a:t>
            </a:r>
          </a:p>
          <a:p>
            <a:pPr marL="233362" lvl="3" indent="-228600">
              <a:spcBef>
                <a:spcPts val="300"/>
              </a:spcBef>
              <a:buFont typeface="+mj-lt"/>
              <a:buAutoNum type="arabicPeriod"/>
            </a:pPr>
            <a:endParaRPr lang="en-US" sz="1000" b="1" i="1" dirty="0">
              <a:solidFill>
                <a:schemeClr val="bg1"/>
              </a:solidFill>
              <a:latin typeface="Franklin Gothic"/>
            </a:endParaRPr>
          </a:p>
          <a:p>
            <a:pPr marL="233362" lvl="3" indent="-228600">
              <a:spcBef>
                <a:spcPts val="300"/>
              </a:spcBef>
              <a:buFont typeface="+mj-lt"/>
              <a:buAutoNum type="arabicPeriod"/>
            </a:pPr>
            <a:r>
              <a:rPr lang="en-US" sz="1000" b="1" i="1" dirty="0">
                <a:solidFill>
                  <a:schemeClr val="bg1"/>
                </a:solidFill>
                <a:latin typeface="Franklin Gothic"/>
              </a:rPr>
              <a:t>Different perspectives provided </a:t>
            </a:r>
            <a:r>
              <a:rPr lang="en-US" sz="1000" i="1" dirty="0">
                <a:solidFill>
                  <a:schemeClr val="bg1"/>
                </a:solidFill>
                <a:latin typeface="Franklin Gothic"/>
              </a:rPr>
              <a:t>with the </a:t>
            </a:r>
            <a:r>
              <a:rPr lang="en-US" sz="1000" b="1" i="1" dirty="0">
                <a:solidFill>
                  <a:schemeClr val="bg1"/>
                </a:solidFill>
                <a:latin typeface="Franklin Gothic"/>
              </a:rPr>
              <a:t>sector-level information</a:t>
            </a:r>
            <a:r>
              <a:rPr lang="en-US" sz="1000" i="1" dirty="0">
                <a:solidFill>
                  <a:schemeClr val="bg1"/>
                </a:solidFill>
                <a:latin typeface="Franklin Gothic"/>
              </a:rPr>
              <a:t>, </a:t>
            </a:r>
            <a:r>
              <a:rPr lang="en-US" sz="1000" b="1" i="1" dirty="0">
                <a:solidFill>
                  <a:schemeClr val="bg1"/>
                </a:solidFill>
                <a:latin typeface="Franklin Gothic"/>
              </a:rPr>
              <a:t>salaries of  resident doctors </a:t>
            </a:r>
            <a:r>
              <a:rPr lang="en-US" sz="1000" i="1" dirty="0">
                <a:solidFill>
                  <a:schemeClr val="bg1"/>
                </a:solidFill>
                <a:latin typeface="Franklin Gothic"/>
              </a:rPr>
              <a:t>provided by the Ministry and </a:t>
            </a:r>
            <a:r>
              <a:rPr lang="en-US" sz="1000" b="1" i="1" dirty="0">
                <a:solidFill>
                  <a:schemeClr val="bg1"/>
                </a:solidFill>
                <a:latin typeface="Franklin Gothic"/>
              </a:rPr>
              <a:t>compensation package shared by specific hospitals</a:t>
            </a:r>
            <a:r>
              <a:rPr lang="en-US" sz="1000" i="1" dirty="0">
                <a:solidFill>
                  <a:schemeClr val="bg1"/>
                </a:solidFill>
                <a:latin typeface="Franklin Gothic"/>
              </a:rPr>
              <a:t> for different positions / seniorities </a:t>
            </a:r>
          </a:p>
        </p:txBody>
      </p:sp>
      <p:sp>
        <p:nvSpPr>
          <p:cNvPr id="1433" name="Rectangle 4">
            <a:extLst>
              <a:ext uri="{FF2B5EF4-FFF2-40B4-BE49-F238E27FC236}">
                <a16:creationId xmlns:a16="http://schemas.microsoft.com/office/drawing/2014/main" id="{3E4A01B0-DDD6-E087-0A77-DE2A244C53EE}"/>
              </a:ext>
            </a:extLst>
          </p:cNvPr>
          <p:cNvSpPr>
            <a:spLocks noChangeArrowheads="1"/>
          </p:cNvSpPr>
          <p:nvPr/>
        </p:nvSpPr>
        <p:spPr bwMode="auto">
          <a:xfrm>
            <a:off x="539750" y="2181214"/>
            <a:ext cx="742368"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a:solidFill>
                  <a:schemeClr val="bg2"/>
                </a:solidFill>
                <a:latin typeface="Franklin Gothic"/>
              </a:rPr>
              <a:t>SHAPE </a:t>
            </a:r>
          </a:p>
        </p:txBody>
      </p:sp>
      <p:sp>
        <p:nvSpPr>
          <p:cNvPr id="1434" name="Rectangle 4">
            <a:extLst>
              <a:ext uri="{FF2B5EF4-FFF2-40B4-BE49-F238E27FC236}">
                <a16:creationId xmlns:a16="http://schemas.microsoft.com/office/drawing/2014/main" id="{62BB410A-6D74-EFFA-0AAB-F7993127AE7C}"/>
              </a:ext>
            </a:extLst>
          </p:cNvPr>
          <p:cNvSpPr>
            <a:spLocks noChangeArrowheads="1"/>
          </p:cNvSpPr>
          <p:nvPr/>
        </p:nvSpPr>
        <p:spPr bwMode="auto">
          <a:xfrm>
            <a:off x="5168984" y="2181214"/>
            <a:ext cx="2724950"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038" indent="-173038">
              <a:spcAft>
                <a:spcPts val="300"/>
              </a:spcAft>
              <a:buClr>
                <a:schemeClr val="bg2"/>
              </a:buClr>
              <a:buFont typeface="+mj-lt"/>
              <a:buAutoNum type="arabicPeriod"/>
            </a:pPr>
            <a:r>
              <a:rPr lang="en-US" sz="1100" dirty="0">
                <a:latin typeface="Franklin Gothic"/>
              </a:rPr>
              <a:t>Benchmark of public policy schools' governance </a:t>
            </a:r>
          </a:p>
          <a:p>
            <a:pPr marL="173038" indent="-173038">
              <a:spcAft>
                <a:spcPts val="300"/>
              </a:spcAft>
              <a:buClr>
                <a:schemeClr val="bg2"/>
              </a:buClr>
              <a:buFont typeface="+mj-lt"/>
              <a:buAutoNum type="arabicPeriod"/>
            </a:pPr>
            <a:r>
              <a:rPr lang="en-US" sz="1100" dirty="0">
                <a:latin typeface="Franklin Gothic"/>
              </a:rPr>
              <a:t>In-depth analysis of healthcare compensation for physicians in KSA </a:t>
            </a:r>
          </a:p>
        </p:txBody>
      </p:sp>
      <p:sp>
        <p:nvSpPr>
          <p:cNvPr id="1435" name="Rectangle 4">
            <a:extLst>
              <a:ext uri="{FF2B5EF4-FFF2-40B4-BE49-F238E27FC236}">
                <a16:creationId xmlns:a16="http://schemas.microsoft.com/office/drawing/2014/main" id="{014267F2-18DE-D030-5C23-C722AFC3CD93}"/>
              </a:ext>
            </a:extLst>
          </p:cNvPr>
          <p:cNvSpPr>
            <a:spLocks noChangeArrowheads="1"/>
          </p:cNvSpPr>
          <p:nvPr/>
        </p:nvSpPr>
        <p:spPr bwMode="auto">
          <a:xfrm>
            <a:off x="1476578" y="2181214"/>
            <a:ext cx="1338802"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1450" indent="-171450">
              <a:spcAft>
                <a:spcPts val="300"/>
              </a:spcAft>
              <a:buClr>
                <a:schemeClr val="bg2"/>
              </a:buClr>
              <a:buFont typeface="Wingdings" panose="05000000000000000000" pitchFamily="2" charset="2"/>
              <a:buChar char="§"/>
            </a:pPr>
            <a:r>
              <a:rPr lang="en-US" sz="1100" dirty="0">
                <a:latin typeface="Franklin Gothic"/>
              </a:rPr>
              <a:t>Education </a:t>
            </a:r>
          </a:p>
          <a:p>
            <a:pPr marL="171450" indent="-171450">
              <a:spcAft>
                <a:spcPts val="300"/>
              </a:spcAft>
              <a:buClr>
                <a:schemeClr val="bg2"/>
              </a:buClr>
              <a:buFont typeface="Wingdings" panose="05000000000000000000" pitchFamily="2" charset="2"/>
              <a:buChar char="§"/>
            </a:pPr>
            <a:r>
              <a:rPr lang="en-US" sz="1100" dirty="0">
                <a:latin typeface="Franklin Gothic"/>
              </a:rPr>
              <a:t>Healthcare</a:t>
            </a:r>
          </a:p>
          <a:p>
            <a:pPr marL="171450" indent="-171450">
              <a:spcAft>
                <a:spcPts val="300"/>
              </a:spcAft>
              <a:buClr>
                <a:schemeClr val="bg2"/>
              </a:buClr>
              <a:buFont typeface="Wingdings" panose="05000000000000000000" pitchFamily="2" charset="2"/>
              <a:buChar char="§"/>
            </a:pPr>
            <a:r>
              <a:rPr lang="en-US" sz="1100" dirty="0">
                <a:latin typeface="Franklin Gothic"/>
              </a:rPr>
              <a:t>Social sector (NGOs) </a:t>
            </a:r>
          </a:p>
        </p:txBody>
      </p:sp>
      <p:sp>
        <p:nvSpPr>
          <p:cNvPr id="1439" name="Rectangle 4">
            <a:extLst>
              <a:ext uri="{FF2B5EF4-FFF2-40B4-BE49-F238E27FC236}">
                <a16:creationId xmlns:a16="http://schemas.microsoft.com/office/drawing/2014/main" id="{94331342-6E1B-D96B-4B27-E0CF2D15C62C}"/>
              </a:ext>
            </a:extLst>
          </p:cNvPr>
          <p:cNvSpPr>
            <a:spLocks noChangeArrowheads="1"/>
          </p:cNvSpPr>
          <p:nvPr/>
        </p:nvSpPr>
        <p:spPr bwMode="auto">
          <a:xfrm>
            <a:off x="539750" y="3697038"/>
            <a:ext cx="742368"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a:solidFill>
                  <a:schemeClr val="bg2"/>
                </a:solidFill>
                <a:latin typeface="Franklin Gothic"/>
              </a:rPr>
              <a:t>PFIC</a:t>
            </a:r>
          </a:p>
        </p:txBody>
      </p:sp>
      <p:sp>
        <p:nvSpPr>
          <p:cNvPr id="1438" name="Rectangle 10">
            <a:extLst>
              <a:ext uri="{FF2B5EF4-FFF2-40B4-BE49-F238E27FC236}">
                <a16:creationId xmlns:a16="http://schemas.microsoft.com/office/drawing/2014/main" id="{1A936317-997D-03E7-299D-EBC8EE335BC6}"/>
              </a:ext>
            </a:extLst>
          </p:cNvPr>
          <p:cNvSpPr>
            <a:spLocks noChangeArrowheads="1"/>
          </p:cNvSpPr>
          <p:nvPr/>
        </p:nvSpPr>
        <p:spPr bwMode="auto">
          <a:xfrm>
            <a:off x="8319389" y="3697038"/>
            <a:ext cx="3321749"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233362" lvl="3" indent="-228600">
              <a:spcBef>
                <a:spcPts val="300"/>
              </a:spcBef>
              <a:buFont typeface="+mj-lt"/>
              <a:buAutoNum type="arabicPeriod"/>
            </a:pPr>
            <a:r>
              <a:rPr lang="en-US" sz="1000" b="1" i="1" dirty="0">
                <a:solidFill>
                  <a:schemeClr val="bg1"/>
                </a:solidFill>
                <a:latin typeface="Franklin Gothic"/>
              </a:rPr>
              <a:t>Selection of the platforms based on specific criteria </a:t>
            </a:r>
            <a:r>
              <a:rPr lang="en-US" sz="1000" i="1" dirty="0">
                <a:solidFill>
                  <a:schemeClr val="bg1"/>
                </a:solidFill>
                <a:latin typeface="Franklin Gothic"/>
              </a:rPr>
              <a:t>(digital advisory and loan origination journey integrated). The </a:t>
            </a:r>
            <a:r>
              <a:rPr lang="en-US" sz="1000" b="1" i="1" dirty="0">
                <a:solidFill>
                  <a:schemeClr val="bg1"/>
                </a:solidFill>
                <a:latin typeface="Franklin Gothic"/>
              </a:rPr>
              <a:t>annual web traffic </a:t>
            </a:r>
            <a:r>
              <a:rPr lang="en-US" sz="1000" i="1" dirty="0">
                <a:solidFill>
                  <a:schemeClr val="bg1"/>
                </a:solidFill>
                <a:latin typeface="Franklin Gothic"/>
              </a:rPr>
              <a:t>and details on </a:t>
            </a:r>
            <a:r>
              <a:rPr lang="en-US" sz="1000" b="1" i="1" dirty="0">
                <a:solidFill>
                  <a:schemeClr val="bg1"/>
                </a:solidFill>
                <a:latin typeface="Franklin Gothic"/>
              </a:rPr>
              <a:t>services offered</a:t>
            </a:r>
            <a:r>
              <a:rPr lang="en-US" sz="1000" i="1" dirty="0">
                <a:solidFill>
                  <a:schemeClr val="bg1"/>
                </a:solidFill>
                <a:latin typeface="Franklin Gothic"/>
              </a:rPr>
              <a:t> were provided </a:t>
            </a:r>
          </a:p>
          <a:p>
            <a:pPr marL="233362" lvl="3" indent="-228600">
              <a:spcBef>
                <a:spcPts val="300"/>
              </a:spcBef>
              <a:buFont typeface="+mj-lt"/>
              <a:buAutoNum type="arabicPeriod"/>
            </a:pPr>
            <a:endParaRPr lang="en-US" sz="1000" i="1" dirty="0">
              <a:solidFill>
                <a:schemeClr val="bg1"/>
              </a:solidFill>
              <a:latin typeface="Franklin Gothic"/>
            </a:endParaRPr>
          </a:p>
          <a:p>
            <a:pPr marL="233362" lvl="3" indent="-228600">
              <a:spcBef>
                <a:spcPts val="300"/>
              </a:spcBef>
              <a:buFont typeface="+mj-lt"/>
              <a:buAutoNum type="arabicPeriod"/>
            </a:pPr>
            <a:r>
              <a:rPr lang="en-US" sz="1000" b="1" i="1" dirty="0">
                <a:solidFill>
                  <a:schemeClr val="bg1"/>
                </a:solidFill>
                <a:latin typeface="Franklin Gothic"/>
              </a:rPr>
              <a:t>8 banks covered </a:t>
            </a:r>
            <a:r>
              <a:rPr lang="en-US" sz="1000" i="1" dirty="0">
                <a:solidFill>
                  <a:schemeClr val="bg1"/>
                </a:solidFill>
                <a:latin typeface="Franklin Gothic"/>
              </a:rPr>
              <a:t>including information on </a:t>
            </a:r>
            <a:r>
              <a:rPr lang="en-US" sz="1000" b="1" i="1" dirty="0">
                <a:solidFill>
                  <a:schemeClr val="bg1"/>
                </a:solidFill>
                <a:latin typeface="Franklin Gothic"/>
              </a:rPr>
              <a:t>the type of offering</a:t>
            </a:r>
            <a:r>
              <a:rPr lang="en-US" sz="1000" i="1" dirty="0">
                <a:solidFill>
                  <a:schemeClr val="bg1"/>
                </a:solidFill>
                <a:latin typeface="Franklin Gothic"/>
              </a:rPr>
              <a:t>, </a:t>
            </a:r>
            <a:r>
              <a:rPr lang="en-US" sz="1000" b="1" i="1" dirty="0">
                <a:solidFill>
                  <a:schemeClr val="bg1"/>
                </a:solidFill>
                <a:latin typeface="Franklin Gothic"/>
              </a:rPr>
              <a:t>the SDG addressed and impact elements</a:t>
            </a:r>
            <a:r>
              <a:rPr lang="en-US" sz="1000" i="1" dirty="0">
                <a:solidFill>
                  <a:schemeClr val="bg1"/>
                </a:solidFill>
                <a:latin typeface="Franklin Gothic"/>
              </a:rPr>
              <a:t>. The scope has been </a:t>
            </a:r>
            <a:r>
              <a:rPr lang="en-US" sz="1000" b="1" i="1" dirty="0">
                <a:solidFill>
                  <a:schemeClr val="bg1"/>
                </a:solidFill>
                <a:latin typeface="Franklin Gothic"/>
              </a:rPr>
              <a:t>extended to SMEs</a:t>
            </a:r>
            <a:r>
              <a:rPr lang="en-US" sz="1000" i="1" dirty="0">
                <a:solidFill>
                  <a:schemeClr val="bg1"/>
                </a:solidFill>
                <a:latin typeface="Franklin Gothic"/>
              </a:rPr>
              <a:t> as well. </a:t>
            </a:r>
          </a:p>
        </p:txBody>
      </p:sp>
      <p:sp>
        <p:nvSpPr>
          <p:cNvPr id="1440" name="Rectangle 4">
            <a:extLst>
              <a:ext uri="{FF2B5EF4-FFF2-40B4-BE49-F238E27FC236}">
                <a16:creationId xmlns:a16="http://schemas.microsoft.com/office/drawing/2014/main" id="{EF82C626-E5AD-2E2C-8B96-0DF612167E97}"/>
              </a:ext>
            </a:extLst>
          </p:cNvPr>
          <p:cNvSpPr>
            <a:spLocks noChangeArrowheads="1"/>
          </p:cNvSpPr>
          <p:nvPr/>
        </p:nvSpPr>
        <p:spPr bwMode="auto">
          <a:xfrm>
            <a:off x="1476578" y="3697038"/>
            <a:ext cx="1338802"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1450" indent="-171450">
              <a:spcAft>
                <a:spcPts val="300"/>
              </a:spcAft>
              <a:buClr>
                <a:schemeClr val="bg2"/>
              </a:buClr>
              <a:buFont typeface="Wingdings" panose="05000000000000000000" pitchFamily="2" charset="2"/>
              <a:buChar char="§"/>
            </a:pPr>
            <a:r>
              <a:rPr lang="en-US" sz="1100" dirty="0">
                <a:latin typeface="Franklin Gothic"/>
              </a:rPr>
              <a:t>Banking </a:t>
            </a:r>
          </a:p>
          <a:p>
            <a:pPr marL="171450" indent="-171450">
              <a:spcAft>
                <a:spcPts val="300"/>
              </a:spcAft>
              <a:buClr>
                <a:schemeClr val="bg2"/>
              </a:buClr>
              <a:buFont typeface="Wingdings" panose="05000000000000000000" pitchFamily="2" charset="2"/>
              <a:buChar char="§"/>
            </a:pPr>
            <a:r>
              <a:rPr lang="en-US" sz="1100" dirty="0">
                <a:latin typeface="Franklin Gothic"/>
              </a:rPr>
              <a:t>Insurance </a:t>
            </a:r>
          </a:p>
          <a:p>
            <a:pPr marL="171450" indent="-171450">
              <a:spcAft>
                <a:spcPts val="300"/>
              </a:spcAft>
              <a:buClr>
                <a:schemeClr val="bg2"/>
              </a:buClr>
              <a:buFont typeface="Wingdings" panose="05000000000000000000" pitchFamily="2" charset="2"/>
              <a:buChar char="§"/>
            </a:pPr>
            <a:r>
              <a:rPr lang="en-US" sz="1100" dirty="0">
                <a:latin typeface="Franklin Gothic"/>
              </a:rPr>
              <a:t>Neo-Banking</a:t>
            </a:r>
          </a:p>
        </p:txBody>
      </p:sp>
      <p:sp>
        <p:nvSpPr>
          <p:cNvPr id="1441" name="Rectangle 4">
            <a:extLst>
              <a:ext uri="{FF2B5EF4-FFF2-40B4-BE49-F238E27FC236}">
                <a16:creationId xmlns:a16="http://schemas.microsoft.com/office/drawing/2014/main" id="{757F50FA-DC45-4F68-CB6C-4DCF89CCF94C}"/>
              </a:ext>
            </a:extLst>
          </p:cNvPr>
          <p:cNvSpPr>
            <a:spLocks noChangeArrowheads="1"/>
          </p:cNvSpPr>
          <p:nvPr/>
        </p:nvSpPr>
        <p:spPr bwMode="auto">
          <a:xfrm>
            <a:off x="5168984" y="3697038"/>
            <a:ext cx="2724950"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038" indent="-173038">
              <a:spcAft>
                <a:spcPts val="300"/>
              </a:spcAft>
              <a:buClr>
                <a:schemeClr val="bg2"/>
              </a:buClr>
              <a:buFont typeface="+mj-lt"/>
              <a:buAutoNum type="arabicPeriod"/>
            </a:pPr>
            <a:r>
              <a:rPr lang="en-US" sz="1100" dirty="0">
                <a:latin typeface="Franklin Gothic"/>
              </a:rPr>
              <a:t>Mapping of mortgage advisory platforms in Spain </a:t>
            </a:r>
          </a:p>
          <a:p>
            <a:pPr marL="173038" indent="-173038">
              <a:spcAft>
                <a:spcPts val="300"/>
              </a:spcAft>
              <a:buClr>
                <a:schemeClr val="bg2"/>
              </a:buClr>
              <a:buFont typeface="+mj-lt"/>
              <a:buAutoNum type="arabicPeriod"/>
            </a:pPr>
            <a:r>
              <a:rPr lang="en-US" sz="1100" dirty="0">
                <a:latin typeface="Franklin Gothic"/>
              </a:rPr>
              <a:t>Case studies of banks in Africa leveraging product and service to achieve SDGs </a:t>
            </a:r>
          </a:p>
        </p:txBody>
      </p:sp>
      <p:sp>
        <p:nvSpPr>
          <p:cNvPr id="1445" name="Rectangle 4">
            <a:extLst>
              <a:ext uri="{FF2B5EF4-FFF2-40B4-BE49-F238E27FC236}">
                <a16:creationId xmlns:a16="http://schemas.microsoft.com/office/drawing/2014/main" id="{B64201D1-E921-F7AF-E549-9A9F26FAF689}"/>
              </a:ext>
            </a:extLst>
          </p:cNvPr>
          <p:cNvSpPr>
            <a:spLocks noChangeArrowheads="1"/>
          </p:cNvSpPr>
          <p:nvPr/>
        </p:nvSpPr>
        <p:spPr bwMode="auto">
          <a:xfrm>
            <a:off x="539750" y="5212861"/>
            <a:ext cx="742368" cy="88485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a:solidFill>
                  <a:schemeClr val="bg2"/>
                </a:solidFill>
                <a:latin typeface="Franklin Gothic"/>
              </a:rPr>
              <a:t>EPNG</a:t>
            </a:r>
          </a:p>
        </p:txBody>
      </p:sp>
      <p:sp>
        <p:nvSpPr>
          <p:cNvPr id="1444" name="Rectangle 10">
            <a:extLst>
              <a:ext uri="{FF2B5EF4-FFF2-40B4-BE49-F238E27FC236}">
                <a16:creationId xmlns:a16="http://schemas.microsoft.com/office/drawing/2014/main" id="{59E6856B-6803-5324-D533-EA85BC7558B7}"/>
              </a:ext>
            </a:extLst>
          </p:cNvPr>
          <p:cNvSpPr>
            <a:spLocks noChangeArrowheads="1"/>
          </p:cNvSpPr>
          <p:nvPr/>
        </p:nvSpPr>
        <p:spPr bwMode="auto">
          <a:xfrm>
            <a:off x="8319389" y="5212861"/>
            <a:ext cx="3321749" cy="88485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233362" lvl="3" indent="-228600">
              <a:spcBef>
                <a:spcPts val="300"/>
              </a:spcBef>
              <a:buFont typeface="+mj-lt"/>
              <a:buAutoNum type="arabicPeriod"/>
            </a:pPr>
            <a:r>
              <a:rPr lang="en-US" sz="1000" b="1" i="1" dirty="0">
                <a:solidFill>
                  <a:schemeClr val="bg1"/>
                </a:solidFill>
                <a:latin typeface="Franklin Gothic"/>
              </a:rPr>
              <a:t>Profit</a:t>
            </a:r>
            <a:r>
              <a:rPr lang="en-US" sz="1100" b="1" i="1" dirty="0">
                <a:solidFill>
                  <a:schemeClr val="bg1"/>
                </a:solidFill>
                <a:latin typeface="Franklin Gothic"/>
              </a:rPr>
              <a:t> / Loss data provided for 22 countries including Capex and Opex information whenever possible </a:t>
            </a:r>
          </a:p>
          <a:p>
            <a:pPr marL="233362" lvl="3" indent="-228600">
              <a:spcBef>
                <a:spcPts val="300"/>
              </a:spcBef>
              <a:buFont typeface="+mj-lt"/>
              <a:buAutoNum type="arabicPeriod"/>
            </a:pPr>
            <a:endParaRPr lang="en-US" sz="1100" i="1" dirty="0">
              <a:solidFill>
                <a:schemeClr val="bg1"/>
              </a:solidFill>
              <a:latin typeface="Franklin Gothic"/>
            </a:endParaRPr>
          </a:p>
          <a:p>
            <a:pPr marL="233362" lvl="3" indent="-228600">
              <a:spcBef>
                <a:spcPts val="300"/>
              </a:spcBef>
              <a:buFont typeface="+mj-lt"/>
              <a:buAutoNum type="arabicPeriod"/>
            </a:pPr>
            <a:r>
              <a:rPr lang="en-US" sz="1100" b="1" i="1" dirty="0">
                <a:solidFill>
                  <a:schemeClr val="bg1"/>
                </a:solidFill>
                <a:latin typeface="Franklin Gothic"/>
              </a:rPr>
              <a:t>View on the jet fuel distributors (Total Energies, Shell, AirBP, etc.) and their market shares; supply of jet fuel by airport </a:t>
            </a:r>
            <a:endParaRPr lang="en-US" sz="1100" i="1" dirty="0">
              <a:solidFill>
                <a:schemeClr val="bg1"/>
              </a:solidFill>
              <a:latin typeface="Franklin Gothic"/>
            </a:endParaRPr>
          </a:p>
        </p:txBody>
      </p:sp>
      <p:sp>
        <p:nvSpPr>
          <p:cNvPr id="1446" name="Rectangle 4">
            <a:extLst>
              <a:ext uri="{FF2B5EF4-FFF2-40B4-BE49-F238E27FC236}">
                <a16:creationId xmlns:a16="http://schemas.microsoft.com/office/drawing/2014/main" id="{E5A5FF07-1727-2AE3-ECA0-E6E79414DCAC}"/>
              </a:ext>
            </a:extLst>
          </p:cNvPr>
          <p:cNvSpPr>
            <a:spLocks noChangeArrowheads="1"/>
          </p:cNvSpPr>
          <p:nvPr/>
        </p:nvSpPr>
        <p:spPr bwMode="auto">
          <a:xfrm>
            <a:off x="1476578" y="5212861"/>
            <a:ext cx="1338802" cy="88485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1450" indent="-171450">
              <a:spcAft>
                <a:spcPts val="300"/>
              </a:spcAft>
              <a:buClr>
                <a:schemeClr val="bg2"/>
              </a:buClr>
              <a:buFont typeface="Wingdings" panose="05000000000000000000" pitchFamily="2" charset="2"/>
              <a:buChar char="§"/>
            </a:pPr>
            <a:r>
              <a:rPr lang="en-US" sz="1100" dirty="0">
                <a:latin typeface="Franklin Gothic"/>
              </a:rPr>
              <a:t>Utilities </a:t>
            </a:r>
          </a:p>
          <a:p>
            <a:pPr marL="171450" indent="-171450">
              <a:spcAft>
                <a:spcPts val="300"/>
              </a:spcAft>
              <a:buClr>
                <a:schemeClr val="bg2"/>
              </a:buClr>
              <a:buFont typeface="Wingdings" panose="05000000000000000000" pitchFamily="2" charset="2"/>
              <a:buChar char="§"/>
            </a:pPr>
            <a:r>
              <a:rPr lang="en-US" sz="1100" dirty="0">
                <a:latin typeface="Franklin Gothic"/>
              </a:rPr>
              <a:t>O&amp;G</a:t>
            </a:r>
          </a:p>
          <a:p>
            <a:pPr marL="171450" indent="-171450">
              <a:spcAft>
                <a:spcPts val="300"/>
              </a:spcAft>
              <a:buClr>
                <a:schemeClr val="bg2"/>
              </a:buClr>
              <a:buFont typeface="Wingdings" panose="05000000000000000000" pitchFamily="2" charset="2"/>
              <a:buChar char="§"/>
            </a:pPr>
            <a:r>
              <a:rPr lang="en-US" sz="1100" dirty="0">
                <a:latin typeface="Franklin Gothic"/>
              </a:rPr>
              <a:t>Renewable Energies </a:t>
            </a:r>
          </a:p>
        </p:txBody>
      </p:sp>
      <p:sp>
        <p:nvSpPr>
          <p:cNvPr id="1447" name="Rectangle 4">
            <a:extLst>
              <a:ext uri="{FF2B5EF4-FFF2-40B4-BE49-F238E27FC236}">
                <a16:creationId xmlns:a16="http://schemas.microsoft.com/office/drawing/2014/main" id="{B48E8F69-1878-5575-43CD-F41E3F469E98}"/>
              </a:ext>
            </a:extLst>
          </p:cNvPr>
          <p:cNvSpPr>
            <a:spLocks noChangeArrowheads="1"/>
          </p:cNvSpPr>
          <p:nvPr/>
        </p:nvSpPr>
        <p:spPr bwMode="auto">
          <a:xfrm>
            <a:off x="5168984" y="5212861"/>
            <a:ext cx="2724950" cy="88485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038" indent="-173038">
              <a:spcAft>
                <a:spcPts val="300"/>
              </a:spcAft>
              <a:buClr>
                <a:schemeClr val="bg2"/>
              </a:buClr>
              <a:buFont typeface="+mj-lt"/>
              <a:buAutoNum type="arabicPeriod"/>
            </a:pPr>
            <a:r>
              <a:rPr lang="en-US" sz="1100" dirty="0">
                <a:latin typeface="Franklin Gothic"/>
              </a:rPr>
              <a:t>Showing that power utilities in Africa are not financially viable through specific metrics </a:t>
            </a:r>
          </a:p>
          <a:p>
            <a:pPr marL="173038" indent="-173038">
              <a:spcAft>
                <a:spcPts val="300"/>
              </a:spcAft>
              <a:buClr>
                <a:schemeClr val="bg2"/>
              </a:buClr>
              <a:buFont typeface="+mj-lt"/>
              <a:buAutoNum type="arabicPeriod"/>
            </a:pPr>
            <a:r>
              <a:rPr lang="en-US" sz="1100" dirty="0">
                <a:latin typeface="Franklin Gothic"/>
              </a:rPr>
              <a:t>Market analysis of the jet fuel market in France </a:t>
            </a:r>
          </a:p>
        </p:txBody>
      </p:sp>
      <p:sp>
        <p:nvSpPr>
          <p:cNvPr id="1469" name="Freeform: Shape 1468">
            <a:extLst>
              <a:ext uri="{FF2B5EF4-FFF2-40B4-BE49-F238E27FC236}">
                <a16:creationId xmlns:a16="http://schemas.microsoft.com/office/drawing/2014/main" id="{555D73EC-012C-4B17-DFC3-F774378CE48E}"/>
              </a:ext>
            </a:extLst>
          </p:cNvPr>
          <p:cNvSpPr>
            <a:spLocks noChangeAspect="1"/>
          </p:cNvSpPr>
          <p:nvPr/>
        </p:nvSpPr>
        <p:spPr>
          <a:xfrm>
            <a:off x="539750" y="4210369"/>
            <a:ext cx="482174" cy="496487"/>
          </a:xfrm>
          <a:custGeom>
            <a:avLst/>
            <a:gdLst>
              <a:gd name="connsiteX0" fmla="*/ 268687 w 3642903"/>
              <a:gd name="connsiteY0" fmla="*/ 2213879 h 3751021"/>
              <a:gd name="connsiteX1" fmla="*/ 256190 w 3642903"/>
              <a:gd name="connsiteY1" fmla="*/ 3626050 h 3751021"/>
              <a:gd name="connsiteX2" fmla="*/ 631103 w 3642903"/>
              <a:gd name="connsiteY2" fmla="*/ 3626050 h 3751021"/>
              <a:gd name="connsiteX3" fmla="*/ 631103 w 3642903"/>
              <a:gd name="connsiteY3" fmla="*/ 2213879 h 3751021"/>
              <a:gd name="connsiteX4" fmla="*/ 493635 w 3642903"/>
              <a:gd name="connsiteY4" fmla="*/ 2351346 h 3751021"/>
              <a:gd name="connsiteX5" fmla="*/ 406155 w 3642903"/>
              <a:gd name="connsiteY5" fmla="*/ 2351346 h 3751021"/>
              <a:gd name="connsiteX6" fmla="*/ 187260 w 3642903"/>
              <a:gd name="connsiteY6" fmla="*/ 1996351 h 3751021"/>
              <a:gd name="connsiteX7" fmla="*/ 231196 w 3642903"/>
              <a:gd name="connsiteY7" fmla="*/ 2013925 h 3751021"/>
              <a:gd name="connsiteX8" fmla="*/ 443646 w 3642903"/>
              <a:gd name="connsiteY8" fmla="*/ 2226375 h 3751021"/>
              <a:gd name="connsiteX9" fmla="*/ 643600 w 3642903"/>
              <a:gd name="connsiteY9" fmla="*/ 2026422 h 3751021"/>
              <a:gd name="connsiteX10" fmla="*/ 718582 w 3642903"/>
              <a:gd name="connsiteY10" fmla="*/ 2001428 h 3751021"/>
              <a:gd name="connsiteX11" fmla="*/ 756074 w 3642903"/>
              <a:gd name="connsiteY11" fmla="*/ 2063913 h 3751021"/>
              <a:gd name="connsiteX12" fmla="*/ 756074 w 3642903"/>
              <a:gd name="connsiteY12" fmla="*/ 3688536 h 3751021"/>
              <a:gd name="connsiteX13" fmla="*/ 693588 w 3642903"/>
              <a:gd name="connsiteY13" fmla="*/ 3751021 h 3751021"/>
              <a:gd name="connsiteX14" fmla="*/ 193704 w 3642903"/>
              <a:gd name="connsiteY14" fmla="*/ 3751021 h 3751021"/>
              <a:gd name="connsiteX15" fmla="*/ 131219 w 3642903"/>
              <a:gd name="connsiteY15" fmla="*/ 3688536 h 3751021"/>
              <a:gd name="connsiteX16" fmla="*/ 131219 w 3642903"/>
              <a:gd name="connsiteY16" fmla="*/ 2063913 h 3751021"/>
              <a:gd name="connsiteX17" fmla="*/ 168710 w 3642903"/>
              <a:gd name="connsiteY17" fmla="*/ 2001428 h 3751021"/>
              <a:gd name="connsiteX18" fmla="*/ 187260 w 3642903"/>
              <a:gd name="connsiteY18" fmla="*/ 1996351 h 3751021"/>
              <a:gd name="connsiteX19" fmla="*/ 1318443 w 3642903"/>
              <a:gd name="connsiteY19" fmla="*/ 1401567 h 3751021"/>
              <a:gd name="connsiteX20" fmla="*/ 1130987 w 3642903"/>
              <a:gd name="connsiteY20" fmla="*/ 1589024 h 3751021"/>
              <a:gd name="connsiteX21" fmla="*/ 1130987 w 3642903"/>
              <a:gd name="connsiteY21" fmla="*/ 3626050 h 3751021"/>
              <a:gd name="connsiteX22" fmla="*/ 1505899 w 3642903"/>
              <a:gd name="connsiteY22" fmla="*/ 3626050 h 3751021"/>
              <a:gd name="connsiteX23" fmla="*/ 1505899 w 3642903"/>
              <a:gd name="connsiteY23" fmla="*/ 1589024 h 3751021"/>
              <a:gd name="connsiteX24" fmla="*/ 1312194 w 3642903"/>
              <a:gd name="connsiteY24" fmla="*/ 1245353 h 3751021"/>
              <a:gd name="connsiteX25" fmla="*/ 1355934 w 3642903"/>
              <a:gd name="connsiteY25" fmla="*/ 1264099 h 3751021"/>
              <a:gd name="connsiteX26" fmla="*/ 1605876 w 3642903"/>
              <a:gd name="connsiteY26" fmla="*/ 1514041 h 3751021"/>
              <a:gd name="connsiteX27" fmla="*/ 1618373 w 3642903"/>
              <a:gd name="connsiteY27" fmla="*/ 1564029 h 3751021"/>
              <a:gd name="connsiteX28" fmla="*/ 1618373 w 3642903"/>
              <a:gd name="connsiteY28" fmla="*/ 3688536 h 3751021"/>
              <a:gd name="connsiteX29" fmla="*/ 1568385 w 3642903"/>
              <a:gd name="connsiteY29" fmla="*/ 3751021 h 3751021"/>
              <a:gd name="connsiteX30" fmla="*/ 1068501 w 3642903"/>
              <a:gd name="connsiteY30" fmla="*/ 3751021 h 3751021"/>
              <a:gd name="connsiteX31" fmla="*/ 1006016 w 3642903"/>
              <a:gd name="connsiteY31" fmla="*/ 3688536 h 3751021"/>
              <a:gd name="connsiteX32" fmla="*/ 1006016 w 3642903"/>
              <a:gd name="connsiteY32" fmla="*/ 1564029 h 3751021"/>
              <a:gd name="connsiteX33" fmla="*/ 1018513 w 3642903"/>
              <a:gd name="connsiteY33" fmla="*/ 1514041 h 3751021"/>
              <a:gd name="connsiteX34" fmla="*/ 1268455 w 3642903"/>
              <a:gd name="connsiteY34" fmla="*/ 1264099 h 3751021"/>
              <a:gd name="connsiteX35" fmla="*/ 1312194 w 3642903"/>
              <a:gd name="connsiteY35" fmla="*/ 1245353 h 3751021"/>
              <a:gd name="connsiteX36" fmla="*/ 2205737 w 3642903"/>
              <a:gd name="connsiteY36" fmla="*/ 1164121 h 3751021"/>
              <a:gd name="connsiteX37" fmla="*/ 2005783 w 3642903"/>
              <a:gd name="connsiteY37" fmla="*/ 1464053 h 3751021"/>
              <a:gd name="connsiteX38" fmla="*/ 2005783 w 3642903"/>
              <a:gd name="connsiteY38" fmla="*/ 3626050 h 3751021"/>
              <a:gd name="connsiteX39" fmla="*/ 2380696 w 3642903"/>
              <a:gd name="connsiteY39" fmla="*/ 3626050 h 3751021"/>
              <a:gd name="connsiteX40" fmla="*/ 2380696 w 3642903"/>
              <a:gd name="connsiteY40" fmla="*/ 1339082 h 3751021"/>
              <a:gd name="connsiteX41" fmla="*/ 2193240 w 3642903"/>
              <a:gd name="connsiteY41" fmla="*/ 1001659 h 3751021"/>
              <a:gd name="connsiteX42" fmla="*/ 2243228 w 3642903"/>
              <a:gd name="connsiteY42" fmla="*/ 1014156 h 3751021"/>
              <a:gd name="connsiteX43" fmla="*/ 2493170 w 3642903"/>
              <a:gd name="connsiteY43" fmla="*/ 1264099 h 3751021"/>
              <a:gd name="connsiteX44" fmla="*/ 2505667 w 3642903"/>
              <a:gd name="connsiteY44" fmla="*/ 1314087 h 3751021"/>
              <a:gd name="connsiteX45" fmla="*/ 2505667 w 3642903"/>
              <a:gd name="connsiteY45" fmla="*/ 3688536 h 3751021"/>
              <a:gd name="connsiteX46" fmla="*/ 2443182 w 3642903"/>
              <a:gd name="connsiteY46" fmla="*/ 3751021 h 3751021"/>
              <a:gd name="connsiteX47" fmla="*/ 1943298 w 3642903"/>
              <a:gd name="connsiteY47" fmla="*/ 3751021 h 3751021"/>
              <a:gd name="connsiteX48" fmla="*/ 1880812 w 3642903"/>
              <a:gd name="connsiteY48" fmla="*/ 3688536 h 3751021"/>
              <a:gd name="connsiteX49" fmla="*/ 1880812 w 3642903"/>
              <a:gd name="connsiteY49" fmla="*/ 1439058 h 3751021"/>
              <a:gd name="connsiteX50" fmla="*/ 1893309 w 3642903"/>
              <a:gd name="connsiteY50" fmla="*/ 1401567 h 3751021"/>
              <a:gd name="connsiteX51" fmla="*/ 2143251 w 3642903"/>
              <a:gd name="connsiteY51" fmla="*/ 1026653 h 3751021"/>
              <a:gd name="connsiteX52" fmla="*/ 2193240 w 3642903"/>
              <a:gd name="connsiteY52" fmla="*/ 1001659 h 3751021"/>
              <a:gd name="connsiteX53" fmla="*/ 3130522 w 3642903"/>
              <a:gd name="connsiteY53" fmla="*/ 964168 h 3751021"/>
              <a:gd name="connsiteX54" fmla="*/ 2880580 w 3642903"/>
              <a:gd name="connsiteY54" fmla="*/ 1214111 h 3751021"/>
              <a:gd name="connsiteX55" fmla="*/ 2880580 w 3642903"/>
              <a:gd name="connsiteY55" fmla="*/ 3626050 h 3751021"/>
              <a:gd name="connsiteX56" fmla="*/ 3255493 w 3642903"/>
              <a:gd name="connsiteY56" fmla="*/ 3626050 h 3751021"/>
              <a:gd name="connsiteX57" fmla="*/ 3255493 w 3642903"/>
              <a:gd name="connsiteY57" fmla="*/ 1089139 h 3751021"/>
              <a:gd name="connsiteX58" fmla="*/ 3130522 w 3642903"/>
              <a:gd name="connsiteY58" fmla="*/ 814203 h 3751021"/>
              <a:gd name="connsiteX59" fmla="*/ 3180510 w 3642903"/>
              <a:gd name="connsiteY59" fmla="*/ 826700 h 3751021"/>
              <a:gd name="connsiteX60" fmla="*/ 3367967 w 3642903"/>
              <a:gd name="connsiteY60" fmla="*/ 1014156 h 3751021"/>
              <a:gd name="connsiteX61" fmla="*/ 3380464 w 3642903"/>
              <a:gd name="connsiteY61" fmla="*/ 1064145 h 3751021"/>
              <a:gd name="connsiteX62" fmla="*/ 3380464 w 3642903"/>
              <a:gd name="connsiteY62" fmla="*/ 3688536 h 3751021"/>
              <a:gd name="connsiteX63" fmla="*/ 3317979 w 3642903"/>
              <a:gd name="connsiteY63" fmla="*/ 3751021 h 3751021"/>
              <a:gd name="connsiteX64" fmla="*/ 2818095 w 3642903"/>
              <a:gd name="connsiteY64" fmla="*/ 3751021 h 3751021"/>
              <a:gd name="connsiteX65" fmla="*/ 2755609 w 3642903"/>
              <a:gd name="connsiteY65" fmla="*/ 3688536 h 3751021"/>
              <a:gd name="connsiteX66" fmla="*/ 2755609 w 3642903"/>
              <a:gd name="connsiteY66" fmla="*/ 1189116 h 3751021"/>
              <a:gd name="connsiteX67" fmla="*/ 2768106 w 3642903"/>
              <a:gd name="connsiteY67" fmla="*/ 1139127 h 3751021"/>
              <a:gd name="connsiteX68" fmla="*/ 3080534 w 3642903"/>
              <a:gd name="connsiteY68" fmla="*/ 826700 h 3751021"/>
              <a:gd name="connsiteX69" fmla="*/ 3130522 w 3642903"/>
              <a:gd name="connsiteY69" fmla="*/ 814203 h 3751021"/>
              <a:gd name="connsiteX70" fmla="*/ 3218002 w 3642903"/>
              <a:gd name="connsiteY70" fmla="*/ 126862 h 3751021"/>
              <a:gd name="connsiteX71" fmla="*/ 3505435 w 3642903"/>
              <a:gd name="connsiteY71" fmla="*/ 414295 h 3751021"/>
              <a:gd name="connsiteX72" fmla="*/ 3505435 w 3642903"/>
              <a:gd name="connsiteY72" fmla="*/ 126862 h 3751021"/>
              <a:gd name="connsiteX73" fmla="*/ 3170289 w 3642903"/>
              <a:gd name="connsiteY73" fmla="*/ 60 h 3751021"/>
              <a:gd name="connsiteX74" fmla="*/ 3557215 w 3642903"/>
              <a:gd name="connsiteY74" fmla="*/ 2482 h 3751021"/>
              <a:gd name="connsiteX75" fmla="*/ 3642903 w 3642903"/>
              <a:gd name="connsiteY75" fmla="*/ 64377 h 3751021"/>
              <a:gd name="connsiteX76" fmla="*/ 3642903 w 3642903"/>
              <a:gd name="connsiteY76" fmla="*/ 564261 h 3751021"/>
              <a:gd name="connsiteX77" fmla="*/ 3605412 w 3642903"/>
              <a:gd name="connsiteY77" fmla="*/ 626746 h 3751021"/>
              <a:gd name="connsiteX78" fmla="*/ 3567920 w 3642903"/>
              <a:gd name="connsiteY78" fmla="*/ 626746 h 3751021"/>
              <a:gd name="connsiteX79" fmla="*/ 3517932 w 3642903"/>
              <a:gd name="connsiteY79" fmla="*/ 614249 h 3751021"/>
              <a:gd name="connsiteX80" fmla="*/ 3305481 w 3642903"/>
              <a:gd name="connsiteY80" fmla="*/ 401798 h 3751021"/>
              <a:gd name="connsiteX81" fmla="*/ 2605644 w 3642903"/>
              <a:gd name="connsiteY81" fmla="*/ 1114133 h 3751021"/>
              <a:gd name="connsiteX82" fmla="*/ 2518164 w 3642903"/>
              <a:gd name="connsiteY82" fmla="*/ 1114133 h 3751021"/>
              <a:gd name="connsiteX83" fmla="*/ 2193240 w 3642903"/>
              <a:gd name="connsiteY83" fmla="*/ 776711 h 3751021"/>
              <a:gd name="connsiteX84" fmla="*/ 1730847 w 3642903"/>
              <a:gd name="connsiteY84" fmla="*/ 1351579 h 3751021"/>
              <a:gd name="connsiteX85" fmla="*/ 1693356 w 3642903"/>
              <a:gd name="connsiteY85" fmla="*/ 1376573 h 3751021"/>
              <a:gd name="connsiteX86" fmla="*/ 1643368 w 3642903"/>
              <a:gd name="connsiteY86" fmla="*/ 1364076 h 3751021"/>
              <a:gd name="connsiteX87" fmla="*/ 1318443 w 3642903"/>
              <a:gd name="connsiteY87" fmla="*/ 1026653 h 3751021"/>
              <a:gd name="connsiteX88" fmla="*/ 493635 w 3642903"/>
              <a:gd name="connsiteY88" fmla="*/ 1976434 h 3751021"/>
              <a:gd name="connsiteX89" fmla="*/ 443646 w 3642903"/>
              <a:gd name="connsiteY89" fmla="*/ 2001428 h 3751021"/>
              <a:gd name="connsiteX90" fmla="*/ 393658 w 3642903"/>
              <a:gd name="connsiteY90" fmla="*/ 1988931 h 3751021"/>
              <a:gd name="connsiteX91" fmla="*/ 18745 w 3642903"/>
              <a:gd name="connsiteY91" fmla="*/ 1614018 h 3751021"/>
              <a:gd name="connsiteX92" fmla="*/ 18745 w 3642903"/>
              <a:gd name="connsiteY92" fmla="*/ 1526538 h 3751021"/>
              <a:gd name="connsiteX93" fmla="*/ 106225 w 3642903"/>
              <a:gd name="connsiteY93" fmla="*/ 1526538 h 3751021"/>
              <a:gd name="connsiteX94" fmla="*/ 443646 w 3642903"/>
              <a:gd name="connsiteY94" fmla="*/ 1851463 h 3751021"/>
              <a:gd name="connsiteX95" fmla="*/ 1268455 w 3642903"/>
              <a:gd name="connsiteY95" fmla="*/ 901682 h 3751021"/>
              <a:gd name="connsiteX96" fmla="*/ 1318443 w 3642903"/>
              <a:gd name="connsiteY96" fmla="*/ 876688 h 3751021"/>
              <a:gd name="connsiteX97" fmla="*/ 1368431 w 3642903"/>
              <a:gd name="connsiteY97" fmla="*/ 889185 h 3751021"/>
              <a:gd name="connsiteX98" fmla="*/ 1693356 w 3642903"/>
              <a:gd name="connsiteY98" fmla="*/ 1226608 h 3751021"/>
              <a:gd name="connsiteX99" fmla="*/ 2155749 w 3642903"/>
              <a:gd name="connsiteY99" fmla="*/ 651740 h 3751021"/>
              <a:gd name="connsiteX100" fmla="*/ 2193240 w 3642903"/>
              <a:gd name="connsiteY100" fmla="*/ 626746 h 3751021"/>
              <a:gd name="connsiteX101" fmla="*/ 2243228 w 3642903"/>
              <a:gd name="connsiteY101" fmla="*/ 639243 h 3751021"/>
              <a:gd name="connsiteX102" fmla="*/ 2568153 w 3642903"/>
              <a:gd name="connsiteY102" fmla="*/ 976665 h 3751021"/>
              <a:gd name="connsiteX103" fmla="*/ 3218002 w 3642903"/>
              <a:gd name="connsiteY103" fmla="*/ 314319 h 3751021"/>
              <a:gd name="connsiteX104" fmla="*/ 3018048 w 3642903"/>
              <a:gd name="connsiteY104" fmla="*/ 114365 h 3751021"/>
              <a:gd name="connsiteX105" fmla="*/ 2996026 w 3642903"/>
              <a:gd name="connsiteY105" fmla="*/ 51880 h 3751021"/>
              <a:gd name="connsiteX106" fmla="*/ 3068037 w 3642903"/>
              <a:gd name="connsiteY106" fmla="*/ 1891 h 3751021"/>
              <a:gd name="connsiteX107" fmla="*/ 3170289 w 3642903"/>
              <a:gd name="connsiteY107" fmla="*/ 60 h 37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642903" h="3751021">
                <a:moveTo>
                  <a:pt x="268687" y="2213879"/>
                </a:moveTo>
                <a:lnTo>
                  <a:pt x="256190" y="3626050"/>
                </a:lnTo>
                <a:lnTo>
                  <a:pt x="631103" y="3626050"/>
                </a:lnTo>
                <a:lnTo>
                  <a:pt x="631103" y="2213879"/>
                </a:lnTo>
                <a:lnTo>
                  <a:pt x="493635" y="2351346"/>
                </a:lnTo>
                <a:cubicBezTo>
                  <a:pt x="468640" y="2376341"/>
                  <a:pt x="431149" y="2376341"/>
                  <a:pt x="406155" y="2351346"/>
                </a:cubicBezTo>
                <a:close/>
                <a:moveTo>
                  <a:pt x="187260" y="1996351"/>
                </a:moveTo>
                <a:cubicBezTo>
                  <a:pt x="205420" y="1995179"/>
                  <a:pt x="221822" y="2004552"/>
                  <a:pt x="231196" y="2013925"/>
                </a:cubicBezTo>
                <a:lnTo>
                  <a:pt x="443646" y="2226375"/>
                </a:lnTo>
                <a:lnTo>
                  <a:pt x="643600" y="2026422"/>
                </a:lnTo>
                <a:cubicBezTo>
                  <a:pt x="668594" y="2001428"/>
                  <a:pt x="693588" y="2001428"/>
                  <a:pt x="718582" y="2001428"/>
                </a:cubicBezTo>
                <a:cubicBezTo>
                  <a:pt x="743577" y="2013925"/>
                  <a:pt x="756074" y="2038919"/>
                  <a:pt x="756074" y="2063913"/>
                </a:cubicBezTo>
                <a:lnTo>
                  <a:pt x="756074" y="3688536"/>
                </a:lnTo>
                <a:cubicBezTo>
                  <a:pt x="756074" y="3726027"/>
                  <a:pt x="731079" y="3751021"/>
                  <a:pt x="693588" y="3751021"/>
                </a:cubicBezTo>
                <a:lnTo>
                  <a:pt x="193704" y="3751021"/>
                </a:lnTo>
                <a:cubicBezTo>
                  <a:pt x="156213" y="3751021"/>
                  <a:pt x="131219" y="3726027"/>
                  <a:pt x="131219" y="3688536"/>
                </a:cubicBezTo>
                <a:lnTo>
                  <a:pt x="131219" y="2063913"/>
                </a:lnTo>
                <a:cubicBezTo>
                  <a:pt x="131219" y="2038919"/>
                  <a:pt x="143716" y="2013925"/>
                  <a:pt x="168710" y="2001428"/>
                </a:cubicBezTo>
                <a:cubicBezTo>
                  <a:pt x="174958" y="1998303"/>
                  <a:pt x="181207" y="1996741"/>
                  <a:pt x="187260" y="1996351"/>
                </a:cubicBezTo>
                <a:close/>
                <a:moveTo>
                  <a:pt x="1318443" y="1401567"/>
                </a:moveTo>
                <a:lnTo>
                  <a:pt x="1130987" y="1589024"/>
                </a:lnTo>
                <a:lnTo>
                  <a:pt x="1130987" y="3626050"/>
                </a:lnTo>
                <a:lnTo>
                  <a:pt x="1505899" y="3626050"/>
                </a:lnTo>
                <a:lnTo>
                  <a:pt x="1505899" y="1589024"/>
                </a:lnTo>
                <a:close/>
                <a:moveTo>
                  <a:pt x="1312194" y="1245353"/>
                </a:moveTo>
                <a:cubicBezTo>
                  <a:pt x="1327816" y="1245353"/>
                  <a:pt x="1343437" y="1251602"/>
                  <a:pt x="1355934" y="1264099"/>
                </a:cubicBezTo>
                <a:lnTo>
                  <a:pt x="1605876" y="1514041"/>
                </a:lnTo>
                <a:cubicBezTo>
                  <a:pt x="1618373" y="1526538"/>
                  <a:pt x="1618373" y="1539035"/>
                  <a:pt x="1618373" y="1564029"/>
                </a:cubicBezTo>
                <a:lnTo>
                  <a:pt x="1618373" y="3688536"/>
                </a:lnTo>
                <a:cubicBezTo>
                  <a:pt x="1630870" y="3726027"/>
                  <a:pt x="1605876" y="3751021"/>
                  <a:pt x="1568385" y="3751021"/>
                </a:cubicBezTo>
                <a:lnTo>
                  <a:pt x="1068501" y="3751021"/>
                </a:lnTo>
                <a:cubicBezTo>
                  <a:pt x="1031010" y="3751021"/>
                  <a:pt x="1006016" y="3726027"/>
                  <a:pt x="1006016" y="3688536"/>
                </a:cubicBezTo>
                <a:lnTo>
                  <a:pt x="1006016" y="1564029"/>
                </a:lnTo>
                <a:cubicBezTo>
                  <a:pt x="1006016" y="1551532"/>
                  <a:pt x="1018513" y="1526538"/>
                  <a:pt x="1018513" y="1514041"/>
                </a:cubicBezTo>
                <a:lnTo>
                  <a:pt x="1268455" y="1264099"/>
                </a:lnTo>
                <a:cubicBezTo>
                  <a:pt x="1280952" y="1251602"/>
                  <a:pt x="1296573" y="1245353"/>
                  <a:pt x="1312194" y="1245353"/>
                </a:cubicBezTo>
                <a:close/>
                <a:moveTo>
                  <a:pt x="2205737" y="1164121"/>
                </a:moveTo>
                <a:lnTo>
                  <a:pt x="2005783" y="1464053"/>
                </a:lnTo>
                <a:lnTo>
                  <a:pt x="2005783" y="3626050"/>
                </a:lnTo>
                <a:lnTo>
                  <a:pt x="2380696" y="3626050"/>
                </a:lnTo>
                <a:lnTo>
                  <a:pt x="2380696" y="1339082"/>
                </a:lnTo>
                <a:close/>
                <a:moveTo>
                  <a:pt x="2193240" y="1001659"/>
                </a:moveTo>
                <a:cubicBezTo>
                  <a:pt x="2205737" y="1001659"/>
                  <a:pt x="2230731" y="1001659"/>
                  <a:pt x="2243228" y="1014156"/>
                </a:cubicBezTo>
                <a:lnTo>
                  <a:pt x="2493170" y="1264099"/>
                </a:lnTo>
                <a:cubicBezTo>
                  <a:pt x="2505667" y="1276596"/>
                  <a:pt x="2505667" y="1289093"/>
                  <a:pt x="2505667" y="1314087"/>
                </a:cubicBezTo>
                <a:lnTo>
                  <a:pt x="2505667" y="3688536"/>
                </a:lnTo>
                <a:cubicBezTo>
                  <a:pt x="2505667" y="3726027"/>
                  <a:pt x="2480673" y="3751021"/>
                  <a:pt x="2443182" y="3751021"/>
                </a:cubicBezTo>
                <a:lnTo>
                  <a:pt x="1943298" y="3751021"/>
                </a:lnTo>
                <a:cubicBezTo>
                  <a:pt x="1905807" y="3751021"/>
                  <a:pt x="1880812" y="3726027"/>
                  <a:pt x="1880812" y="3688536"/>
                </a:cubicBezTo>
                <a:lnTo>
                  <a:pt x="1880812" y="1439058"/>
                </a:lnTo>
                <a:cubicBezTo>
                  <a:pt x="1880812" y="1426561"/>
                  <a:pt x="1880812" y="1414064"/>
                  <a:pt x="1893309" y="1401567"/>
                </a:cubicBezTo>
                <a:lnTo>
                  <a:pt x="2143251" y="1026653"/>
                </a:lnTo>
                <a:cubicBezTo>
                  <a:pt x="2155749" y="1014156"/>
                  <a:pt x="2168246" y="1001659"/>
                  <a:pt x="2193240" y="1001659"/>
                </a:cubicBezTo>
                <a:close/>
                <a:moveTo>
                  <a:pt x="3130522" y="964168"/>
                </a:moveTo>
                <a:lnTo>
                  <a:pt x="2880580" y="1214111"/>
                </a:lnTo>
                <a:lnTo>
                  <a:pt x="2880580" y="3626050"/>
                </a:lnTo>
                <a:lnTo>
                  <a:pt x="3255493" y="3626050"/>
                </a:lnTo>
                <a:lnTo>
                  <a:pt x="3255493" y="1089139"/>
                </a:lnTo>
                <a:close/>
                <a:moveTo>
                  <a:pt x="3130522" y="814203"/>
                </a:moveTo>
                <a:cubicBezTo>
                  <a:pt x="3143019" y="814203"/>
                  <a:pt x="3168013" y="826700"/>
                  <a:pt x="3180510" y="826700"/>
                </a:cubicBezTo>
                <a:lnTo>
                  <a:pt x="3367967" y="1014156"/>
                </a:lnTo>
                <a:cubicBezTo>
                  <a:pt x="3380464" y="1026653"/>
                  <a:pt x="3380464" y="1039150"/>
                  <a:pt x="3380464" y="1064145"/>
                </a:cubicBezTo>
                <a:lnTo>
                  <a:pt x="3380464" y="3688536"/>
                </a:lnTo>
                <a:cubicBezTo>
                  <a:pt x="3380464" y="3726027"/>
                  <a:pt x="3355470" y="3751021"/>
                  <a:pt x="3317979" y="3751021"/>
                </a:cubicBezTo>
                <a:lnTo>
                  <a:pt x="2818095" y="3751021"/>
                </a:lnTo>
                <a:cubicBezTo>
                  <a:pt x="2780603" y="3751021"/>
                  <a:pt x="2755609" y="3726027"/>
                  <a:pt x="2755609" y="3688536"/>
                </a:cubicBezTo>
                <a:lnTo>
                  <a:pt x="2755609" y="1189116"/>
                </a:lnTo>
                <a:cubicBezTo>
                  <a:pt x="2755609" y="1176619"/>
                  <a:pt x="2768106" y="1151624"/>
                  <a:pt x="2768106" y="1139127"/>
                </a:cubicBezTo>
                <a:lnTo>
                  <a:pt x="3080534" y="826700"/>
                </a:lnTo>
                <a:cubicBezTo>
                  <a:pt x="3093031" y="814203"/>
                  <a:pt x="3105528" y="814203"/>
                  <a:pt x="3130522" y="814203"/>
                </a:cubicBezTo>
                <a:close/>
                <a:moveTo>
                  <a:pt x="3218002" y="126862"/>
                </a:moveTo>
                <a:lnTo>
                  <a:pt x="3505435" y="414295"/>
                </a:lnTo>
                <a:lnTo>
                  <a:pt x="3505435" y="126862"/>
                </a:lnTo>
                <a:close/>
                <a:moveTo>
                  <a:pt x="3170289" y="60"/>
                </a:moveTo>
                <a:cubicBezTo>
                  <a:pt x="3298958" y="757"/>
                  <a:pt x="3487143" y="7173"/>
                  <a:pt x="3557215" y="2482"/>
                </a:cubicBezTo>
                <a:cubicBezTo>
                  <a:pt x="3606614" y="-1081"/>
                  <a:pt x="3642903" y="26885"/>
                  <a:pt x="3642903" y="64377"/>
                </a:cubicBezTo>
                <a:lnTo>
                  <a:pt x="3642903" y="564261"/>
                </a:lnTo>
                <a:cubicBezTo>
                  <a:pt x="3642903" y="589255"/>
                  <a:pt x="3630406" y="614249"/>
                  <a:pt x="3605412" y="626746"/>
                </a:cubicBezTo>
                <a:lnTo>
                  <a:pt x="3567920" y="626746"/>
                </a:lnTo>
                <a:cubicBezTo>
                  <a:pt x="3555423" y="626746"/>
                  <a:pt x="3530429" y="614249"/>
                  <a:pt x="3517932" y="614249"/>
                </a:cubicBezTo>
                <a:lnTo>
                  <a:pt x="3305481" y="401798"/>
                </a:lnTo>
                <a:lnTo>
                  <a:pt x="2605644" y="1114133"/>
                </a:lnTo>
                <a:cubicBezTo>
                  <a:pt x="2580650" y="1139127"/>
                  <a:pt x="2543158" y="1139127"/>
                  <a:pt x="2518164" y="1114133"/>
                </a:cubicBezTo>
                <a:lnTo>
                  <a:pt x="2193240" y="776711"/>
                </a:lnTo>
                <a:lnTo>
                  <a:pt x="1730847" y="1351579"/>
                </a:lnTo>
                <a:cubicBezTo>
                  <a:pt x="1730847" y="1364076"/>
                  <a:pt x="1718350" y="1376573"/>
                  <a:pt x="1693356" y="1376573"/>
                </a:cubicBezTo>
                <a:cubicBezTo>
                  <a:pt x="1680859" y="1376573"/>
                  <a:pt x="1655865" y="1376573"/>
                  <a:pt x="1643368" y="1364076"/>
                </a:cubicBezTo>
                <a:lnTo>
                  <a:pt x="1318443" y="1026653"/>
                </a:lnTo>
                <a:lnTo>
                  <a:pt x="493635" y="1976434"/>
                </a:lnTo>
                <a:cubicBezTo>
                  <a:pt x="481138" y="1988931"/>
                  <a:pt x="468640" y="2001428"/>
                  <a:pt x="443646" y="2001428"/>
                </a:cubicBezTo>
                <a:cubicBezTo>
                  <a:pt x="431149" y="2001428"/>
                  <a:pt x="406155" y="1988931"/>
                  <a:pt x="393658" y="1988931"/>
                </a:cubicBezTo>
                <a:lnTo>
                  <a:pt x="18745" y="1614018"/>
                </a:lnTo>
                <a:cubicBezTo>
                  <a:pt x="-6249" y="1589024"/>
                  <a:pt x="-6249" y="1551532"/>
                  <a:pt x="18745" y="1526538"/>
                </a:cubicBezTo>
                <a:cubicBezTo>
                  <a:pt x="43739" y="1501544"/>
                  <a:pt x="81230" y="1501544"/>
                  <a:pt x="106225" y="1526538"/>
                </a:cubicBezTo>
                <a:lnTo>
                  <a:pt x="443646" y="1851463"/>
                </a:lnTo>
                <a:lnTo>
                  <a:pt x="1268455" y="901682"/>
                </a:lnTo>
                <a:cubicBezTo>
                  <a:pt x="1280952" y="889185"/>
                  <a:pt x="1293449" y="876688"/>
                  <a:pt x="1318443" y="876688"/>
                </a:cubicBezTo>
                <a:cubicBezTo>
                  <a:pt x="1330940" y="876688"/>
                  <a:pt x="1355934" y="876688"/>
                  <a:pt x="1368431" y="889185"/>
                </a:cubicBezTo>
                <a:lnTo>
                  <a:pt x="1693356" y="1226608"/>
                </a:lnTo>
                <a:lnTo>
                  <a:pt x="2155749" y="651740"/>
                </a:lnTo>
                <a:cubicBezTo>
                  <a:pt x="2155749" y="639243"/>
                  <a:pt x="2168246" y="626746"/>
                  <a:pt x="2193240" y="626746"/>
                </a:cubicBezTo>
                <a:cubicBezTo>
                  <a:pt x="2205737" y="626746"/>
                  <a:pt x="2230731" y="626746"/>
                  <a:pt x="2243228" y="639243"/>
                </a:cubicBezTo>
                <a:lnTo>
                  <a:pt x="2568153" y="976665"/>
                </a:lnTo>
                <a:lnTo>
                  <a:pt x="3218002" y="314319"/>
                </a:lnTo>
                <a:lnTo>
                  <a:pt x="3018048" y="114365"/>
                </a:lnTo>
                <a:cubicBezTo>
                  <a:pt x="3005551" y="101868"/>
                  <a:pt x="2995435" y="71521"/>
                  <a:pt x="2996026" y="51880"/>
                </a:cubicBezTo>
                <a:cubicBezTo>
                  <a:pt x="2996617" y="32239"/>
                  <a:pt x="2975696" y="8536"/>
                  <a:pt x="3068037" y="1891"/>
                </a:cubicBezTo>
                <a:cubicBezTo>
                  <a:pt x="3091122" y="230"/>
                  <a:pt x="3127399" y="-173"/>
                  <a:pt x="3170289" y="60"/>
                </a:cubicBezTo>
                <a:close/>
              </a:path>
            </a:pathLst>
          </a:custGeom>
          <a:solidFill>
            <a:schemeClr val="bg2"/>
          </a:solidFill>
          <a:ln w="9525" cap="flat">
            <a:noFill/>
            <a:prstDash val="solid"/>
            <a:miter/>
          </a:ln>
        </p:spPr>
        <p:txBody>
          <a:bodyPr rtlCol="0" anchor="ctr"/>
          <a:lstStyle/>
          <a:p>
            <a:endParaRPr lang="en-US" dirty="0">
              <a:latin typeface="Arial Narrow" charset="0"/>
            </a:endParaRPr>
          </a:p>
        </p:txBody>
      </p:sp>
      <p:sp>
        <p:nvSpPr>
          <p:cNvPr id="1470" name="Freeform: Shape 1469">
            <a:extLst>
              <a:ext uri="{FF2B5EF4-FFF2-40B4-BE49-F238E27FC236}">
                <a16:creationId xmlns:a16="http://schemas.microsoft.com/office/drawing/2014/main" id="{4C949AD5-8B1B-00C0-E453-2E534E0C7B7A}"/>
              </a:ext>
            </a:extLst>
          </p:cNvPr>
          <p:cNvSpPr>
            <a:spLocks noChangeAspect="1"/>
          </p:cNvSpPr>
          <p:nvPr/>
        </p:nvSpPr>
        <p:spPr>
          <a:xfrm>
            <a:off x="539750" y="2578746"/>
            <a:ext cx="519978" cy="528394"/>
          </a:xfrm>
          <a:custGeom>
            <a:avLst/>
            <a:gdLst>
              <a:gd name="connsiteX0" fmla="*/ 47577 w 2908253"/>
              <a:gd name="connsiteY0" fmla="*/ 2861471 h 2955319"/>
              <a:gd name="connsiteX1" fmla="*/ 2860674 w 2908253"/>
              <a:gd name="connsiteY1" fmla="*/ 2861471 h 2955319"/>
              <a:gd name="connsiteX2" fmla="*/ 2861996 w 2908253"/>
              <a:gd name="connsiteY2" fmla="*/ 2861471 h 2955319"/>
              <a:gd name="connsiteX3" fmla="*/ 2908249 w 2908253"/>
              <a:gd name="connsiteY3" fmla="*/ 2909320 h 2955319"/>
              <a:gd name="connsiteX4" fmla="*/ 2860674 w 2908253"/>
              <a:gd name="connsiteY4" fmla="*/ 2955290 h 2955319"/>
              <a:gd name="connsiteX5" fmla="*/ 47577 w 2908253"/>
              <a:gd name="connsiteY5" fmla="*/ 2955290 h 2955319"/>
              <a:gd name="connsiteX6" fmla="*/ 46250 w 2908253"/>
              <a:gd name="connsiteY6" fmla="*/ 2955290 h 2955319"/>
              <a:gd name="connsiteX7" fmla="*/ 4 w 2908253"/>
              <a:gd name="connsiteY7" fmla="*/ 2907441 h 2955319"/>
              <a:gd name="connsiteX8" fmla="*/ 47577 w 2908253"/>
              <a:gd name="connsiteY8" fmla="*/ 2861471 h 2955319"/>
              <a:gd name="connsiteX9" fmla="*/ 187571 w 2908253"/>
              <a:gd name="connsiteY9" fmla="*/ 2673833 h 2955319"/>
              <a:gd name="connsiteX10" fmla="*/ 2720678 w 2908253"/>
              <a:gd name="connsiteY10" fmla="*/ 2673833 h 2955319"/>
              <a:gd name="connsiteX11" fmla="*/ 2722001 w 2908253"/>
              <a:gd name="connsiteY11" fmla="*/ 2673833 h 2955319"/>
              <a:gd name="connsiteX12" fmla="*/ 2768253 w 2908253"/>
              <a:gd name="connsiteY12" fmla="*/ 2721682 h 2955319"/>
              <a:gd name="connsiteX13" fmla="*/ 2720678 w 2908253"/>
              <a:gd name="connsiteY13" fmla="*/ 2767652 h 2955319"/>
              <a:gd name="connsiteX14" fmla="*/ 187571 w 2908253"/>
              <a:gd name="connsiteY14" fmla="*/ 2767652 h 2955319"/>
              <a:gd name="connsiteX15" fmla="*/ 186245 w 2908253"/>
              <a:gd name="connsiteY15" fmla="*/ 2767652 h 2955319"/>
              <a:gd name="connsiteX16" fmla="*/ 139999 w 2908253"/>
              <a:gd name="connsiteY16" fmla="*/ 2719803 h 2955319"/>
              <a:gd name="connsiteX17" fmla="*/ 187571 w 2908253"/>
              <a:gd name="connsiteY17" fmla="*/ 2673833 h 2955319"/>
              <a:gd name="connsiteX18" fmla="*/ 2251583 w 2908253"/>
              <a:gd name="connsiteY18" fmla="*/ 1665282 h 2955319"/>
              <a:gd name="connsiteX19" fmla="*/ 2251583 w 2908253"/>
              <a:gd name="connsiteY19" fmla="*/ 2415832 h 2955319"/>
              <a:gd name="connsiteX20" fmla="*/ 2392311 w 2908253"/>
              <a:gd name="connsiteY20" fmla="*/ 2415832 h 2955319"/>
              <a:gd name="connsiteX21" fmla="*/ 2392311 w 2908253"/>
              <a:gd name="connsiteY21" fmla="*/ 1665282 h 2955319"/>
              <a:gd name="connsiteX22" fmla="*/ 1383760 w 2908253"/>
              <a:gd name="connsiteY22" fmla="*/ 1665282 h 2955319"/>
              <a:gd name="connsiteX23" fmla="*/ 1383760 w 2908253"/>
              <a:gd name="connsiteY23" fmla="*/ 2415832 h 2955319"/>
              <a:gd name="connsiteX24" fmla="*/ 1524488 w 2908253"/>
              <a:gd name="connsiteY24" fmla="*/ 2415832 h 2955319"/>
              <a:gd name="connsiteX25" fmla="*/ 1524488 w 2908253"/>
              <a:gd name="connsiteY25" fmla="*/ 1665282 h 2955319"/>
              <a:gd name="connsiteX26" fmla="*/ 515937 w 2908253"/>
              <a:gd name="connsiteY26" fmla="*/ 1665282 h 2955319"/>
              <a:gd name="connsiteX27" fmla="*/ 515937 w 2908253"/>
              <a:gd name="connsiteY27" fmla="*/ 2415832 h 2955319"/>
              <a:gd name="connsiteX28" fmla="*/ 656665 w 2908253"/>
              <a:gd name="connsiteY28" fmla="*/ 2415832 h 2955319"/>
              <a:gd name="connsiteX29" fmla="*/ 656665 w 2908253"/>
              <a:gd name="connsiteY29" fmla="*/ 1665282 h 2955319"/>
              <a:gd name="connsiteX30" fmla="*/ 2063946 w 2908253"/>
              <a:gd name="connsiteY30" fmla="*/ 1454190 h 2955319"/>
              <a:gd name="connsiteX31" fmla="*/ 2157765 w 2908253"/>
              <a:gd name="connsiteY31" fmla="*/ 1454190 h 2955319"/>
              <a:gd name="connsiteX32" fmla="*/ 2157765 w 2908253"/>
              <a:gd name="connsiteY32" fmla="*/ 1524554 h 2955319"/>
              <a:gd name="connsiteX33" fmla="*/ 2204674 w 2908253"/>
              <a:gd name="connsiteY33" fmla="*/ 1571463 h 2955319"/>
              <a:gd name="connsiteX34" fmla="*/ 2439221 w 2908253"/>
              <a:gd name="connsiteY34" fmla="*/ 1571463 h 2955319"/>
              <a:gd name="connsiteX35" fmla="*/ 2486130 w 2908253"/>
              <a:gd name="connsiteY35" fmla="*/ 1524554 h 2955319"/>
              <a:gd name="connsiteX36" fmla="*/ 2486130 w 2908253"/>
              <a:gd name="connsiteY36" fmla="*/ 1454190 h 2955319"/>
              <a:gd name="connsiteX37" fmla="*/ 2579949 w 2908253"/>
              <a:gd name="connsiteY37" fmla="*/ 1454190 h 2955319"/>
              <a:gd name="connsiteX38" fmla="*/ 2579949 w 2908253"/>
              <a:gd name="connsiteY38" fmla="*/ 1524554 h 2955319"/>
              <a:gd name="connsiteX39" fmla="*/ 2493764 w 2908253"/>
              <a:gd name="connsiteY39" fmla="*/ 1654113 h 2955319"/>
              <a:gd name="connsiteX40" fmla="*/ 2486130 w 2908253"/>
              <a:gd name="connsiteY40" fmla="*/ 1655676 h 2955319"/>
              <a:gd name="connsiteX41" fmla="*/ 2486130 w 2908253"/>
              <a:gd name="connsiteY41" fmla="*/ 2425440 h 2955319"/>
              <a:gd name="connsiteX42" fmla="*/ 2493764 w 2908253"/>
              <a:gd name="connsiteY42" fmla="*/ 2427003 h 2955319"/>
              <a:gd name="connsiteX43" fmla="*/ 2579949 w 2908253"/>
              <a:gd name="connsiteY43" fmla="*/ 2556560 h 2955319"/>
              <a:gd name="connsiteX44" fmla="*/ 2579949 w 2908253"/>
              <a:gd name="connsiteY44" fmla="*/ 2626924 h 2955319"/>
              <a:gd name="connsiteX45" fmla="*/ 2486130 w 2908253"/>
              <a:gd name="connsiteY45" fmla="*/ 2626924 h 2955319"/>
              <a:gd name="connsiteX46" fmla="*/ 2486130 w 2908253"/>
              <a:gd name="connsiteY46" fmla="*/ 2556560 h 2955319"/>
              <a:gd name="connsiteX47" fmla="*/ 2439221 w 2908253"/>
              <a:gd name="connsiteY47" fmla="*/ 2509651 h 2955319"/>
              <a:gd name="connsiteX48" fmla="*/ 2204674 w 2908253"/>
              <a:gd name="connsiteY48" fmla="*/ 2509651 h 2955319"/>
              <a:gd name="connsiteX49" fmla="*/ 2157765 w 2908253"/>
              <a:gd name="connsiteY49" fmla="*/ 2556560 h 2955319"/>
              <a:gd name="connsiteX50" fmla="*/ 2157765 w 2908253"/>
              <a:gd name="connsiteY50" fmla="*/ 2626924 h 2955319"/>
              <a:gd name="connsiteX51" fmla="*/ 2063946 w 2908253"/>
              <a:gd name="connsiteY51" fmla="*/ 2626924 h 2955319"/>
              <a:gd name="connsiteX52" fmla="*/ 2063946 w 2908253"/>
              <a:gd name="connsiteY52" fmla="*/ 2556560 h 2955319"/>
              <a:gd name="connsiteX53" fmla="*/ 2150131 w 2908253"/>
              <a:gd name="connsiteY53" fmla="*/ 2427003 h 2955319"/>
              <a:gd name="connsiteX54" fmla="*/ 2157764 w 2908253"/>
              <a:gd name="connsiteY54" fmla="*/ 2425440 h 2955319"/>
              <a:gd name="connsiteX55" fmla="*/ 2157764 w 2908253"/>
              <a:gd name="connsiteY55" fmla="*/ 1655676 h 2955319"/>
              <a:gd name="connsiteX56" fmla="*/ 2150131 w 2908253"/>
              <a:gd name="connsiteY56" fmla="*/ 1654113 h 2955319"/>
              <a:gd name="connsiteX57" fmla="*/ 2063946 w 2908253"/>
              <a:gd name="connsiteY57" fmla="*/ 1524554 h 2955319"/>
              <a:gd name="connsiteX58" fmla="*/ 1196123 w 2908253"/>
              <a:gd name="connsiteY58" fmla="*/ 1454190 h 2955319"/>
              <a:gd name="connsiteX59" fmla="*/ 1289942 w 2908253"/>
              <a:gd name="connsiteY59" fmla="*/ 1454190 h 2955319"/>
              <a:gd name="connsiteX60" fmla="*/ 1289942 w 2908253"/>
              <a:gd name="connsiteY60" fmla="*/ 1524554 h 2955319"/>
              <a:gd name="connsiteX61" fmla="*/ 1336851 w 2908253"/>
              <a:gd name="connsiteY61" fmla="*/ 1571463 h 2955319"/>
              <a:gd name="connsiteX62" fmla="*/ 1571398 w 2908253"/>
              <a:gd name="connsiteY62" fmla="*/ 1571463 h 2955319"/>
              <a:gd name="connsiteX63" fmla="*/ 1618307 w 2908253"/>
              <a:gd name="connsiteY63" fmla="*/ 1524554 h 2955319"/>
              <a:gd name="connsiteX64" fmla="*/ 1618307 w 2908253"/>
              <a:gd name="connsiteY64" fmla="*/ 1454190 h 2955319"/>
              <a:gd name="connsiteX65" fmla="*/ 1712126 w 2908253"/>
              <a:gd name="connsiteY65" fmla="*/ 1454190 h 2955319"/>
              <a:gd name="connsiteX66" fmla="*/ 1712126 w 2908253"/>
              <a:gd name="connsiteY66" fmla="*/ 1524554 h 2955319"/>
              <a:gd name="connsiteX67" fmla="*/ 1625941 w 2908253"/>
              <a:gd name="connsiteY67" fmla="*/ 1654113 h 2955319"/>
              <a:gd name="connsiteX68" fmla="*/ 1618307 w 2908253"/>
              <a:gd name="connsiteY68" fmla="*/ 1655676 h 2955319"/>
              <a:gd name="connsiteX69" fmla="*/ 1618307 w 2908253"/>
              <a:gd name="connsiteY69" fmla="*/ 2425440 h 2955319"/>
              <a:gd name="connsiteX70" fmla="*/ 1625941 w 2908253"/>
              <a:gd name="connsiteY70" fmla="*/ 2427003 h 2955319"/>
              <a:gd name="connsiteX71" fmla="*/ 1712126 w 2908253"/>
              <a:gd name="connsiteY71" fmla="*/ 2556560 h 2955319"/>
              <a:gd name="connsiteX72" fmla="*/ 1712126 w 2908253"/>
              <a:gd name="connsiteY72" fmla="*/ 2626924 h 2955319"/>
              <a:gd name="connsiteX73" fmla="*/ 1618307 w 2908253"/>
              <a:gd name="connsiteY73" fmla="*/ 2626924 h 2955319"/>
              <a:gd name="connsiteX74" fmla="*/ 1618307 w 2908253"/>
              <a:gd name="connsiteY74" fmla="*/ 2556560 h 2955319"/>
              <a:gd name="connsiteX75" fmla="*/ 1571398 w 2908253"/>
              <a:gd name="connsiteY75" fmla="*/ 2509651 h 2955319"/>
              <a:gd name="connsiteX76" fmla="*/ 1336851 w 2908253"/>
              <a:gd name="connsiteY76" fmla="*/ 2509651 h 2955319"/>
              <a:gd name="connsiteX77" fmla="*/ 1289942 w 2908253"/>
              <a:gd name="connsiteY77" fmla="*/ 2556560 h 2955319"/>
              <a:gd name="connsiteX78" fmla="*/ 1289942 w 2908253"/>
              <a:gd name="connsiteY78" fmla="*/ 2626924 h 2955319"/>
              <a:gd name="connsiteX79" fmla="*/ 1196123 w 2908253"/>
              <a:gd name="connsiteY79" fmla="*/ 2626924 h 2955319"/>
              <a:gd name="connsiteX80" fmla="*/ 1196123 w 2908253"/>
              <a:gd name="connsiteY80" fmla="*/ 2556560 h 2955319"/>
              <a:gd name="connsiteX81" fmla="*/ 1282308 w 2908253"/>
              <a:gd name="connsiteY81" fmla="*/ 2427003 h 2955319"/>
              <a:gd name="connsiteX82" fmla="*/ 1289941 w 2908253"/>
              <a:gd name="connsiteY82" fmla="*/ 2425440 h 2955319"/>
              <a:gd name="connsiteX83" fmla="*/ 1289941 w 2908253"/>
              <a:gd name="connsiteY83" fmla="*/ 1655676 h 2955319"/>
              <a:gd name="connsiteX84" fmla="*/ 1282308 w 2908253"/>
              <a:gd name="connsiteY84" fmla="*/ 1654113 h 2955319"/>
              <a:gd name="connsiteX85" fmla="*/ 1196123 w 2908253"/>
              <a:gd name="connsiteY85" fmla="*/ 1524554 h 2955319"/>
              <a:gd name="connsiteX86" fmla="*/ 328299 w 2908253"/>
              <a:gd name="connsiteY86" fmla="*/ 1454190 h 2955319"/>
              <a:gd name="connsiteX87" fmla="*/ 422118 w 2908253"/>
              <a:gd name="connsiteY87" fmla="*/ 1454190 h 2955319"/>
              <a:gd name="connsiteX88" fmla="*/ 422118 w 2908253"/>
              <a:gd name="connsiteY88" fmla="*/ 1524554 h 2955319"/>
              <a:gd name="connsiteX89" fmla="*/ 469027 w 2908253"/>
              <a:gd name="connsiteY89" fmla="*/ 1571463 h 2955319"/>
              <a:gd name="connsiteX90" fmla="*/ 703574 w 2908253"/>
              <a:gd name="connsiteY90" fmla="*/ 1571463 h 2955319"/>
              <a:gd name="connsiteX91" fmla="*/ 750483 w 2908253"/>
              <a:gd name="connsiteY91" fmla="*/ 1524554 h 2955319"/>
              <a:gd name="connsiteX92" fmla="*/ 750483 w 2908253"/>
              <a:gd name="connsiteY92" fmla="*/ 1454190 h 2955319"/>
              <a:gd name="connsiteX93" fmla="*/ 844302 w 2908253"/>
              <a:gd name="connsiteY93" fmla="*/ 1454190 h 2955319"/>
              <a:gd name="connsiteX94" fmla="*/ 844302 w 2908253"/>
              <a:gd name="connsiteY94" fmla="*/ 1524554 h 2955319"/>
              <a:gd name="connsiteX95" fmla="*/ 758117 w 2908253"/>
              <a:gd name="connsiteY95" fmla="*/ 1654113 h 2955319"/>
              <a:gd name="connsiteX96" fmla="*/ 750484 w 2908253"/>
              <a:gd name="connsiteY96" fmla="*/ 1655676 h 2955319"/>
              <a:gd name="connsiteX97" fmla="*/ 750484 w 2908253"/>
              <a:gd name="connsiteY97" fmla="*/ 2425440 h 2955319"/>
              <a:gd name="connsiteX98" fmla="*/ 758117 w 2908253"/>
              <a:gd name="connsiteY98" fmla="*/ 2427003 h 2955319"/>
              <a:gd name="connsiteX99" fmla="*/ 844302 w 2908253"/>
              <a:gd name="connsiteY99" fmla="*/ 2556560 h 2955319"/>
              <a:gd name="connsiteX100" fmla="*/ 844302 w 2908253"/>
              <a:gd name="connsiteY100" fmla="*/ 2626924 h 2955319"/>
              <a:gd name="connsiteX101" fmla="*/ 750483 w 2908253"/>
              <a:gd name="connsiteY101" fmla="*/ 2626924 h 2955319"/>
              <a:gd name="connsiteX102" fmla="*/ 750483 w 2908253"/>
              <a:gd name="connsiteY102" fmla="*/ 2556560 h 2955319"/>
              <a:gd name="connsiteX103" fmla="*/ 703574 w 2908253"/>
              <a:gd name="connsiteY103" fmla="*/ 2509651 h 2955319"/>
              <a:gd name="connsiteX104" fmla="*/ 469027 w 2908253"/>
              <a:gd name="connsiteY104" fmla="*/ 2509651 h 2955319"/>
              <a:gd name="connsiteX105" fmla="*/ 422118 w 2908253"/>
              <a:gd name="connsiteY105" fmla="*/ 2556560 h 2955319"/>
              <a:gd name="connsiteX106" fmla="*/ 422118 w 2908253"/>
              <a:gd name="connsiteY106" fmla="*/ 2626924 h 2955319"/>
              <a:gd name="connsiteX107" fmla="*/ 328299 w 2908253"/>
              <a:gd name="connsiteY107" fmla="*/ 2626924 h 2955319"/>
              <a:gd name="connsiteX108" fmla="*/ 328299 w 2908253"/>
              <a:gd name="connsiteY108" fmla="*/ 2556560 h 2955319"/>
              <a:gd name="connsiteX109" fmla="*/ 414484 w 2908253"/>
              <a:gd name="connsiteY109" fmla="*/ 2427003 h 2955319"/>
              <a:gd name="connsiteX110" fmla="*/ 422118 w 2908253"/>
              <a:gd name="connsiteY110" fmla="*/ 2425440 h 2955319"/>
              <a:gd name="connsiteX111" fmla="*/ 422118 w 2908253"/>
              <a:gd name="connsiteY111" fmla="*/ 1655676 h 2955319"/>
              <a:gd name="connsiteX112" fmla="*/ 414484 w 2908253"/>
              <a:gd name="connsiteY112" fmla="*/ 1654113 h 2955319"/>
              <a:gd name="connsiteX113" fmla="*/ 328299 w 2908253"/>
              <a:gd name="connsiteY113" fmla="*/ 1524554 h 2955319"/>
              <a:gd name="connsiteX114" fmla="*/ 1454125 w 2908253"/>
              <a:gd name="connsiteY114" fmla="*/ 938187 h 2955319"/>
              <a:gd name="connsiteX115" fmla="*/ 1360307 w 2908253"/>
              <a:gd name="connsiteY115" fmla="*/ 1032006 h 2955319"/>
              <a:gd name="connsiteX116" fmla="*/ 1454125 w 2908253"/>
              <a:gd name="connsiteY116" fmla="*/ 1125825 h 2955319"/>
              <a:gd name="connsiteX117" fmla="*/ 1547944 w 2908253"/>
              <a:gd name="connsiteY117" fmla="*/ 1032006 h 2955319"/>
              <a:gd name="connsiteX118" fmla="*/ 1454125 w 2908253"/>
              <a:gd name="connsiteY118" fmla="*/ 938187 h 2955319"/>
              <a:gd name="connsiteX119" fmla="*/ 1454125 w 2908253"/>
              <a:gd name="connsiteY119" fmla="*/ 844368 h 2955319"/>
              <a:gd name="connsiteX120" fmla="*/ 1641763 w 2908253"/>
              <a:gd name="connsiteY120" fmla="*/ 1032006 h 2955319"/>
              <a:gd name="connsiteX121" fmla="*/ 1454125 w 2908253"/>
              <a:gd name="connsiteY121" fmla="*/ 1219644 h 2955319"/>
              <a:gd name="connsiteX122" fmla="*/ 1266487 w 2908253"/>
              <a:gd name="connsiteY122" fmla="*/ 1032006 h 2955319"/>
              <a:gd name="connsiteX123" fmla="*/ 1454125 w 2908253"/>
              <a:gd name="connsiteY123" fmla="*/ 844368 h 2955319"/>
              <a:gd name="connsiteX124" fmla="*/ 1454126 w 2908253"/>
              <a:gd name="connsiteY124" fmla="*/ 661426 h 2955319"/>
              <a:gd name="connsiteX125" fmla="*/ 187572 w 2908253"/>
              <a:gd name="connsiteY125" fmla="*/ 1249672 h 2955319"/>
              <a:gd name="connsiteX126" fmla="*/ 187572 w 2908253"/>
              <a:gd name="connsiteY126" fmla="*/ 1313462 h 2955319"/>
              <a:gd name="connsiteX127" fmla="*/ 2720678 w 2908253"/>
              <a:gd name="connsiteY127" fmla="*/ 1313462 h 2955319"/>
              <a:gd name="connsiteX128" fmla="*/ 2720678 w 2908253"/>
              <a:gd name="connsiteY128" fmla="*/ 1249672 h 2955319"/>
              <a:gd name="connsiteX129" fmla="*/ 1454124 w 2908253"/>
              <a:gd name="connsiteY129" fmla="*/ 0 h 2955319"/>
              <a:gd name="connsiteX130" fmla="*/ 1970128 w 2908253"/>
              <a:gd name="connsiteY130" fmla="*/ 0 h 2955319"/>
              <a:gd name="connsiteX131" fmla="*/ 2017038 w 2908253"/>
              <a:gd name="connsiteY131" fmla="*/ 46909 h 2955319"/>
              <a:gd name="connsiteX132" fmla="*/ 2017038 w 2908253"/>
              <a:gd name="connsiteY132" fmla="*/ 328366 h 2955319"/>
              <a:gd name="connsiteX133" fmla="*/ 1970128 w 2908253"/>
              <a:gd name="connsiteY133" fmla="*/ 375275 h 2955319"/>
              <a:gd name="connsiteX134" fmla="*/ 1571398 w 2908253"/>
              <a:gd name="connsiteY134" fmla="*/ 375275 h 2955319"/>
              <a:gd name="connsiteX135" fmla="*/ 1571398 w 2908253"/>
              <a:gd name="connsiteY135" fmla="*/ 281456 h 2955319"/>
              <a:gd name="connsiteX136" fmla="*/ 1923219 w 2908253"/>
              <a:gd name="connsiteY136" fmla="*/ 281456 h 2955319"/>
              <a:gd name="connsiteX137" fmla="*/ 1923219 w 2908253"/>
              <a:gd name="connsiteY137" fmla="*/ 93819 h 2955319"/>
              <a:gd name="connsiteX138" fmla="*/ 1501034 w 2908253"/>
              <a:gd name="connsiteY138" fmla="*/ 93819 h 2955319"/>
              <a:gd name="connsiteX139" fmla="*/ 1501034 w 2908253"/>
              <a:gd name="connsiteY139" fmla="*/ 580201 h 2955319"/>
              <a:gd name="connsiteX140" fmla="*/ 2787374 w 2908253"/>
              <a:gd name="connsiteY140" fmla="*/ 1177429 h 2955319"/>
              <a:gd name="connsiteX141" fmla="*/ 2814497 w 2908253"/>
              <a:gd name="connsiteY141" fmla="*/ 1219643 h 2955319"/>
              <a:gd name="connsiteX142" fmla="*/ 2814497 w 2908253"/>
              <a:gd name="connsiteY142" fmla="*/ 1360371 h 2955319"/>
              <a:gd name="connsiteX143" fmla="*/ 2767588 w 2908253"/>
              <a:gd name="connsiteY143" fmla="*/ 1407281 h 2955319"/>
              <a:gd name="connsiteX144" fmla="*/ 140662 w 2908253"/>
              <a:gd name="connsiteY144" fmla="*/ 1407281 h 2955319"/>
              <a:gd name="connsiteX145" fmla="*/ 93753 w 2908253"/>
              <a:gd name="connsiteY145" fmla="*/ 1360371 h 2955319"/>
              <a:gd name="connsiteX146" fmla="*/ 93753 w 2908253"/>
              <a:gd name="connsiteY146" fmla="*/ 1219643 h 2955319"/>
              <a:gd name="connsiteX147" fmla="*/ 120872 w 2908253"/>
              <a:gd name="connsiteY147" fmla="*/ 1177429 h 2955319"/>
              <a:gd name="connsiteX148" fmla="*/ 1407215 w 2908253"/>
              <a:gd name="connsiteY148" fmla="*/ 580201 h 2955319"/>
              <a:gd name="connsiteX149" fmla="*/ 1407215 w 2908253"/>
              <a:gd name="connsiteY149" fmla="*/ 46909 h 2955319"/>
              <a:gd name="connsiteX150" fmla="*/ 1454124 w 2908253"/>
              <a:gd name="connsiteY150" fmla="*/ 0 h 2955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2908253" h="2955319">
                <a:moveTo>
                  <a:pt x="47577" y="2861471"/>
                </a:moveTo>
                <a:lnTo>
                  <a:pt x="2860674" y="2861471"/>
                </a:lnTo>
                <a:cubicBezTo>
                  <a:pt x="2861115" y="2861471"/>
                  <a:pt x="2861555" y="2861471"/>
                  <a:pt x="2861996" y="2861471"/>
                </a:cubicBezTo>
                <a:cubicBezTo>
                  <a:pt x="2887909" y="2862410"/>
                  <a:pt x="2908615" y="2883048"/>
                  <a:pt x="2908249" y="2909320"/>
                </a:cubicBezTo>
                <a:cubicBezTo>
                  <a:pt x="2907883" y="2934652"/>
                  <a:pt x="2886577" y="2956229"/>
                  <a:pt x="2860674" y="2955290"/>
                </a:cubicBezTo>
                <a:lnTo>
                  <a:pt x="47577" y="2955290"/>
                </a:lnTo>
                <a:cubicBezTo>
                  <a:pt x="47134" y="2955290"/>
                  <a:pt x="46692" y="2955290"/>
                  <a:pt x="46250" y="2955290"/>
                </a:cubicBezTo>
                <a:cubicBezTo>
                  <a:pt x="20342" y="2955290"/>
                  <a:pt x="-363" y="2933713"/>
                  <a:pt x="4" y="2907441"/>
                </a:cubicBezTo>
                <a:cubicBezTo>
                  <a:pt x="370" y="2882108"/>
                  <a:pt x="21669" y="2861471"/>
                  <a:pt x="47577" y="2861471"/>
                </a:cubicBezTo>
                <a:close/>
                <a:moveTo>
                  <a:pt x="187571" y="2673833"/>
                </a:moveTo>
                <a:lnTo>
                  <a:pt x="2720678" y="2673833"/>
                </a:lnTo>
                <a:cubicBezTo>
                  <a:pt x="2721119" y="2673833"/>
                  <a:pt x="2721560" y="2673833"/>
                  <a:pt x="2722001" y="2673833"/>
                </a:cubicBezTo>
                <a:cubicBezTo>
                  <a:pt x="2747914" y="2674772"/>
                  <a:pt x="2768619" y="2695410"/>
                  <a:pt x="2768253" y="2721682"/>
                </a:cubicBezTo>
                <a:cubicBezTo>
                  <a:pt x="2767888" y="2747014"/>
                  <a:pt x="2746581" y="2768591"/>
                  <a:pt x="2720678" y="2767652"/>
                </a:cubicBezTo>
                <a:lnTo>
                  <a:pt x="187571" y="2767652"/>
                </a:lnTo>
                <a:cubicBezTo>
                  <a:pt x="187130" y="2767652"/>
                  <a:pt x="186687" y="2767652"/>
                  <a:pt x="186245" y="2767652"/>
                </a:cubicBezTo>
                <a:cubicBezTo>
                  <a:pt x="160338" y="2767652"/>
                  <a:pt x="139633" y="2746075"/>
                  <a:pt x="139999" y="2719803"/>
                </a:cubicBezTo>
                <a:cubicBezTo>
                  <a:pt x="140365" y="2694470"/>
                  <a:pt x="161664" y="2673833"/>
                  <a:pt x="187571" y="2673833"/>
                </a:cubicBezTo>
                <a:close/>
                <a:moveTo>
                  <a:pt x="2251583" y="1665282"/>
                </a:moveTo>
                <a:lnTo>
                  <a:pt x="2251583" y="2415832"/>
                </a:lnTo>
                <a:lnTo>
                  <a:pt x="2392311" y="2415832"/>
                </a:lnTo>
                <a:lnTo>
                  <a:pt x="2392311" y="1665282"/>
                </a:lnTo>
                <a:close/>
                <a:moveTo>
                  <a:pt x="1383760" y="1665282"/>
                </a:moveTo>
                <a:lnTo>
                  <a:pt x="1383760" y="2415832"/>
                </a:lnTo>
                <a:lnTo>
                  <a:pt x="1524488" y="2415832"/>
                </a:lnTo>
                <a:lnTo>
                  <a:pt x="1524488" y="1665282"/>
                </a:lnTo>
                <a:close/>
                <a:moveTo>
                  <a:pt x="515937" y="1665282"/>
                </a:moveTo>
                <a:lnTo>
                  <a:pt x="515937" y="2415832"/>
                </a:lnTo>
                <a:lnTo>
                  <a:pt x="656665" y="2415832"/>
                </a:lnTo>
                <a:lnTo>
                  <a:pt x="656665" y="1665282"/>
                </a:lnTo>
                <a:close/>
                <a:moveTo>
                  <a:pt x="2063946" y="1454190"/>
                </a:moveTo>
                <a:lnTo>
                  <a:pt x="2157765" y="1454190"/>
                </a:lnTo>
                <a:lnTo>
                  <a:pt x="2157765" y="1524554"/>
                </a:lnTo>
                <a:cubicBezTo>
                  <a:pt x="2157765" y="1550826"/>
                  <a:pt x="2178208" y="1571463"/>
                  <a:pt x="2204674" y="1571463"/>
                </a:cubicBezTo>
                <a:lnTo>
                  <a:pt x="2439221" y="1571463"/>
                </a:lnTo>
                <a:cubicBezTo>
                  <a:pt x="2465687" y="1571463"/>
                  <a:pt x="2486130" y="1550826"/>
                  <a:pt x="2486130" y="1524554"/>
                </a:cubicBezTo>
                <a:lnTo>
                  <a:pt x="2486130" y="1454190"/>
                </a:lnTo>
                <a:lnTo>
                  <a:pt x="2579949" y="1454190"/>
                </a:lnTo>
                <a:lnTo>
                  <a:pt x="2579949" y="1524554"/>
                </a:lnTo>
                <a:cubicBezTo>
                  <a:pt x="2579949" y="1582258"/>
                  <a:pt x="2544195" y="1632565"/>
                  <a:pt x="2493764" y="1654113"/>
                </a:cubicBezTo>
                <a:lnTo>
                  <a:pt x="2486130" y="1655676"/>
                </a:lnTo>
                <a:lnTo>
                  <a:pt x="2486130" y="2425440"/>
                </a:lnTo>
                <a:lnTo>
                  <a:pt x="2493764" y="2427003"/>
                </a:lnTo>
                <a:cubicBezTo>
                  <a:pt x="2544195" y="2448553"/>
                  <a:pt x="2579949" y="2498866"/>
                  <a:pt x="2579949" y="2556560"/>
                </a:cubicBezTo>
                <a:lnTo>
                  <a:pt x="2579949" y="2626924"/>
                </a:lnTo>
                <a:lnTo>
                  <a:pt x="2486130" y="2626924"/>
                </a:lnTo>
                <a:lnTo>
                  <a:pt x="2486130" y="2556560"/>
                </a:lnTo>
                <a:cubicBezTo>
                  <a:pt x="2486130" y="2530288"/>
                  <a:pt x="2465687" y="2509651"/>
                  <a:pt x="2439221" y="2509651"/>
                </a:cubicBezTo>
                <a:lnTo>
                  <a:pt x="2204674" y="2509651"/>
                </a:lnTo>
                <a:cubicBezTo>
                  <a:pt x="2178208" y="2509651"/>
                  <a:pt x="2157765" y="2530288"/>
                  <a:pt x="2157765" y="2556560"/>
                </a:cubicBezTo>
                <a:lnTo>
                  <a:pt x="2157765" y="2626924"/>
                </a:lnTo>
                <a:lnTo>
                  <a:pt x="2063946" y="2626924"/>
                </a:lnTo>
                <a:lnTo>
                  <a:pt x="2063946" y="2556560"/>
                </a:lnTo>
                <a:cubicBezTo>
                  <a:pt x="2063946" y="2498866"/>
                  <a:pt x="2099700" y="2448553"/>
                  <a:pt x="2150131" y="2427003"/>
                </a:cubicBezTo>
                <a:lnTo>
                  <a:pt x="2157764" y="2425440"/>
                </a:lnTo>
                <a:lnTo>
                  <a:pt x="2157764" y="1655676"/>
                </a:lnTo>
                <a:lnTo>
                  <a:pt x="2150131" y="1654113"/>
                </a:lnTo>
                <a:cubicBezTo>
                  <a:pt x="2099700" y="1632565"/>
                  <a:pt x="2063946" y="1582258"/>
                  <a:pt x="2063946" y="1524554"/>
                </a:cubicBezTo>
                <a:close/>
                <a:moveTo>
                  <a:pt x="1196123" y="1454190"/>
                </a:moveTo>
                <a:lnTo>
                  <a:pt x="1289942" y="1454190"/>
                </a:lnTo>
                <a:lnTo>
                  <a:pt x="1289942" y="1524554"/>
                </a:lnTo>
                <a:cubicBezTo>
                  <a:pt x="1289942" y="1550826"/>
                  <a:pt x="1310385" y="1571463"/>
                  <a:pt x="1336851" y="1571463"/>
                </a:cubicBezTo>
                <a:lnTo>
                  <a:pt x="1571398" y="1571463"/>
                </a:lnTo>
                <a:cubicBezTo>
                  <a:pt x="1597864" y="1571463"/>
                  <a:pt x="1618307" y="1550826"/>
                  <a:pt x="1618307" y="1524554"/>
                </a:cubicBezTo>
                <a:lnTo>
                  <a:pt x="1618307" y="1454190"/>
                </a:lnTo>
                <a:lnTo>
                  <a:pt x="1712126" y="1454190"/>
                </a:lnTo>
                <a:lnTo>
                  <a:pt x="1712126" y="1524554"/>
                </a:lnTo>
                <a:cubicBezTo>
                  <a:pt x="1712126" y="1582258"/>
                  <a:pt x="1676373" y="1632565"/>
                  <a:pt x="1625941" y="1654113"/>
                </a:cubicBezTo>
                <a:lnTo>
                  <a:pt x="1618307" y="1655676"/>
                </a:lnTo>
                <a:lnTo>
                  <a:pt x="1618307" y="2425440"/>
                </a:lnTo>
                <a:lnTo>
                  <a:pt x="1625941" y="2427003"/>
                </a:lnTo>
                <a:cubicBezTo>
                  <a:pt x="1676373" y="2448553"/>
                  <a:pt x="1712126" y="2498866"/>
                  <a:pt x="1712126" y="2556560"/>
                </a:cubicBezTo>
                <a:lnTo>
                  <a:pt x="1712126" y="2626924"/>
                </a:lnTo>
                <a:lnTo>
                  <a:pt x="1618307" y="2626924"/>
                </a:lnTo>
                <a:lnTo>
                  <a:pt x="1618307" y="2556560"/>
                </a:lnTo>
                <a:cubicBezTo>
                  <a:pt x="1618307" y="2530288"/>
                  <a:pt x="1597864" y="2509651"/>
                  <a:pt x="1571398" y="2509651"/>
                </a:cubicBezTo>
                <a:lnTo>
                  <a:pt x="1336851" y="2509651"/>
                </a:lnTo>
                <a:cubicBezTo>
                  <a:pt x="1310385" y="2509651"/>
                  <a:pt x="1289942" y="2530288"/>
                  <a:pt x="1289942" y="2556560"/>
                </a:cubicBezTo>
                <a:lnTo>
                  <a:pt x="1289942" y="2626924"/>
                </a:lnTo>
                <a:lnTo>
                  <a:pt x="1196123" y="2626924"/>
                </a:lnTo>
                <a:lnTo>
                  <a:pt x="1196123" y="2556560"/>
                </a:lnTo>
                <a:cubicBezTo>
                  <a:pt x="1196123" y="2498866"/>
                  <a:pt x="1231877" y="2448553"/>
                  <a:pt x="1282308" y="2427003"/>
                </a:cubicBezTo>
                <a:lnTo>
                  <a:pt x="1289941" y="2425440"/>
                </a:lnTo>
                <a:lnTo>
                  <a:pt x="1289941" y="1655676"/>
                </a:lnTo>
                <a:lnTo>
                  <a:pt x="1282308" y="1654113"/>
                </a:lnTo>
                <a:cubicBezTo>
                  <a:pt x="1231877" y="1632565"/>
                  <a:pt x="1196123" y="1582258"/>
                  <a:pt x="1196123" y="1524554"/>
                </a:cubicBezTo>
                <a:close/>
                <a:moveTo>
                  <a:pt x="328299" y="1454190"/>
                </a:moveTo>
                <a:lnTo>
                  <a:pt x="422118" y="1454190"/>
                </a:lnTo>
                <a:lnTo>
                  <a:pt x="422118" y="1524554"/>
                </a:lnTo>
                <a:cubicBezTo>
                  <a:pt x="422119" y="1550826"/>
                  <a:pt x="442563" y="1571463"/>
                  <a:pt x="469027" y="1571463"/>
                </a:cubicBezTo>
                <a:lnTo>
                  <a:pt x="703574" y="1571463"/>
                </a:lnTo>
                <a:cubicBezTo>
                  <a:pt x="730037" y="1571463"/>
                  <a:pt x="750483" y="1550826"/>
                  <a:pt x="750483" y="1524554"/>
                </a:cubicBezTo>
                <a:lnTo>
                  <a:pt x="750483" y="1454190"/>
                </a:lnTo>
                <a:lnTo>
                  <a:pt x="844302" y="1454190"/>
                </a:lnTo>
                <a:lnTo>
                  <a:pt x="844302" y="1524554"/>
                </a:lnTo>
                <a:cubicBezTo>
                  <a:pt x="844303" y="1582258"/>
                  <a:pt x="808549" y="1632565"/>
                  <a:pt x="758117" y="1654113"/>
                </a:cubicBezTo>
                <a:lnTo>
                  <a:pt x="750484" y="1655676"/>
                </a:lnTo>
                <a:lnTo>
                  <a:pt x="750484" y="2425440"/>
                </a:lnTo>
                <a:lnTo>
                  <a:pt x="758117" y="2427003"/>
                </a:lnTo>
                <a:cubicBezTo>
                  <a:pt x="808548" y="2448553"/>
                  <a:pt x="844302" y="2498866"/>
                  <a:pt x="844302" y="2556560"/>
                </a:cubicBezTo>
                <a:lnTo>
                  <a:pt x="844302" y="2626924"/>
                </a:lnTo>
                <a:lnTo>
                  <a:pt x="750483" y="2626924"/>
                </a:lnTo>
                <a:lnTo>
                  <a:pt x="750483" y="2556560"/>
                </a:lnTo>
                <a:cubicBezTo>
                  <a:pt x="750483" y="2530288"/>
                  <a:pt x="730037" y="2509651"/>
                  <a:pt x="703574" y="2509651"/>
                </a:cubicBezTo>
                <a:lnTo>
                  <a:pt x="469027" y="2509651"/>
                </a:lnTo>
                <a:cubicBezTo>
                  <a:pt x="442564" y="2509651"/>
                  <a:pt x="422118" y="2530288"/>
                  <a:pt x="422118" y="2556560"/>
                </a:cubicBezTo>
                <a:lnTo>
                  <a:pt x="422118" y="2626924"/>
                </a:lnTo>
                <a:lnTo>
                  <a:pt x="328299" y="2626924"/>
                </a:lnTo>
                <a:lnTo>
                  <a:pt x="328299" y="2556560"/>
                </a:lnTo>
                <a:cubicBezTo>
                  <a:pt x="328299" y="2498866"/>
                  <a:pt x="364053" y="2448553"/>
                  <a:pt x="414484" y="2427003"/>
                </a:cubicBezTo>
                <a:lnTo>
                  <a:pt x="422118" y="2425440"/>
                </a:lnTo>
                <a:lnTo>
                  <a:pt x="422118" y="1655676"/>
                </a:lnTo>
                <a:lnTo>
                  <a:pt x="414484" y="1654113"/>
                </a:lnTo>
                <a:cubicBezTo>
                  <a:pt x="364053" y="1632565"/>
                  <a:pt x="328300" y="1582258"/>
                  <a:pt x="328299" y="1524554"/>
                </a:cubicBezTo>
                <a:close/>
                <a:moveTo>
                  <a:pt x="1454125" y="938187"/>
                </a:moveTo>
                <a:cubicBezTo>
                  <a:pt x="1401756" y="938187"/>
                  <a:pt x="1360307" y="979474"/>
                  <a:pt x="1360307" y="1032006"/>
                </a:cubicBezTo>
                <a:cubicBezTo>
                  <a:pt x="1360307" y="1084550"/>
                  <a:pt x="1401756" y="1125825"/>
                  <a:pt x="1454125" y="1125825"/>
                </a:cubicBezTo>
                <a:cubicBezTo>
                  <a:pt x="1506495" y="1125825"/>
                  <a:pt x="1547944" y="1084550"/>
                  <a:pt x="1547944" y="1032006"/>
                </a:cubicBezTo>
                <a:cubicBezTo>
                  <a:pt x="1547944" y="979474"/>
                  <a:pt x="1506495" y="938187"/>
                  <a:pt x="1454125" y="938187"/>
                </a:cubicBezTo>
                <a:close/>
                <a:moveTo>
                  <a:pt x="1454125" y="844368"/>
                </a:moveTo>
                <a:cubicBezTo>
                  <a:pt x="1557195" y="844368"/>
                  <a:pt x="1641754" y="928807"/>
                  <a:pt x="1641763" y="1032006"/>
                </a:cubicBezTo>
                <a:cubicBezTo>
                  <a:pt x="1641763" y="1135205"/>
                  <a:pt x="1557195" y="1219644"/>
                  <a:pt x="1454125" y="1219644"/>
                </a:cubicBezTo>
                <a:cubicBezTo>
                  <a:pt x="1351056" y="1219644"/>
                  <a:pt x="1266487" y="1135205"/>
                  <a:pt x="1266487" y="1032006"/>
                </a:cubicBezTo>
                <a:cubicBezTo>
                  <a:pt x="1266496" y="928807"/>
                  <a:pt x="1351056" y="844368"/>
                  <a:pt x="1454125" y="844368"/>
                </a:cubicBezTo>
                <a:close/>
                <a:moveTo>
                  <a:pt x="1454126" y="661426"/>
                </a:moveTo>
                <a:lnTo>
                  <a:pt x="187572" y="1249672"/>
                </a:lnTo>
                <a:lnTo>
                  <a:pt x="187572" y="1313462"/>
                </a:lnTo>
                <a:lnTo>
                  <a:pt x="2720678" y="1313462"/>
                </a:lnTo>
                <a:lnTo>
                  <a:pt x="2720678" y="1249672"/>
                </a:lnTo>
                <a:close/>
                <a:moveTo>
                  <a:pt x="1454124" y="0"/>
                </a:moveTo>
                <a:lnTo>
                  <a:pt x="1970128" y="0"/>
                </a:lnTo>
                <a:cubicBezTo>
                  <a:pt x="1996032" y="0"/>
                  <a:pt x="2017038" y="21582"/>
                  <a:pt x="2017038" y="46909"/>
                </a:cubicBezTo>
                <a:lnTo>
                  <a:pt x="2017038" y="328366"/>
                </a:lnTo>
                <a:cubicBezTo>
                  <a:pt x="2017038" y="354638"/>
                  <a:pt x="1996032" y="375275"/>
                  <a:pt x="1970128" y="375275"/>
                </a:cubicBezTo>
                <a:lnTo>
                  <a:pt x="1571398" y="375275"/>
                </a:lnTo>
                <a:lnTo>
                  <a:pt x="1571398" y="281456"/>
                </a:lnTo>
                <a:lnTo>
                  <a:pt x="1923219" y="281456"/>
                </a:lnTo>
                <a:lnTo>
                  <a:pt x="1923219" y="93819"/>
                </a:lnTo>
                <a:lnTo>
                  <a:pt x="1501034" y="93819"/>
                </a:lnTo>
                <a:lnTo>
                  <a:pt x="1501034" y="580201"/>
                </a:lnTo>
                <a:lnTo>
                  <a:pt x="2787374" y="1177429"/>
                </a:lnTo>
                <a:cubicBezTo>
                  <a:pt x="2803914" y="1184931"/>
                  <a:pt x="2814488" y="1201823"/>
                  <a:pt x="2814497" y="1219643"/>
                </a:cubicBezTo>
                <a:lnTo>
                  <a:pt x="2814497" y="1360371"/>
                </a:lnTo>
                <a:cubicBezTo>
                  <a:pt x="2814497" y="1386643"/>
                  <a:pt x="2793491" y="1407281"/>
                  <a:pt x="2767588" y="1407281"/>
                </a:cubicBezTo>
                <a:lnTo>
                  <a:pt x="140662" y="1407281"/>
                </a:lnTo>
                <a:cubicBezTo>
                  <a:pt x="114756" y="1407281"/>
                  <a:pt x="93756" y="1386643"/>
                  <a:pt x="93753" y="1360371"/>
                </a:cubicBezTo>
                <a:lnTo>
                  <a:pt x="93753" y="1219643"/>
                </a:lnTo>
                <a:cubicBezTo>
                  <a:pt x="93766" y="1201823"/>
                  <a:pt x="104342" y="1184931"/>
                  <a:pt x="120872" y="1177429"/>
                </a:cubicBezTo>
                <a:lnTo>
                  <a:pt x="1407215" y="580201"/>
                </a:lnTo>
                <a:lnTo>
                  <a:pt x="1407215" y="46909"/>
                </a:lnTo>
                <a:cubicBezTo>
                  <a:pt x="1407215" y="21582"/>
                  <a:pt x="1428221" y="0"/>
                  <a:pt x="1454124" y="0"/>
                </a:cubicBezTo>
                <a:close/>
              </a:path>
            </a:pathLst>
          </a:custGeom>
          <a:solidFill>
            <a:schemeClr val="bg2"/>
          </a:solidFill>
          <a:ln w="9525" cap="flat">
            <a:noFill/>
            <a:prstDash val="solid"/>
            <a:miter/>
          </a:ln>
        </p:spPr>
        <p:txBody>
          <a:bodyPr rtlCol="0" anchor="ctr"/>
          <a:lstStyle/>
          <a:p>
            <a:endParaRPr lang="en-US" dirty="0">
              <a:latin typeface="Arial Narrow" charset="0"/>
            </a:endParaRPr>
          </a:p>
        </p:txBody>
      </p:sp>
      <p:sp>
        <p:nvSpPr>
          <p:cNvPr id="1474" name="Freeform: Shape 1473">
            <a:extLst>
              <a:ext uri="{FF2B5EF4-FFF2-40B4-BE49-F238E27FC236}">
                <a16:creationId xmlns:a16="http://schemas.microsoft.com/office/drawing/2014/main" id="{B175F3AE-8327-AB32-96AA-DECCEE719655}"/>
              </a:ext>
            </a:extLst>
          </p:cNvPr>
          <p:cNvSpPr>
            <a:spLocks noChangeAspect="1"/>
          </p:cNvSpPr>
          <p:nvPr/>
        </p:nvSpPr>
        <p:spPr>
          <a:xfrm>
            <a:off x="539750" y="5655290"/>
            <a:ext cx="436249" cy="389670"/>
          </a:xfrm>
          <a:custGeom>
            <a:avLst/>
            <a:gdLst>
              <a:gd name="connsiteX0" fmla="*/ 993017 w 2063943"/>
              <a:gd name="connsiteY0" fmla="*/ 1537723 h 1843571"/>
              <a:gd name="connsiteX1" fmla="*/ 1069217 w 2063943"/>
              <a:gd name="connsiteY1" fmla="*/ 1537723 h 1843571"/>
              <a:gd name="connsiteX2" fmla="*/ 1069217 w 2063943"/>
              <a:gd name="connsiteY2" fmla="*/ 1613923 h 1843571"/>
              <a:gd name="connsiteX3" fmla="*/ 993017 w 2063943"/>
              <a:gd name="connsiteY3" fmla="*/ 1613923 h 1843571"/>
              <a:gd name="connsiteX4" fmla="*/ 993017 w 2063943"/>
              <a:gd name="connsiteY4" fmla="*/ 619704 h 1843571"/>
              <a:gd name="connsiteX5" fmla="*/ 1069217 w 2063943"/>
              <a:gd name="connsiteY5" fmla="*/ 619704 h 1843571"/>
              <a:gd name="connsiteX6" fmla="*/ 1069217 w 2063943"/>
              <a:gd name="connsiteY6" fmla="*/ 1384466 h 1843571"/>
              <a:gd name="connsiteX7" fmla="*/ 993017 w 2063943"/>
              <a:gd name="connsiteY7" fmla="*/ 1384466 h 1843571"/>
              <a:gd name="connsiteX8" fmla="*/ 1041337 w 2063943"/>
              <a:gd name="connsiteY8" fmla="*/ 77659 h 1843571"/>
              <a:gd name="connsiteX9" fmla="*/ 969300 w 2063943"/>
              <a:gd name="connsiteY9" fmla="*/ 112021 h 1843571"/>
              <a:gd name="connsiteX10" fmla="*/ 86808 w 2063943"/>
              <a:gd name="connsiteY10" fmla="*/ 1661738 h 1843571"/>
              <a:gd name="connsiteX11" fmla="*/ 84903 w 2063943"/>
              <a:gd name="connsiteY11" fmla="*/ 1733462 h 1843571"/>
              <a:gd name="connsiteX12" fmla="*/ 151578 w 2063943"/>
              <a:gd name="connsiteY12" fmla="*/ 1766894 h 1843571"/>
              <a:gd name="connsiteX13" fmla="*/ 1922562 w 2063943"/>
              <a:gd name="connsiteY13" fmla="*/ 1767847 h 1843571"/>
              <a:gd name="connsiteX14" fmla="*/ 1978950 w 2063943"/>
              <a:gd name="connsiteY14" fmla="*/ 1736319 h 1843571"/>
              <a:gd name="connsiteX15" fmla="*/ 1975330 w 2063943"/>
              <a:gd name="connsiteY15" fmla="*/ 1661738 h 1843571"/>
              <a:gd name="connsiteX16" fmla="*/ 1093125 w 2063943"/>
              <a:gd name="connsiteY16" fmla="*/ 112021 h 1843571"/>
              <a:gd name="connsiteX17" fmla="*/ 1068355 w 2063943"/>
              <a:gd name="connsiteY17" fmla="*/ 87252 h 1843571"/>
              <a:gd name="connsiteX18" fmla="*/ 1041337 w 2063943"/>
              <a:gd name="connsiteY18" fmla="*/ 77659 h 1843571"/>
              <a:gd name="connsiteX19" fmla="*/ 1015188 w 2063943"/>
              <a:gd name="connsiteY19" fmla="*/ 916 h 1843571"/>
              <a:gd name="connsiteX20" fmla="*/ 1159800 w 2063943"/>
              <a:gd name="connsiteY20" fmla="*/ 74969 h 1843571"/>
              <a:gd name="connsiteX21" fmla="*/ 2042386 w 2063943"/>
              <a:gd name="connsiteY21" fmla="*/ 1623543 h 1843571"/>
              <a:gd name="connsiteX22" fmla="*/ 1922943 w 2063943"/>
              <a:gd name="connsiteY22" fmla="*/ 1843571 h 1843571"/>
              <a:gd name="connsiteX23" fmla="*/ 144339 w 2063943"/>
              <a:gd name="connsiteY23" fmla="*/ 1843571 h 1843571"/>
              <a:gd name="connsiteX24" fmla="*/ 20514 w 2063943"/>
              <a:gd name="connsiteY24" fmla="*/ 1623734 h 1843571"/>
              <a:gd name="connsiteX25" fmla="*/ 903577 w 2063943"/>
              <a:gd name="connsiteY25" fmla="*/ 74969 h 1843571"/>
              <a:gd name="connsiteX26" fmla="*/ 959661 w 2063943"/>
              <a:gd name="connsiteY26" fmla="*/ 18885 h 1843571"/>
              <a:gd name="connsiteX27" fmla="*/ 1015188 w 2063943"/>
              <a:gd name="connsiteY27" fmla="*/ 916 h 1843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63943" h="1843571">
                <a:moveTo>
                  <a:pt x="993017" y="1537723"/>
                </a:moveTo>
                <a:lnTo>
                  <a:pt x="1069217" y="1537723"/>
                </a:lnTo>
                <a:lnTo>
                  <a:pt x="1069217" y="1613923"/>
                </a:lnTo>
                <a:lnTo>
                  <a:pt x="993017" y="1613923"/>
                </a:lnTo>
                <a:close/>
                <a:moveTo>
                  <a:pt x="993017" y="619704"/>
                </a:moveTo>
                <a:lnTo>
                  <a:pt x="1069217" y="619704"/>
                </a:lnTo>
                <a:lnTo>
                  <a:pt x="1069217" y="1384466"/>
                </a:lnTo>
                <a:lnTo>
                  <a:pt x="993017" y="1384466"/>
                </a:lnTo>
                <a:close/>
                <a:moveTo>
                  <a:pt x="1041337" y="77659"/>
                </a:moveTo>
                <a:cubicBezTo>
                  <a:pt x="1013478" y="73727"/>
                  <a:pt x="984685" y="86376"/>
                  <a:pt x="969300" y="112021"/>
                </a:cubicBezTo>
                <a:lnTo>
                  <a:pt x="86808" y="1661738"/>
                </a:lnTo>
                <a:cubicBezTo>
                  <a:pt x="72914" y="1683441"/>
                  <a:pt x="72180" y="1711052"/>
                  <a:pt x="84903" y="1733462"/>
                </a:cubicBezTo>
                <a:cubicBezTo>
                  <a:pt x="99000" y="1759274"/>
                  <a:pt x="123003" y="1766894"/>
                  <a:pt x="151578" y="1766894"/>
                </a:cubicBezTo>
                <a:lnTo>
                  <a:pt x="1922562" y="1767847"/>
                </a:lnTo>
                <a:cubicBezTo>
                  <a:pt x="1945807" y="1768844"/>
                  <a:pt x="1967626" y="1756644"/>
                  <a:pt x="1978950" y="1736319"/>
                </a:cubicBezTo>
                <a:cubicBezTo>
                  <a:pt x="1990673" y="1712495"/>
                  <a:pt x="1989305" y="1684315"/>
                  <a:pt x="1975330" y="1661738"/>
                </a:cubicBezTo>
                <a:lnTo>
                  <a:pt x="1093125" y="112021"/>
                </a:lnTo>
                <a:cubicBezTo>
                  <a:pt x="1087027" y="101856"/>
                  <a:pt x="1078520" y="93349"/>
                  <a:pt x="1068355" y="87252"/>
                </a:cubicBezTo>
                <a:cubicBezTo>
                  <a:pt x="1059807" y="82123"/>
                  <a:pt x="1050624" y="78970"/>
                  <a:pt x="1041337" y="77659"/>
                </a:cubicBezTo>
                <a:close/>
                <a:moveTo>
                  <a:pt x="1015188" y="916"/>
                </a:moveTo>
                <a:cubicBezTo>
                  <a:pt x="1072104" y="-5487"/>
                  <a:pt x="1129965" y="21903"/>
                  <a:pt x="1159800" y="74969"/>
                </a:cubicBezTo>
                <a:lnTo>
                  <a:pt x="2042386" y="1623543"/>
                </a:lnTo>
                <a:cubicBezTo>
                  <a:pt x="2098774" y="1720984"/>
                  <a:pt x="2039529" y="1843380"/>
                  <a:pt x="1922943" y="1843571"/>
                </a:cubicBezTo>
                <a:lnTo>
                  <a:pt x="144339" y="1843571"/>
                </a:lnTo>
                <a:cubicBezTo>
                  <a:pt x="30039" y="1843571"/>
                  <a:pt x="-35874" y="1722127"/>
                  <a:pt x="20514" y="1623734"/>
                </a:cubicBezTo>
                <a:lnTo>
                  <a:pt x="903577" y="74969"/>
                </a:lnTo>
                <a:cubicBezTo>
                  <a:pt x="916779" y="51487"/>
                  <a:pt x="936180" y="32086"/>
                  <a:pt x="959661" y="18885"/>
                </a:cubicBezTo>
                <a:cubicBezTo>
                  <a:pt x="977349" y="8940"/>
                  <a:pt x="996216" y="3051"/>
                  <a:pt x="1015188" y="916"/>
                </a:cubicBezTo>
                <a:close/>
              </a:path>
            </a:pathLst>
          </a:custGeom>
          <a:solidFill>
            <a:schemeClr val="bg2"/>
          </a:solidFill>
          <a:ln w="9525" cap="flat">
            <a:noFill/>
            <a:prstDash val="solid"/>
            <a:miter/>
          </a:ln>
        </p:spPr>
        <p:txBody>
          <a:bodyPr rtlCol="0" anchor="ctr"/>
          <a:lstStyle/>
          <a:p>
            <a:endParaRPr lang="en-US" dirty="0">
              <a:latin typeface="Arial Narrow" charset="0"/>
            </a:endParaRPr>
          </a:p>
        </p:txBody>
      </p:sp>
      <p:pic>
        <p:nvPicPr>
          <p:cNvPr id="1489" name="Picture 54">
            <a:extLst>
              <a:ext uri="{FF2B5EF4-FFF2-40B4-BE49-F238E27FC236}">
                <a16:creationId xmlns:a16="http://schemas.microsoft.com/office/drawing/2014/main" id="{088E8687-E027-8034-1C40-6E9C390D2F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35422" y="2660970"/>
            <a:ext cx="274320" cy="274319"/>
          </a:xfrm>
          <a:prstGeom prst="rect">
            <a:avLst/>
          </a:prstGeom>
          <a:noFill/>
          <a:extLst>
            <a:ext uri="{909E8E84-426E-40DD-AFC4-6F175D3DCCD1}">
              <a14:hiddenFill xmlns:a14="http://schemas.microsoft.com/office/drawing/2010/main">
                <a:solidFill>
                  <a:srgbClr val="FFFFFF"/>
                </a:solidFill>
              </a14:hiddenFill>
            </a:ext>
          </a:extLst>
        </p:spPr>
      </p:pic>
      <p:pic>
        <p:nvPicPr>
          <p:cNvPr id="1491" name="Picture 58" descr="The United Arab Emirates flag icon - Country flags">
            <a:extLst>
              <a:ext uri="{FF2B5EF4-FFF2-40B4-BE49-F238E27FC236}">
                <a16:creationId xmlns:a16="http://schemas.microsoft.com/office/drawing/2014/main" id="{3A0BA52A-1306-D9C3-F279-CF0E6EEAF1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40316" y="2214975"/>
            <a:ext cx="274320" cy="274319"/>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492" name="Picture 60" descr="Saudi Arabia flag icon - Country flags">
            <a:extLst>
              <a:ext uri="{FF2B5EF4-FFF2-40B4-BE49-F238E27FC236}">
                <a16:creationId xmlns:a16="http://schemas.microsoft.com/office/drawing/2014/main" id="{1FDB6772-3F48-F3E8-A712-8380F5263842}"/>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80702" y="2214975"/>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487" name="Picture 85" descr="Egypt flag icon - Country flags">
            <a:extLst>
              <a:ext uri="{FF2B5EF4-FFF2-40B4-BE49-F238E27FC236}">
                <a16:creationId xmlns:a16="http://schemas.microsoft.com/office/drawing/2014/main" id="{FE8F4673-07D7-3C29-303C-E3B01AA157B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49587" y="2214975"/>
            <a:ext cx="274320" cy="274319"/>
          </a:xfrm>
          <a:prstGeom prst="rect">
            <a:avLst/>
          </a:prstGeom>
          <a:noFill/>
          <a:extLst>
            <a:ext uri="{909E8E84-426E-40DD-AFC4-6F175D3DCCD1}">
              <a14:hiddenFill xmlns:a14="http://schemas.microsoft.com/office/drawing/2010/main">
                <a:solidFill>
                  <a:srgbClr val="FFFFFF"/>
                </a:solidFill>
              </a14:hiddenFill>
            </a:ext>
          </a:extLst>
        </p:spPr>
      </p:pic>
      <p:pic>
        <p:nvPicPr>
          <p:cNvPr id="1511" name="Graphic 1510">
            <a:extLst>
              <a:ext uri="{FF2B5EF4-FFF2-40B4-BE49-F238E27FC236}">
                <a16:creationId xmlns:a16="http://schemas.microsoft.com/office/drawing/2014/main" id="{02FB62B8-9833-AD08-550F-CADB9765FCC5}"/>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3580702" y="2660970"/>
            <a:ext cx="274320" cy="274320"/>
          </a:xfrm>
          <a:prstGeom prst="rect">
            <a:avLst/>
          </a:prstGeom>
        </p:spPr>
      </p:pic>
      <p:pic>
        <p:nvPicPr>
          <p:cNvPr id="1512" name="Graphic 1511">
            <a:extLst>
              <a:ext uri="{FF2B5EF4-FFF2-40B4-BE49-F238E27FC236}">
                <a16:creationId xmlns:a16="http://schemas.microsoft.com/office/drawing/2014/main" id="{2B73611F-E589-03ED-B1FF-74B8129B3EDD}"/>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4058737" y="2660970"/>
            <a:ext cx="274320" cy="274320"/>
          </a:xfrm>
          <a:prstGeom prst="rect">
            <a:avLst/>
          </a:prstGeom>
        </p:spPr>
      </p:pic>
      <p:pic>
        <p:nvPicPr>
          <p:cNvPr id="1490" name="Picture 56" descr="France Circle Flag Clip Art Free PNG Image｜Illustoon">
            <a:extLst>
              <a:ext uri="{FF2B5EF4-FFF2-40B4-BE49-F238E27FC236}">
                <a16:creationId xmlns:a16="http://schemas.microsoft.com/office/drawing/2014/main" id="{AD722E8A-4D23-D95B-7DAE-3FF48880A5C5}"/>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6457" t="15550" r="15379" b="16519"/>
          <a:stretch/>
        </p:blipFill>
        <p:spPr bwMode="auto">
          <a:xfrm>
            <a:off x="4038652" y="5507845"/>
            <a:ext cx="274320" cy="27338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559" name="Picture 80" descr="455 India Flag Circle Stock Photos, Pictures &amp;amp; Royalty-Free Images - iStock">
            <a:extLst>
              <a:ext uri="{FF2B5EF4-FFF2-40B4-BE49-F238E27FC236}">
                <a16:creationId xmlns:a16="http://schemas.microsoft.com/office/drawing/2014/main" id="{D515AABA-E87F-FC76-03F5-EF2F7E3F927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0416" t="12009" r="11008" b="11061"/>
          <a:stretch/>
        </p:blipFill>
        <p:spPr bwMode="auto">
          <a:xfrm>
            <a:off x="3145683" y="5512652"/>
            <a:ext cx="274320" cy="268573"/>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560" name="Graphic 1559">
            <a:extLst>
              <a:ext uri="{FF2B5EF4-FFF2-40B4-BE49-F238E27FC236}">
                <a16:creationId xmlns:a16="http://schemas.microsoft.com/office/drawing/2014/main" id="{D22D918A-8B25-D983-7423-41D2E274DBFA}"/>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3586816" y="5509763"/>
            <a:ext cx="274320" cy="274320"/>
          </a:xfrm>
          <a:prstGeom prst="rect">
            <a:avLst/>
          </a:prstGeom>
        </p:spPr>
      </p:pic>
      <p:pic>
        <p:nvPicPr>
          <p:cNvPr id="1561" name="Picture 58" descr="The United Arab Emirates flag icon - Country flags">
            <a:extLst>
              <a:ext uri="{FF2B5EF4-FFF2-40B4-BE49-F238E27FC236}">
                <a16:creationId xmlns:a16="http://schemas.microsoft.com/office/drawing/2014/main" id="{CE388639-AFCF-DC92-B6D8-8020F86076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88539" y="5898253"/>
            <a:ext cx="274320" cy="27432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562" name="Picture 60" descr="Saudi Arabia flag icon - Country flags">
            <a:extLst>
              <a:ext uri="{FF2B5EF4-FFF2-40B4-BE49-F238E27FC236}">
                <a16:creationId xmlns:a16="http://schemas.microsoft.com/office/drawing/2014/main" id="{4FB474E7-A7B0-0341-C250-BAD35C7D1153}"/>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02413" y="5898253"/>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555" name="Picture 54">
            <a:extLst>
              <a:ext uri="{FF2B5EF4-FFF2-40B4-BE49-F238E27FC236}">
                <a16:creationId xmlns:a16="http://schemas.microsoft.com/office/drawing/2014/main" id="{E17C7963-D612-3095-0E3D-92EAF449B0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76403" y="3800276"/>
            <a:ext cx="274320" cy="27432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556" name="Picture 52" descr="Morocco Flag Png - Circle, Transparent Png , Transparent Png Image - PNGitem">
            <a:extLst>
              <a:ext uri="{FF2B5EF4-FFF2-40B4-BE49-F238E27FC236}">
                <a16:creationId xmlns:a16="http://schemas.microsoft.com/office/drawing/2014/main" id="{D361B112-A66B-D4FC-F5D5-A391D26BEB2D}"/>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3510" t="4040" r="3814" b="6396"/>
          <a:stretch/>
        </p:blipFill>
        <p:spPr bwMode="auto">
          <a:xfrm>
            <a:off x="4049587" y="3798819"/>
            <a:ext cx="274320" cy="277429"/>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486" name="Picture 80" descr="455 India Flag Circle Stock Photos, Pictures &amp;amp; Royalty-Free Images - iStock">
            <a:extLst>
              <a:ext uri="{FF2B5EF4-FFF2-40B4-BE49-F238E27FC236}">
                <a16:creationId xmlns:a16="http://schemas.microsoft.com/office/drawing/2014/main" id="{7C97B5F9-99D7-3E28-A616-087008C61690}"/>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0416" t="12009" r="11008" b="11061"/>
          <a:stretch/>
        </p:blipFill>
        <p:spPr bwMode="auto">
          <a:xfrm>
            <a:off x="4038652" y="4271427"/>
            <a:ext cx="274320" cy="268573"/>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557" name="Graphic 1556">
            <a:extLst>
              <a:ext uri="{FF2B5EF4-FFF2-40B4-BE49-F238E27FC236}">
                <a16:creationId xmlns:a16="http://schemas.microsoft.com/office/drawing/2014/main" id="{B934DFDD-2D8E-6CA4-77CC-2EE7DDB14915}"/>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3145683" y="4271427"/>
            <a:ext cx="274320" cy="274320"/>
          </a:xfrm>
          <a:prstGeom prst="flowChartConnector">
            <a:avLst/>
          </a:prstGeom>
        </p:spPr>
      </p:pic>
      <p:pic>
        <p:nvPicPr>
          <p:cNvPr id="1558" name="Graphic 1557">
            <a:extLst>
              <a:ext uri="{FF2B5EF4-FFF2-40B4-BE49-F238E27FC236}">
                <a16:creationId xmlns:a16="http://schemas.microsoft.com/office/drawing/2014/main" id="{B768B284-574A-FF95-D54F-ADB66198FD8B}"/>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3571138" y="4271427"/>
            <a:ext cx="274320" cy="274320"/>
          </a:xfrm>
          <a:prstGeom prst="flowChartConnector">
            <a:avLst/>
          </a:prstGeom>
        </p:spPr>
      </p:pic>
      <p:pic>
        <p:nvPicPr>
          <p:cNvPr id="1026" name="Picture 2">
            <a:extLst>
              <a:ext uri="{FF2B5EF4-FFF2-40B4-BE49-F238E27FC236}">
                <a16:creationId xmlns:a16="http://schemas.microsoft.com/office/drawing/2014/main" id="{45649CA9-4422-377A-84AD-53BD63C210C3}"/>
              </a:ext>
            </a:extLst>
          </p:cNvPr>
          <p:cNvPicPr preferRelativeResize="0">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135422" y="3800276"/>
            <a:ext cx="274320" cy="274320"/>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46" name="Rectangle 7">
            <a:extLst>
              <a:ext uri="{FF2B5EF4-FFF2-40B4-BE49-F238E27FC236}">
                <a16:creationId xmlns:a16="http://schemas.microsoft.com/office/drawing/2014/main" id="{CE254FB9-DA49-595C-A298-31278828BF38}"/>
              </a:ext>
            </a:extLst>
          </p:cNvPr>
          <p:cNvSpPr>
            <a:spLocks noChangeArrowheads="1"/>
          </p:cNvSpPr>
          <p:nvPr/>
        </p:nvSpPr>
        <p:spPr bwMode="auto">
          <a:xfrm>
            <a:off x="8319389" y="1396359"/>
            <a:ext cx="3321749"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dirty="0">
                <a:solidFill>
                  <a:schemeClr val="tx2"/>
                </a:solidFill>
                <a:latin typeface="Franklin Gothic"/>
              </a:rPr>
              <a:t>Level of</a:t>
            </a:r>
            <a:br>
              <a:rPr lang="en-US" b="1" dirty="0">
                <a:solidFill>
                  <a:schemeClr val="tx2"/>
                </a:solidFill>
                <a:latin typeface="Franklin Gothic"/>
              </a:rPr>
            </a:br>
            <a:r>
              <a:rPr lang="en-US" b="1" dirty="0">
                <a:solidFill>
                  <a:schemeClr val="tx2"/>
                </a:solidFill>
                <a:latin typeface="Franklin Gothic"/>
              </a:rPr>
              <a:t>depth provided </a:t>
            </a:r>
          </a:p>
        </p:txBody>
      </p:sp>
      <p:sp>
        <p:nvSpPr>
          <p:cNvPr id="47" name="Rectangle 6">
            <a:extLst>
              <a:ext uri="{FF2B5EF4-FFF2-40B4-BE49-F238E27FC236}">
                <a16:creationId xmlns:a16="http://schemas.microsoft.com/office/drawing/2014/main" id="{E4226561-8B3F-D49E-D09C-61CBB4BFC482}"/>
              </a:ext>
            </a:extLst>
          </p:cNvPr>
          <p:cNvSpPr>
            <a:spLocks noChangeArrowheads="1"/>
          </p:cNvSpPr>
          <p:nvPr/>
        </p:nvSpPr>
        <p:spPr bwMode="auto">
          <a:xfrm>
            <a:off x="539750" y="1396359"/>
            <a:ext cx="742368"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dirty="0">
                <a:solidFill>
                  <a:schemeClr val="bg2"/>
                </a:solidFill>
                <a:latin typeface="Franklin Gothic"/>
              </a:rPr>
              <a:t>Practice</a:t>
            </a:r>
          </a:p>
        </p:txBody>
      </p:sp>
      <p:sp>
        <p:nvSpPr>
          <p:cNvPr id="48" name="Rectangle 6">
            <a:extLst>
              <a:ext uri="{FF2B5EF4-FFF2-40B4-BE49-F238E27FC236}">
                <a16:creationId xmlns:a16="http://schemas.microsoft.com/office/drawing/2014/main" id="{F8D3EE31-9F14-F07D-3520-E52421092B84}"/>
              </a:ext>
            </a:extLst>
          </p:cNvPr>
          <p:cNvSpPr>
            <a:spLocks noChangeArrowheads="1"/>
          </p:cNvSpPr>
          <p:nvPr/>
        </p:nvSpPr>
        <p:spPr bwMode="auto">
          <a:xfrm>
            <a:off x="5168984" y="1396359"/>
            <a:ext cx="2724950"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dirty="0">
                <a:solidFill>
                  <a:schemeClr val="bg2"/>
                </a:solidFill>
                <a:latin typeface="Franklin Gothic"/>
              </a:rPr>
              <a:t>Examples of</a:t>
            </a:r>
            <a:br>
              <a:rPr lang="en-US" b="1" dirty="0">
                <a:solidFill>
                  <a:schemeClr val="bg2"/>
                </a:solidFill>
                <a:latin typeface="Franklin Gothic"/>
              </a:rPr>
            </a:br>
            <a:r>
              <a:rPr lang="en-US" b="1" dirty="0">
                <a:solidFill>
                  <a:schemeClr val="bg2"/>
                </a:solidFill>
                <a:latin typeface="Franklin Gothic"/>
              </a:rPr>
              <a:t>Use cases </a:t>
            </a:r>
          </a:p>
        </p:txBody>
      </p:sp>
      <p:sp>
        <p:nvSpPr>
          <p:cNvPr id="49" name="Rectangle 6">
            <a:extLst>
              <a:ext uri="{FF2B5EF4-FFF2-40B4-BE49-F238E27FC236}">
                <a16:creationId xmlns:a16="http://schemas.microsoft.com/office/drawing/2014/main" id="{45D89A7F-3A8C-3A8A-0F2C-06A739C2D5E0}"/>
              </a:ext>
            </a:extLst>
          </p:cNvPr>
          <p:cNvSpPr>
            <a:spLocks noChangeArrowheads="1"/>
          </p:cNvSpPr>
          <p:nvPr/>
        </p:nvSpPr>
        <p:spPr bwMode="auto">
          <a:xfrm>
            <a:off x="1476578" y="1396359"/>
            <a:ext cx="1338802"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dirty="0">
                <a:solidFill>
                  <a:schemeClr val="bg2"/>
                </a:solidFill>
                <a:latin typeface="Franklin Gothic"/>
              </a:rPr>
              <a:t>Main topics covered</a:t>
            </a:r>
          </a:p>
        </p:txBody>
      </p:sp>
      <p:sp>
        <p:nvSpPr>
          <p:cNvPr id="50" name="Rectangle 6">
            <a:extLst>
              <a:ext uri="{FF2B5EF4-FFF2-40B4-BE49-F238E27FC236}">
                <a16:creationId xmlns:a16="http://schemas.microsoft.com/office/drawing/2014/main" id="{BBA1B34B-2A62-7FB3-DF02-F64586AFC36E}"/>
              </a:ext>
            </a:extLst>
          </p:cNvPr>
          <p:cNvSpPr>
            <a:spLocks noChangeArrowheads="1"/>
          </p:cNvSpPr>
          <p:nvPr/>
        </p:nvSpPr>
        <p:spPr bwMode="auto">
          <a:xfrm>
            <a:off x="3127042" y="1396358"/>
            <a:ext cx="2159144"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i="1" dirty="0">
                <a:solidFill>
                  <a:schemeClr val="bg2"/>
                </a:solidFill>
                <a:latin typeface="Franklin Gothic"/>
              </a:rPr>
              <a:t>Offices we</a:t>
            </a:r>
            <a:br>
              <a:rPr lang="en-US" b="1" i="1" dirty="0">
                <a:solidFill>
                  <a:schemeClr val="bg2"/>
                </a:solidFill>
                <a:latin typeface="Franklin Gothic"/>
              </a:rPr>
            </a:br>
            <a:r>
              <a:rPr lang="en-US" b="1" i="1" dirty="0">
                <a:solidFill>
                  <a:schemeClr val="bg2"/>
                </a:solidFill>
                <a:latin typeface="Franklin Gothic"/>
              </a:rPr>
              <a:t>work with</a:t>
            </a:r>
            <a:endParaRPr lang="en-US" sz="1000" b="1" i="1" dirty="0">
              <a:solidFill>
                <a:schemeClr val="bg2"/>
              </a:solidFill>
              <a:highlight>
                <a:srgbClr val="FFFF00"/>
              </a:highlight>
              <a:latin typeface="Franklin Gothic"/>
            </a:endParaRPr>
          </a:p>
        </p:txBody>
      </p:sp>
    </p:spTree>
    <p:extLst>
      <p:ext uri="{BB962C8B-B14F-4D97-AF65-F5344CB8AC3E}">
        <p14:creationId xmlns:p14="http://schemas.microsoft.com/office/powerpoint/2010/main" val="25739254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028ECA-44E9-4167-8620-C75C1D960470}"/>
              </a:ext>
            </a:extLst>
          </p:cNvPr>
          <p:cNvGraphicFramePr>
            <a:graphicFrameLocks noChangeAspect="1"/>
          </p:cNvGraphicFramePr>
          <p:nvPr>
            <p:custDataLst>
              <p:tags r:id="rId1"/>
            </p:custDataLst>
            <p:extLst>
              <p:ext uri="{D42A27DB-BD31-4B8C-83A1-F6EECF244321}">
                <p14:modId xmlns:p14="http://schemas.microsoft.com/office/powerpoint/2010/main" val="227341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2028ECA-44E9-4167-8620-C75C1D9604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10" name="Google Shape;1410;p9"/>
          <p:cNvSpPr txBox="1">
            <a:spLocks noGrp="1"/>
          </p:cNvSpPr>
          <p:nvPr>
            <p:ph type="title"/>
          </p:nvPr>
        </p:nvSpPr>
        <p:spPr>
          <a:xfrm>
            <a:off x="539400" y="562841"/>
            <a:ext cx="7503164" cy="664797"/>
          </a:xfrm>
          <a:noFill/>
          <a:ln>
            <a:noFill/>
          </a:ln>
        </p:spPr>
        <p:txBody>
          <a:bodyPr spcFirstLastPara="1" wrap="square" lIns="0" tIns="0" rIns="0" bIns="0" anchor="t" anchorCtr="0">
            <a:spAutoFit/>
          </a:bodyPr>
          <a:lstStyle/>
          <a:p>
            <a:r>
              <a:rPr lang="en-US" sz="2400" kern="1200" dirty="0">
                <a:solidFill>
                  <a:schemeClr val="bg2"/>
                </a:solidFill>
                <a:latin typeface="Franklin Gothic Demi" panose="020B0703020102020204" pitchFamily="34" charset="0"/>
                <a:ea typeface="+mj-ea"/>
                <a:cs typeface="Calibri" panose="020F0502020204030204" pitchFamily="34" charset="0"/>
              </a:rPr>
              <a:t>Different practice areas are also leveraging our teams for industry-specific research and market analysis (2/2)</a:t>
            </a:r>
          </a:p>
        </p:txBody>
      </p:sp>
      <p:sp>
        <p:nvSpPr>
          <p:cNvPr id="26" name="Google Shape;1446;p9">
            <a:extLst>
              <a:ext uri="{FF2B5EF4-FFF2-40B4-BE49-F238E27FC236}">
                <a16:creationId xmlns:a16="http://schemas.microsoft.com/office/drawing/2014/main" id="{26784C82-2DFD-E7CD-6DCB-129ABACCF45B}"/>
              </a:ext>
            </a:extLst>
          </p:cNvPr>
          <p:cNvSpPr txBox="1"/>
          <p:nvPr/>
        </p:nvSpPr>
        <p:spPr>
          <a:xfrm>
            <a:off x="10528915" y="270785"/>
            <a:ext cx="634113"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chemeClr val="bg1"/>
                </a:solidFill>
                <a:latin typeface="Franklin Gothic"/>
                <a:ea typeface="Franklin Gothic"/>
                <a:cs typeface="Franklin Gothic"/>
                <a:sym typeface="Franklin Gothic"/>
              </a:rPr>
              <a:t>Research</a:t>
            </a:r>
            <a:endParaRPr sz="1400" b="0" i="0" u="none" strike="noStrike" cap="none" dirty="0">
              <a:solidFill>
                <a:schemeClr val="bg1"/>
              </a:solidFill>
              <a:latin typeface="Arial"/>
              <a:ea typeface="Arial"/>
              <a:cs typeface="Arial"/>
              <a:sym typeface="Arial"/>
            </a:endParaRPr>
          </a:p>
        </p:txBody>
      </p:sp>
      <p:grpSp>
        <p:nvGrpSpPr>
          <p:cNvPr id="29" name="Group 28">
            <a:extLst>
              <a:ext uri="{FF2B5EF4-FFF2-40B4-BE49-F238E27FC236}">
                <a16:creationId xmlns:a16="http://schemas.microsoft.com/office/drawing/2014/main" id="{1C5BC170-E836-ABBC-64DC-BF531F6B474C}"/>
              </a:ext>
            </a:extLst>
          </p:cNvPr>
          <p:cNvGrpSpPr/>
          <p:nvPr/>
        </p:nvGrpSpPr>
        <p:grpSpPr>
          <a:xfrm>
            <a:off x="11195685" y="146183"/>
            <a:ext cx="401030" cy="403092"/>
            <a:chOff x="11195685" y="146183"/>
            <a:chExt cx="401030" cy="403092"/>
          </a:xfrm>
        </p:grpSpPr>
        <p:sp>
          <p:nvSpPr>
            <p:cNvPr id="30" name="Google Shape;1447;p9">
              <a:extLst>
                <a:ext uri="{FF2B5EF4-FFF2-40B4-BE49-F238E27FC236}">
                  <a16:creationId xmlns:a16="http://schemas.microsoft.com/office/drawing/2014/main" id="{09CCEA60-377E-3564-DDB0-0A2F1A466FA4}"/>
                </a:ext>
              </a:extLst>
            </p:cNvPr>
            <p:cNvSpPr/>
            <p:nvPr/>
          </p:nvSpPr>
          <p:spPr>
            <a:xfrm>
              <a:off x="11195685" y="146183"/>
              <a:ext cx="401030" cy="403092"/>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31" name="Graphic 30">
              <a:extLst>
                <a:ext uri="{FF2B5EF4-FFF2-40B4-BE49-F238E27FC236}">
                  <a16:creationId xmlns:a16="http://schemas.microsoft.com/office/drawing/2014/main" id="{B539A64D-CD93-8D6E-27DD-D9333457F6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74669" y="226198"/>
              <a:ext cx="243062" cy="243062"/>
            </a:xfrm>
            <a:prstGeom prst="rect">
              <a:avLst/>
            </a:prstGeom>
          </p:spPr>
        </p:pic>
      </p:grpSp>
      <p:sp>
        <p:nvSpPr>
          <p:cNvPr id="7" name="Rectangle 7">
            <a:extLst>
              <a:ext uri="{FF2B5EF4-FFF2-40B4-BE49-F238E27FC236}">
                <a16:creationId xmlns:a16="http://schemas.microsoft.com/office/drawing/2014/main" id="{2EAF50BB-9DD8-7ECC-A938-E8B7AB189CB1}"/>
              </a:ext>
            </a:extLst>
          </p:cNvPr>
          <p:cNvSpPr>
            <a:spLocks noChangeArrowheads="1"/>
          </p:cNvSpPr>
          <p:nvPr/>
        </p:nvSpPr>
        <p:spPr bwMode="auto">
          <a:xfrm>
            <a:off x="8319389" y="1396359"/>
            <a:ext cx="3321749"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dirty="0">
                <a:solidFill>
                  <a:schemeClr val="tx2"/>
                </a:solidFill>
                <a:latin typeface="Franklin Gothic"/>
              </a:rPr>
              <a:t>Level of</a:t>
            </a:r>
            <a:br>
              <a:rPr lang="en-US" b="1" dirty="0">
                <a:solidFill>
                  <a:schemeClr val="tx2"/>
                </a:solidFill>
                <a:latin typeface="Franklin Gothic"/>
              </a:rPr>
            </a:br>
            <a:r>
              <a:rPr lang="en-US" b="1" dirty="0">
                <a:solidFill>
                  <a:schemeClr val="tx2"/>
                </a:solidFill>
                <a:latin typeface="Franklin Gothic"/>
              </a:rPr>
              <a:t>depth provided </a:t>
            </a:r>
          </a:p>
        </p:txBody>
      </p:sp>
      <p:sp>
        <p:nvSpPr>
          <p:cNvPr id="11" name="Rectangle 6">
            <a:extLst>
              <a:ext uri="{FF2B5EF4-FFF2-40B4-BE49-F238E27FC236}">
                <a16:creationId xmlns:a16="http://schemas.microsoft.com/office/drawing/2014/main" id="{D119B8F7-BFD6-1458-D901-730064B4812C}"/>
              </a:ext>
            </a:extLst>
          </p:cNvPr>
          <p:cNvSpPr>
            <a:spLocks noChangeArrowheads="1"/>
          </p:cNvSpPr>
          <p:nvPr/>
        </p:nvSpPr>
        <p:spPr bwMode="auto">
          <a:xfrm>
            <a:off x="539750" y="1396359"/>
            <a:ext cx="742368"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dirty="0">
                <a:solidFill>
                  <a:schemeClr val="bg2"/>
                </a:solidFill>
                <a:latin typeface="Franklin Gothic"/>
              </a:rPr>
              <a:t>Practice</a:t>
            </a:r>
          </a:p>
        </p:txBody>
      </p:sp>
      <p:sp>
        <p:nvSpPr>
          <p:cNvPr id="18" name="Rectangle 6">
            <a:extLst>
              <a:ext uri="{FF2B5EF4-FFF2-40B4-BE49-F238E27FC236}">
                <a16:creationId xmlns:a16="http://schemas.microsoft.com/office/drawing/2014/main" id="{5901BFC2-3694-8B6D-51B2-952212CB0A72}"/>
              </a:ext>
            </a:extLst>
          </p:cNvPr>
          <p:cNvSpPr>
            <a:spLocks noChangeArrowheads="1"/>
          </p:cNvSpPr>
          <p:nvPr/>
        </p:nvSpPr>
        <p:spPr bwMode="auto">
          <a:xfrm>
            <a:off x="5168984" y="1396359"/>
            <a:ext cx="2724950"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dirty="0">
                <a:solidFill>
                  <a:schemeClr val="bg2"/>
                </a:solidFill>
                <a:latin typeface="Franklin Gothic"/>
              </a:rPr>
              <a:t>Examples of</a:t>
            </a:r>
            <a:br>
              <a:rPr lang="en-US" b="1" dirty="0">
                <a:solidFill>
                  <a:schemeClr val="bg2"/>
                </a:solidFill>
                <a:latin typeface="Franklin Gothic"/>
              </a:rPr>
            </a:br>
            <a:r>
              <a:rPr lang="en-US" b="1" dirty="0">
                <a:solidFill>
                  <a:schemeClr val="bg2"/>
                </a:solidFill>
                <a:latin typeface="Franklin Gothic"/>
              </a:rPr>
              <a:t>Use cases </a:t>
            </a:r>
          </a:p>
        </p:txBody>
      </p:sp>
      <p:sp>
        <p:nvSpPr>
          <p:cNvPr id="15" name="Rectangle 6">
            <a:extLst>
              <a:ext uri="{FF2B5EF4-FFF2-40B4-BE49-F238E27FC236}">
                <a16:creationId xmlns:a16="http://schemas.microsoft.com/office/drawing/2014/main" id="{EAA733AE-D59A-7B99-FABF-7BE07B646657}"/>
              </a:ext>
            </a:extLst>
          </p:cNvPr>
          <p:cNvSpPr>
            <a:spLocks noChangeArrowheads="1"/>
          </p:cNvSpPr>
          <p:nvPr/>
        </p:nvSpPr>
        <p:spPr bwMode="auto">
          <a:xfrm>
            <a:off x="1476578" y="1396359"/>
            <a:ext cx="1338802"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dirty="0">
                <a:solidFill>
                  <a:schemeClr val="bg2"/>
                </a:solidFill>
                <a:latin typeface="Franklin Gothic"/>
              </a:rPr>
              <a:t>Main topics covered</a:t>
            </a:r>
          </a:p>
        </p:txBody>
      </p:sp>
      <p:sp>
        <p:nvSpPr>
          <p:cNvPr id="6" name="Rectangle 6">
            <a:extLst>
              <a:ext uri="{FF2B5EF4-FFF2-40B4-BE49-F238E27FC236}">
                <a16:creationId xmlns:a16="http://schemas.microsoft.com/office/drawing/2014/main" id="{B6BF699C-603A-3959-42B8-501CC42619F6}"/>
              </a:ext>
            </a:extLst>
          </p:cNvPr>
          <p:cNvSpPr>
            <a:spLocks noChangeArrowheads="1"/>
          </p:cNvSpPr>
          <p:nvPr/>
        </p:nvSpPr>
        <p:spPr bwMode="auto">
          <a:xfrm>
            <a:off x="3009840" y="1396359"/>
            <a:ext cx="1964685" cy="492443"/>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2">
              <a:buFont typeface="Arial" charset="0"/>
              <a:buNone/>
            </a:pPr>
            <a:r>
              <a:rPr lang="en-US" b="1" i="1" dirty="0">
                <a:solidFill>
                  <a:schemeClr val="bg2"/>
                </a:solidFill>
                <a:latin typeface="Franklin Gothic"/>
              </a:rPr>
              <a:t>Offices we</a:t>
            </a:r>
            <a:br>
              <a:rPr lang="en-US" b="1" i="1" dirty="0">
                <a:solidFill>
                  <a:schemeClr val="bg2"/>
                </a:solidFill>
                <a:latin typeface="Franklin Gothic"/>
              </a:rPr>
            </a:br>
            <a:r>
              <a:rPr lang="en-US" b="1" i="1" dirty="0">
                <a:solidFill>
                  <a:schemeClr val="bg2"/>
                </a:solidFill>
                <a:latin typeface="Franklin Gothic"/>
              </a:rPr>
              <a:t>work with </a:t>
            </a:r>
            <a:endParaRPr lang="en-US" sz="1000" b="1" i="1" dirty="0">
              <a:solidFill>
                <a:schemeClr val="bg2"/>
              </a:solidFill>
              <a:highlight>
                <a:srgbClr val="FFFF00"/>
              </a:highlight>
              <a:latin typeface="Franklin Gothic"/>
            </a:endParaRPr>
          </a:p>
        </p:txBody>
      </p:sp>
      <p:grpSp>
        <p:nvGrpSpPr>
          <p:cNvPr id="25" name="Group 24">
            <a:extLst>
              <a:ext uri="{FF2B5EF4-FFF2-40B4-BE49-F238E27FC236}">
                <a16:creationId xmlns:a16="http://schemas.microsoft.com/office/drawing/2014/main" id="{AD637423-6B8F-0FAF-3A2F-4A92F8AE777F}"/>
              </a:ext>
            </a:extLst>
          </p:cNvPr>
          <p:cNvGrpSpPr/>
          <p:nvPr/>
        </p:nvGrpSpPr>
        <p:grpSpPr>
          <a:xfrm>
            <a:off x="539400" y="2035008"/>
            <a:ext cx="11097662" cy="0"/>
            <a:chOff x="539400" y="1735427"/>
            <a:chExt cx="11097662" cy="0"/>
          </a:xfrm>
        </p:grpSpPr>
        <p:sp>
          <p:nvSpPr>
            <p:cNvPr id="5" name="Line 5">
              <a:extLst>
                <a:ext uri="{FF2B5EF4-FFF2-40B4-BE49-F238E27FC236}">
                  <a16:creationId xmlns:a16="http://schemas.microsoft.com/office/drawing/2014/main" id="{5BBEC221-130D-3946-E231-E44B9D77DE66}"/>
                </a:ext>
              </a:extLst>
            </p:cNvPr>
            <p:cNvSpPr>
              <a:spLocks noChangeShapeType="1"/>
            </p:cNvSpPr>
            <p:nvPr/>
          </p:nvSpPr>
          <p:spPr bwMode="auto">
            <a:xfrm>
              <a:off x="539400" y="1735427"/>
              <a:ext cx="7345509" cy="0"/>
            </a:xfrm>
            <a:prstGeom prst="line">
              <a:avLst/>
            </a:prstGeom>
            <a:ln w="15875">
              <a:solidFill>
                <a:schemeClr val="bg2"/>
              </a:solidFill>
              <a:prstDash val="soli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endParaRPr lang="en-US" sz="1600" dirty="0">
                <a:solidFill>
                  <a:schemeClr val="tx1"/>
                </a:solidFill>
                <a:latin typeface="+mj-lt"/>
                <a:ea typeface="+mn-ea"/>
                <a:cs typeface="+mn-cs"/>
              </a:endParaRPr>
            </a:p>
          </p:txBody>
        </p:sp>
        <p:sp>
          <p:nvSpPr>
            <p:cNvPr id="1425" name="Line 5">
              <a:extLst>
                <a:ext uri="{FF2B5EF4-FFF2-40B4-BE49-F238E27FC236}">
                  <a16:creationId xmlns:a16="http://schemas.microsoft.com/office/drawing/2014/main" id="{2E204FDA-9D16-8429-BC57-686DF9946C2A}"/>
                </a:ext>
              </a:extLst>
            </p:cNvPr>
            <p:cNvSpPr>
              <a:spLocks noChangeShapeType="1"/>
            </p:cNvSpPr>
            <p:nvPr/>
          </p:nvSpPr>
          <p:spPr bwMode="auto">
            <a:xfrm>
              <a:off x="8319389" y="1735427"/>
              <a:ext cx="3317673" cy="0"/>
            </a:xfrm>
            <a:prstGeom prst="line">
              <a:avLst/>
            </a:prstGeom>
            <a:ln w="15875">
              <a:solidFill>
                <a:schemeClr val="bg1"/>
              </a:solidFill>
              <a:prstDash val="soli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t"/>
            <a:lstStyle/>
            <a:p>
              <a:endParaRPr lang="en-US" sz="1600" dirty="0">
                <a:solidFill>
                  <a:schemeClr val="tx1"/>
                </a:solidFill>
                <a:latin typeface="+mj-lt"/>
                <a:ea typeface="+mn-ea"/>
                <a:cs typeface="+mn-cs"/>
              </a:endParaRPr>
            </a:p>
          </p:txBody>
        </p:sp>
      </p:grpSp>
      <p:grpSp>
        <p:nvGrpSpPr>
          <p:cNvPr id="16" name="Group 15">
            <a:extLst>
              <a:ext uri="{FF2B5EF4-FFF2-40B4-BE49-F238E27FC236}">
                <a16:creationId xmlns:a16="http://schemas.microsoft.com/office/drawing/2014/main" id="{E2A1CC37-884A-7AB5-EB33-2DD12FAAFFAB}"/>
              </a:ext>
            </a:extLst>
          </p:cNvPr>
          <p:cNvGrpSpPr/>
          <p:nvPr/>
        </p:nvGrpSpPr>
        <p:grpSpPr>
          <a:xfrm>
            <a:off x="544814" y="3827748"/>
            <a:ext cx="11094693" cy="0"/>
            <a:chOff x="544814" y="2498778"/>
            <a:chExt cx="11094693" cy="0"/>
          </a:xfrm>
        </p:grpSpPr>
        <p:sp>
          <p:nvSpPr>
            <p:cNvPr id="10" name="Line 11">
              <a:extLst>
                <a:ext uri="{FF2B5EF4-FFF2-40B4-BE49-F238E27FC236}">
                  <a16:creationId xmlns:a16="http://schemas.microsoft.com/office/drawing/2014/main" id="{D685EF3A-6468-8B56-6E7D-890CC61355DD}"/>
                </a:ext>
              </a:extLst>
            </p:cNvPr>
            <p:cNvSpPr>
              <a:spLocks noChangeShapeType="1"/>
            </p:cNvSpPr>
            <p:nvPr/>
          </p:nvSpPr>
          <p:spPr bwMode="auto">
            <a:xfrm>
              <a:off x="544814" y="2498778"/>
              <a:ext cx="7345509" cy="0"/>
            </a:xfrm>
            <a:prstGeom prst="line">
              <a:avLst/>
            </a:prstGeom>
            <a:ln>
              <a:solidFill>
                <a:schemeClr val="tx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endParaRPr lang="en-US" sz="1200" dirty="0">
                <a:solidFill>
                  <a:schemeClr val="tx1"/>
                </a:solidFill>
                <a:latin typeface="+mj-lt"/>
                <a:ea typeface="+mn-ea"/>
                <a:cs typeface="+mn-cs"/>
              </a:endParaRPr>
            </a:p>
          </p:txBody>
        </p:sp>
        <p:sp>
          <p:nvSpPr>
            <p:cNvPr id="1426" name="Line 11">
              <a:extLst>
                <a:ext uri="{FF2B5EF4-FFF2-40B4-BE49-F238E27FC236}">
                  <a16:creationId xmlns:a16="http://schemas.microsoft.com/office/drawing/2014/main" id="{0C908162-06E7-D3DA-0C9A-138096C974C4}"/>
                </a:ext>
              </a:extLst>
            </p:cNvPr>
            <p:cNvSpPr>
              <a:spLocks noChangeShapeType="1"/>
            </p:cNvSpPr>
            <p:nvPr/>
          </p:nvSpPr>
          <p:spPr bwMode="auto">
            <a:xfrm>
              <a:off x="8321834" y="2498778"/>
              <a:ext cx="3317673" cy="0"/>
            </a:xfrm>
            <a:prstGeom prst="line">
              <a:avLst/>
            </a:prstGeom>
            <a:ln>
              <a:solidFill>
                <a:schemeClr val="bg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t"/>
            <a:lstStyle/>
            <a:p>
              <a:endParaRPr lang="en-US" sz="1200" dirty="0">
                <a:solidFill>
                  <a:schemeClr val="tx1"/>
                </a:solidFill>
                <a:latin typeface="+mj-lt"/>
                <a:ea typeface="+mn-ea"/>
                <a:cs typeface="+mn-cs"/>
              </a:endParaRPr>
            </a:p>
          </p:txBody>
        </p:sp>
      </p:grpSp>
      <p:grpSp>
        <p:nvGrpSpPr>
          <p:cNvPr id="17" name="Group 16">
            <a:extLst>
              <a:ext uri="{FF2B5EF4-FFF2-40B4-BE49-F238E27FC236}">
                <a16:creationId xmlns:a16="http://schemas.microsoft.com/office/drawing/2014/main" id="{16B11BE2-79D8-9F98-172A-AFA634D7DA79}"/>
              </a:ext>
            </a:extLst>
          </p:cNvPr>
          <p:cNvGrpSpPr/>
          <p:nvPr/>
        </p:nvGrpSpPr>
        <p:grpSpPr>
          <a:xfrm>
            <a:off x="548425" y="4843269"/>
            <a:ext cx="11092713" cy="0"/>
            <a:chOff x="548425" y="3427067"/>
            <a:chExt cx="11092713" cy="0"/>
          </a:xfrm>
        </p:grpSpPr>
        <p:sp>
          <p:nvSpPr>
            <p:cNvPr id="13" name="Line 11">
              <a:extLst>
                <a:ext uri="{FF2B5EF4-FFF2-40B4-BE49-F238E27FC236}">
                  <a16:creationId xmlns:a16="http://schemas.microsoft.com/office/drawing/2014/main" id="{F0D8851E-5587-A2BE-491C-D7A1EC7EA4B1}"/>
                </a:ext>
              </a:extLst>
            </p:cNvPr>
            <p:cNvSpPr>
              <a:spLocks noChangeShapeType="1"/>
            </p:cNvSpPr>
            <p:nvPr/>
          </p:nvSpPr>
          <p:spPr bwMode="auto">
            <a:xfrm>
              <a:off x="548425" y="3427067"/>
              <a:ext cx="7345509" cy="0"/>
            </a:xfrm>
            <a:prstGeom prst="line">
              <a:avLst/>
            </a:prstGeom>
            <a:ln>
              <a:solidFill>
                <a:schemeClr val="tx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ctr"/>
            <a:lstStyle/>
            <a:p>
              <a:endParaRPr lang="en-US" sz="1200" dirty="0">
                <a:solidFill>
                  <a:schemeClr val="tx1"/>
                </a:solidFill>
                <a:latin typeface="+mj-lt"/>
                <a:ea typeface="+mn-ea"/>
                <a:cs typeface="+mn-cs"/>
              </a:endParaRPr>
            </a:p>
          </p:txBody>
        </p:sp>
        <p:sp>
          <p:nvSpPr>
            <p:cNvPr id="1427" name="Line 11">
              <a:extLst>
                <a:ext uri="{FF2B5EF4-FFF2-40B4-BE49-F238E27FC236}">
                  <a16:creationId xmlns:a16="http://schemas.microsoft.com/office/drawing/2014/main" id="{924334C9-422F-E628-B539-C10934A787D8}"/>
                </a:ext>
              </a:extLst>
            </p:cNvPr>
            <p:cNvSpPr>
              <a:spLocks noChangeShapeType="1"/>
            </p:cNvSpPr>
            <p:nvPr/>
          </p:nvSpPr>
          <p:spPr bwMode="auto">
            <a:xfrm>
              <a:off x="8323465" y="3427067"/>
              <a:ext cx="3317673" cy="0"/>
            </a:xfrm>
            <a:prstGeom prst="line">
              <a:avLst/>
            </a:prstGeom>
            <a:ln>
              <a:solidFill>
                <a:schemeClr val="bg1"/>
              </a:solidFill>
              <a:prstDash val="dash"/>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none" lIns="97200" tIns="50400" rIns="97200" bIns="50400" anchor="t"/>
            <a:lstStyle/>
            <a:p>
              <a:endParaRPr lang="en-US" sz="1200" dirty="0">
                <a:solidFill>
                  <a:schemeClr val="tx1"/>
                </a:solidFill>
                <a:latin typeface="+mj-lt"/>
                <a:ea typeface="+mn-ea"/>
                <a:cs typeface="+mn-cs"/>
              </a:endParaRPr>
            </a:p>
          </p:txBody>
        </p:sp>
      </p:grpSp>
      <p:sp>
        <p:nvSpPr>
          <p:cNvPr id="1432" name="Rectangle 10">
            <a:extLst>
              <a:ext uri="{FF2B5EF4-FFF2-40B4-BE49-F238E27FC236}">
                <a16:creationId xmlns:a16="http://schemas.microsoft.com/office/drawing/2014/main" id="{0F79D5CA-8F48-4AD2-CCF1-23A9AF52A643}"/>
              </a:ext>
            </a:extLst>
          </p:cNvPr>
          <p:cNvSpPr>
            <a:spLocks noChangeArrowheads="1"/>
          </p:cNvSpPr>
          <p:nvPr/>
        </p:nvSpPr>
        <p:spPr bwMode="auto">
          <a:xfrm>
            <a:off x="8319389" y="2181214"/>
            <a:ext cx="3321749" cy="139268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233362" lvl="3" indent="-228600">
              <a:spcBef>
                <a:spcPts val="300"/>
              </a:spcBef>
              <a:buFont typeface="+mj-lt"/>
              <a:buAutoNum type="arabicPeriod"/>
            </a:pPr>
            <a:r>
              <a:rPr lang="en-US" sz="1000" i="1" dirty="0">
                <a:solidFill>
                  <a:schemeClr val="bg1"/>
                </a:solidFill>
                <a:latin typeface="Franklin Gothic"/>
              </a:rPr>
              <a:t>Examples of airlines facing flight cancellation due to MRO-related issues with a view on how the communication was formulated to customers, sizing of the demand for MRO and forecast (2029, 2032) and identification of factors affecting air travel </a:t>
            </a:r>
          </a:p>
          <a:p>
            <a:pPr marL="233362" lvl="3" indent="-228600">
              <a:spcBef>
                <a:spcPts val="300"/>
              </a:spcBef>
              <a:buFont typeface="+mj-lt"/>
              <a:buAutoNum type="arabicPeriod"/>
            </a:pPr>
            <a:endParaRPr lang="en-US" sz="1000" i="1" dirty="0">
              <a:solidFill>
                <a:schemeClr val="bg1"/>
              </a:solidFill>
              <a:latin typeface="Franklin Gothic"/>
            </a:endParaRPr>
          </a:p>
          <a:p>
            <a:pPr marL="233362" lvl="3" indent="-228600">
              <a:spcBef>
                <a:spcPts val="300"/>
              </a:spcBef>
              <a:buFont typeface="+mj-lt"/>
              <a:buAutoNum type="arabicPeriod"/>
            </a:pPr>
            <a:r>
              <a:rPr lang="en-US" sz="1000" i="1" dirty="0">
                <a:solidFill>
                  <a:schemeClr val="bg1"/>
                </a:solidFill>
                <a:latin typeface="Franklin Gothic"/>
              </a:rPr>
              <a:t>Through an exhaustive press search, strategic topics found are around digitization, sustainability, Operations issues, Labor issues , M&amp;A transactions </a:t>
            </a:r>
          </a:p>
        </p:txBody>
      </p:sp>
      <p:sp>
        <p:nvSpPr>
          <p:cNvPr id="1433" name="Rectangle 4">
            <a:extLst>
              <a:ext uri="{FF2B5EF4-FFF2-40B4-BE49-F238E27FC236}">
                <a16:creationId xmlns:a16="http://schemas.microsoft.com/office/drawing/2014/main" id="{3E4A01B0-DDD6-E087-0A77-DE2A244C53EE}"/>
              </a:ext>
            </a:extLst>
          </p:cNvPr>
          <p:cNvSpPr>
            <a:spLocks noChangeArrowheads="1"/>
          </p:cNvSpPr>
          <p:nvPr/>
        </p:nvSpPr>
        <p:spPr bwMode="auto">
          <a:xfrm>
            <a:off x="539750" y="2181214"/>
            <a:ext cx="742368" cy="139268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a:solidFill>
                  <a:schemeClr val="bg2"/>
                </a:solidFill>
                <a:latin typeface="Franklin Gothic"/>
              </a:rPr>
              <a:t>TLI</a:t>
            </a:r>
          </a:p>
        </p:txBody>
      </p:sp>
      <p:sp>
        <p:nvSpPr>
          <p:cNvPr id="1434" name="Rectangle 4">
            <a:extLst>
              <a:ext uri="{FF2B5EF4-FFF2-40B4-BE49-F238E27FC236}">
                <a16:creationId xmlns:a16="http://schemas.microsoft.com/office/drawing/2014/main" id="{62BB410A-6D74-EFFA-0AAB-F7993127AE7C}"/>
              </a:ext>
            </a:extLst>
          </p:cNvPr>
          <p:cNvSpPr>
            <a:spLocks noChangeArrowheads="1"/>
          </p:cNvSpPr>
          <p:nvPr/>
        </p:nvSpPr>
        <p:spPr bwMode="auto">
          <a:xfrm>
            <a:off x="5168984" y="2181214"/>
            <a:ext cx="2724950" cy="139268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038" indent="-173038">
              <a:spcAft>
                <a:spcPts val="300"/>
              </a:spcAft>
              <a:buClr>
                <a:schemeClr val="bg2"/>
              </a:buClr>
              <a:buFont typeface="+mj-lt"/>
              <a:buAutoNum type="arabicPeriod"/>
            </a:pPr>
            <a:r>
              <a:rPr lang="en-US" sz="1100" dirty="0">
                <a:latin typeface="Franklin Gothic"/>
              </a:rPr>
              <a:t>Understanding the recent developments in the TLI industry and notably problems related to limited MRO services </a:t>
            </a:r>
          </a:p>
          <a:p>
            <a:pPr marL="173038" indent="-173038">
              <a:spcAft>
                <a:spcPts val="300"/>
              </a:spcAft>
              <a:buClr>
                <a:schemeClr val="bg2"/>
              </a:buClr>
              <a:buFont typeface="+mj-lt"/>
              <a:buAutoNum type="arabicPeriod"/>
            </a:pPr>
            <a:r>
              <a:rPr lang="en-US" sz="1100" dirty="0">
                <a:latin typeface="Franklin Gothic"/>
              </a:rPr>
              <a:t>Perspective on strategic topics discussed by the management of a certain company (SSA Marine) </a:t>
            </a:r>
          </a:p>
        </p:txBody>
      </p:sp>
      <p:sp>
        <p:nvSpPr>
          <p:cNvPr id="1435" name="Rectangle 4">
            <a:extLst>
              <a:ext uri="{FF2B5EF4-FFF2-40B4-BE49-F238E27FC236}">
                <a16:creationId xmlns:a16="http://schemas.microsoft.com/office/drawing/2014/main" id="{014267F2-18DE-D030-5C23-C722AFC3CD93}"/>
              </a:ext>
            </a:extLst>
          </p:cNvPr>
          <p:cNvSpPr>
            <a:spLocks noChangeArrowheads="1"/>
          </p:cNvSpPr>
          <p:nvPr/>
        </p:nvSpPr>
        <p:spPr bwMode="auto">
          <a:xfrm>
            <a:off x="1476578" y="2181214"/>
            <a:ext cx="1338802" cy="139268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1450" indent="-171450">
              <a:buClr>
                <a:schemeClr val="bg2"/>
              </a:buClr>
              <a:buFont typeface="Wingdings" panose="05000000000000000000" pitchFamily="2" charset="2"/>
              <a:buChar char="§"/>
            </a:pPr>
            <a:r>
              <a:rPr lang="en-US" sz="1100" dirty="0">
                <a:latin typeface="Franklin Gothic"/>
              </a:rPr>
              <a:t>Transportation </a:t>
            </a:r>
          </a:p>
          <a:p>
            <a:pPr marL="171450" indent="-171450">
              <a:buClr>
                <a:schemeClr val="bg2"/>
              </a:buClr>
              <a:buFont typeface="Wingdings" panose="05000000000000000000" pitchFamily="2" charset="2"/>
              <a:buChar char="§"/>
            </a:pPr>
            <a:r>
              <a:rPr lang="en-US" sz="1100" dirty="0">
                <a:latin typeface="Franklin Gothic"/>
              </a:rPr>
              <a:t>Logistics / Supply chain</a:t>
            </a:r>
          </a:p>
        </p:txBody>
      </p:sp>
      <p:sp>
        <p:nvSpPr>
          <p:cNvPr id="1439" name="Rectangle 4">
            <a:extLst>
              <a:ext uri="{FF2B5EF4-FFF2-40B4-BE49-F238E27FC236}">
                <a16:creationId xmlns:a16="http://schemas.microsoft.com/office/drawing/2014/main" id="{94331342-6E1B-D96B-4B27-E0CF2D15C62C}"/>
              </a:ext>
            </a:extLst>
          </p:cNvPr>
          <p:cNvSpPr>
            <a:spLocks noChangeArrowheads="1"/>
          </p:cNvSpPr>
          <p:nvPr/>
        </p:nvSpPr>
        <p:spPr bwMode="auto">
          <a:xfrm>
            <a:off x="539750" y="4081593"/>
            <a:ext cx="742368" cy="507831"/>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a:solidFill>
                  <a:schemeClr val="bg2"/>
                </a:solidFill>
                <a:latin typeface="Franklin Gothic"/>
              </a:rPr>
              <a:t>ECB</a:t>
            </a:r>
          </a:p>
        </p:txBody>
      </p:sp>
      <p:sp>
        <p:nvSpPr>
          <p:cNvPr id="1438" name="Rectangle 10">
            <a:extLst>
              <a:ext uri="{FF2B5EF4-FFF2-40B4-BE49-F238E27FC236}">
                <a16:creationId xmlns:a16="http://schemas.microsoft.com/office/drawing/2014/main" id="{1A936317-997D-03E7-299D-EBC8EE335BC6}"/>
              </a:ext>
            </a:extLst>
          </p:cNvPr>
          <p:cNvSpPr>
            <a:spLocks noChangeArrowheads="1"/>
          </p:cNvSpPr>
          <p:nvPr/>
        </p:nvSpPr>
        <p:spPr bwMode="auto">
          <a:xfrm>
            <a:off x="8319389" y="4081593"/>
            <a:ext cx="3321749" cy="461665"/>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233362" lvl="3" indent="-228600">
              <a:spcBef>
                <a:spcPts val="300"/>
              </a:spcBef>
              <a:buFont typeface="+mj-lt"/>
              <a:buAutoNum type="arabicPeriod"/>
            </a:pPr>
            <a:r>
              <a:rPr lang="en-US" sz="1000" b="1" i="1" dirty="0">
                <a:solidFill>
                  <a:schemeClr val="bg1"/>
                </a:solidFill>
                <a:latin typeface="Franklin Gothic"/>
              </a:rPr>
              <a:t>Identification of seaport projects in the specified region and providing the names of the EPC involved in those projects </a:t>
            </a:r>
          </a:p>
        </p:txBody>
      </p:sp>
      <p:sp>
        <p:nvSpPr>
          <p:cNvPr id="1440" name="Rectangle 4">
            <a:extLst>
              <a:ext uri="{FF2B5EF4-FFF2-40B4-BE49-F238E27FC236}">
                <a16:creationId xmlns:a16="http://schemas.microsoft.com/office/drawing/2014/main" id="{EF82C626-E5AD-2E2C-8B96-0DF612167E97}"/>
              </a:ext>
            </a:extLst>
          </p:cNvPr>
          <p:cNvSpPr>
            <a:spLocks noChangeArrowheads="1"/>
          </p:cNvSpPr>
          <p:nvPr/>
        </p:nvSpPr>
        <p:spPr bwMode="auto">
          <a:xfrm>
            <a:off x="1476578" y="4081593"/>
            <a:ext cx="1338802" cy="507831"/>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1450" indent="-171450">
              <a:buClr>
                <a:schemeClr val="bg2"/>
              </a:buClr>
              <a:buFont typeface="Wingdings" panose="05000000000000000000" pitchFamily="2" charset="2"/>
              <a:buChar char="§"/>
            </a:pPr>
            <a:r>
              <a:rPr lang="en-US" sz="1100" dirty="0">
                <a:latin typeface="Franklin Gothic"/>
              </a:rPr>
              <a:t>Construction </a:t>
            </a:r>
          </a:p>
          <a:p>
            <a:pPr marL="171450" indent="-171450">
              <a:buClr>
                <a:schemeClr val="bg2"/>
              </a:buClr>
              <a:buFont typeface="Wingdings" panose="05000000000000000000" pitchFamily="2" charset="2"/>
              <a:buChar char="§"/>
            </a:pPr>
            <a:r>
              <a:rPr lang="en-US" sz="1100" dirty="0">
                <a:latin typeface="Franklin Gothic"/>
              </a:rPr>
              <a:t>Engineering </a:t>
            </a:r>
          </a:p>
          <a:p>
            <a:pPr marL="171450" indent="-171450">
              <a:buClr>
                <a:schemeClr val="bg2"/>
              </a:buClr>
              <a:buFont typeface="Wingdings" panose="05000000000000000000" pitchFamily="2" charset="2"/>
              <a:buChar char="§"/>
            </a:pPr>
            <a:r>
              <a:rPr lang="en-US" sz="1100" dirty="0">
                <a:latin typeface="Franklin Gothic"/>
              </a:rPr>
              <a:t>Building Materials </a:t>
            </a:r>
          </a:p>
        </p:txBody>
      </p:sp>
      <p:sp>
        <p:nvSpPr>
          <p:cNvPr id="1441" name="Rectangle 4">
            <a:extLst>
              <a:ext uri="{FF2B5EF4-FFF2-40B4-BE49-F238E27FC236}">
                <a16:creationId xmlns:a16="http://schemas.microsoft.com/office/drawing/2014/main" id="{757F50FA-DC45-4F68-CB6C-4DCF89CCF94C}"/>
              </a:ext>
            </a:extLst>
          </p:cNvPr>
          <p:cNvSpPr>
            <a:spLocks noChangeArrowheads="1"/>
          </p:cNvSpPr>
          <p:nvPr/>
        </p:nvSpPr>
        <p:spPr bwMode="auto">
          <a:xfrm>
            <a:off x="5168984" y="4081593"/>
            <a:ext cx="2724950" cy="507831"/>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038" indent="-173038">
              <a:spcBef>
                <a:spcPts val="300"/>
              </a:spcBef>
              <a:buClr>
                <a:schemeClr val="bg2"/>
              </a:buClr>
              <a:buFont typeface="+mj-lt"/>
              <a:buAutoNum type="arabicPeriod"/>
            </a:pPr>
            <a:r>
              <a:rPr lang="en-US" sz="1100" dirty="0">
                <a:latin typeface="Franklin Gothic"/>
              </a:rPr>
              <a:t>Identifying construction companies working in seaport facilities in the US Virgin Island region</a:t>
            </a:r>
          </a:p>
        </p:txBody>
      </p:sp>
      <p:sp>
        <p:nvSpPr>
          <p:cNvPr id="1445" name="Rectangle 4">
            <a:extLst>
              <a:ext uri="{FF2B5EF4-FFF2-40B4-BE49-F238E27FC236}">
                <a16:creationId xmlns:a16="http://schemas.microsoft.com/office/drawing/2014/main" id="{B64201D1-E921-F7AF-E549-9A9F26FAF689}"/>
              </a:ext>
            </a:extLst>
          </p:cNvPr>
          <p:cNvSpPr>
            <a:spLocks noChangeArrowheads="1"/>
          </p:cNvSpPr>
          <p:nvPr/>
        </p:nvSpPr>
        <p:spPr bwMode="auto">
          <a:xfrm>
            <a:off x="539750" y="5097113"/>
            <a:ext cx="742368"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a:solidFill>
                  <a:schemeClr val="bg2"/>
                </a:solidFill>
                <a:latin typeface="Franklin Gothic"/>
              </a:rPr>
              <a:t>Sustain-ability</a:t>
            </a:r>
          </a:p>
        </p:txBody>
      </p:sp>
      <p:sp>
        <p:nvSpPr>
          <p:cNvPr id="1444" name="Rectangle 10">
            <a:extLst>
              <a:ext uri="{FF2B5EF4-FFF2-40B4-BE49-F238E27FC236}">
                <a16:creationId xmlns:a16="http://schemas.microsoft.com/office/drawing/2014/main" id="{59E6856B-6803-5324-D533-EA85BC7558B7}"/>
              </a:ext>
            </a:extLst>
          </p:cNvPr>
          <p:cNvSpPr>
            <a:spLocks noChangeArrowheads="1"/>
          </p:cNvSpPr>
          <p:nvPr/>
        </p:nvSpPr>
        <p:spPr bwMode="auto">
          <a:xfrm>
            <a:off x="8319389" y="5097113"/>
            <a:ext cx="3321749"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957263">
              <a:buClr>
                <a:schemeClr val="tx2"/>
              </a:buClr>
              <a:defRPr sz="1600">
                <a:solidFill>
                  <a:schemeClr val="tx1"/>
                </a:solidFill>
                <a:latin typeface="Arial" charset="0"/>
              </a:defRPr>
            </a:lvl1pPr>
            <a:lvl2pPr marL="1588" defTabSz="957263">
              <a:buClr>
                <a:schemeClr val="tx2"/>
              </a:buClr>
              <a:buSzPct val="125000"/>
              <a:buFont typeface="Arial" charset="0"/>
              <a:buChar char="▪"/>
              <a:defRPr sz="1600">
                <a:solidFill>
                  <a:schemeClr val="tx1"/>
                </a:solidFill>
                <a:latin typeface="Arial" charset="0"/>
              </a:defRPr>
            </a:lvl2pPr>
            <a:lvl3pPr marL="3175" defTabSz="957263">
              <a:buClr>
                <a:schemeClr val="tx2"/>
              </a:buClr>
              <a:buSzPct val="120000"/>
              <a:buFont typeface="Arial" charset="0"/>
              <a:buChar char="–"/>
              <a:defRPr sz="1600">
                <a:solidFill>
                  <a:schemeClr val="tx1"/>
                </a:solidFill>
                <a:latin typeface="Arial" charset="0"/>
              </a:defRPr>
            </a:lvl3pPr>
            <a:lvl4pPr marL="177800" indent="-173038" defTabSz="957263">
              <a:buClr>
                <a:schemeClr val="tx2"/>
              </a:buClr>
              <a:buSzPct val="120000"/>
              <a:buFont typeface="Arial" charset="0"/>
              <a:buChar char="▫"/>
              <a:defRPr sz="1600">
                <a:solidFill>
                  <a:schemeClr val="tx1"/>
                </a:solidFill>
                <a:latin typeface="Arial" charset="0"/>
              </a:defRPr>
            </a:lvl4pPr>
            <a:lvl5pPr marL="1465263" indent="-303213" defTabSz="957263">
              <a:buClr>
                <a:schemeClr val="tx2"/>
              </a:buClr>
              <a:buSzPct val="89000"/>
              <a:buFont typeface="Arial" charset="0"/>
              <a:buChar char="-"/>
              <a:defRPr sz="1600">
                <a:solidFill>
                  <a:schemeClr val="tx1"/>
                </a:solidFill>
                <a:latin typeface="Arial" charset="0"/>
              </a:defRPr>
            </a:lvl5pPr>
            <a:lvl6pPr marL="19224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23796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8368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3294063" indent="-303213" defTabSz="957263"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233362" lvl="3" indent="-228600">
              <a:spcBef>
                <a:spcPts val="300"/>
              </a:spcBef>
              <a:buFont typeface="+mj-lt"/>
              <a:buAutoNum type="arabicPeriod"/>
            </a:pPr>
            <a:r>
              <a:rPr lang="en-US" sz="1000" b="1" i="1" dirty="0">
                <a:solidFill>
                  <a:schemeClr val="bg1"/>
                </a:solidFill>
                <a:latin typeface="Franklin Gothic"/>
              </a:rPr>
              <a:t>Information and case studies on the reasons for failure highlighting problems around mechanical components, quality control issues, etc.  </a:t>
            </a:r>
          </a:p>
          <a:p>
            <a:pPr marL="233362" lvl="3" indent="-228600">
              <a:spcBef>
                <a:spcPts val="300"/>
              </a:spcBef>
              <a:buFont typeface="+mj-lt"/>
              <a:buAutoNum type="arabicPeriod"/>
            </a:pPr>
            <a:endParaRPr lang="en-US" sz="1000" b="1" i="1" dirty="0">
              <a:solidFill>
                <a:schemeClr val="bg1"/>
              </a:solidFill>
              <a:latin typeface="Franklin Gothic"/>
            </a:endParaRPr>
          </a:p>
          <a:p>
            <a:pPr marL="233362" lvl="3" indent="-228600">
              <a:spcBef>
                <a:spcPts val="300"/>
              </a:spcBef>
              <a:buFont typeface="+mj-lt"/>
              <a:buAutoNum type="arabicPeriod"/>
            </a:pPr>
            <a:r>
              <a:rPr lang="en-US" sz="1000" b="1" i="1" dirty="0">
                <a:solidFill>
                  <a:schemeClr val="bg1"/>
                </a:solidFill>
                <a:latin typeface="Franklin Gothic"/>
              </a:rPr>
              <a:t>Identifying articles criticizing the specific carbon offset standards with a global perspective (examples of countries for which examples were found include Cambodia, Colombia, Madagascar) </a:t>
            </a:r>
          </a:p>
        </p:txBody>
      </p:sp>
      <p:sp>
        <p:nvSpPr>
          <p:cNvPr id="1446" name="Rectangle 4">
            <a:extLst>
              <a:ext uri="{FF2B5EF4-FFF2-40B4-BE49-F238E27FC236}">
                <a16:creationId xmlns:a16="http://schemas.microsoft.com/office/drawing/2014/main" id="{E5A5FF07-1727-2AE3-ECA0-E6E79414DCAC}"/>
              </a:ext>
            </a:extLst>
          </p:cNvPr>
          <p:cNvSpPr>
            <a:spLocks noChangeArrowheads="1"/>
          </p:cNvSpPr>
          <p:nvPr/>
        </p:nvSpPr>
        <p:spPr bwMode="auto">
          <a:xfrm>
            <a:off x="1476578" y="5097113"/>
            <a:ext cx="1338802"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1450" indent="-171450">
              <a:buClr>
                <a:schemeClr val="bg2"/>
              </a:buClr>
              <a:buFont typeface="Wingdings" panose="05000000000000000000" pitchFamily="2" charset="2"/>
              <a:buChar char="§"/>
            </a:pPr>
            <a:r>
              <a:rPr lang="en-US" sz="1100" dirty="0">
                <a:latin typeface="Franklin Gothic"/>
              </a:rPr>
              <a:t>ESG &amp; Net-zero strategy</a:t>
            </a:r>
          </a:p>
          <a:p>
            <a:pPr marL="171450" indent="-171450">
              <a:buClr>
                <a:schemeClr val="bg2"/>
              </a:buClr>
              <a:buFont typeface="Wingdings" panose="05000000000000000000" pitchFamily="2" charset="2"/>
              <a:buChar char="§"/>
            </a:pPr>
            <a:r>
              <a:rPr lang="en-US" sz="1100" dirty="0">
                <a:latin typeface="Franklin Gothic"/>
              </a:rPr>
              <a:t>xxx</a:t>
            </a:r>
          </a:p>
        </p:txBody>
      </p:sp>
      <p:sp>
        <p:nvSpPr>
          <p:cNvPr id="1447" name="Rectangle 4">
            <a:extLst>
              <a:ext uri="{FF2B5EF4-FFF2-40B4-BE49-F238E27FC236}">
                <a16:creationId xmlns:a16="http://schemas.microsoft.com/office/drawing/2014/main" id="{B48E8F69-1878-5575-43CD-F41E3F469E98}"/>
              </a:ext>
            </a:extLst>
          </p:cNvPr>
          <p:cNvSpPr>
            <a:spLocks noChangeArrowheads="1"/>
          </p:cNvSpPr>
          <p:nvPr/>
        </p:nvSpPr>
        <p:spPr bwMode="auto">
          <a:xfrm>
            <a:off x="5168984" y="5097113"/>
            <a:ext cx="2724950" cy="122341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3038" indent="-173038">
              <a:spcAft>
                <a:spcPts val="300"/>
              </a:spcAft>
              <a:buClr>
                <a:schemeClr val="bg2"/>
              </a:buClr>
              <a:buFont typeface="+mj-lt"/>
              <a:buAutoNum type="arabicPeriod"/>
            </a:pPr>
            <a:r>
              <a:rPr lang="en-US" sz="1100" dirty="0">
                <a:latin typeface="Franklin Gothic"/>
              </a:rPr>
              <a:t>Understanding reasons for failure of Kvaerner’s carbon black production facility </a:t>
            </a:r>
          </a:p>
          <a:p>
            <a:pPr marL="173038" indent="-173038">
              <a:spcAft>
                <a:spcPts val="300"/>
              </a:spcAft>
              <a:buClr>
                <a:schemeClr val="bg2"/>
              </a:buClr>
              <a:buFont typeface="+mj-lt"/>
              <a:buAutoNum type="arabicPeriod"/>
            </a:pPr>
            <a:r>
              <a:rPr lang="en-US" sz="1100" dirty="0">
                <a:latin typeface="Franklin Gothic"/>
              </a:rPr>
              <a:t>Understand instances of negative journalism for 5 carbon offset standards</a:t>
            </a:r>
          </a:p>
        </p:txBody>
      </p:sp>
      <p:sp>
        <p:nvSpPr>
          <p:cNvPr id="39" name="Freeform: Shape 38">
            <a:extLst>
              <a:ext uri="{FF2B5EF4-FFF2-40B4-BE49-F238E27FC236}">
                <a16:creationId xmlns:a16="http://schemas.microsoft.com/office/drawing/2014/main" id="{2333F0CF-352B-89E0-90E6-39E49BE1E550}"/>
              </a:ext>
            </a:extLst>
          </p:cNvPr>
          <p:cNvSpPr>
            <a:spLocks noChangeAspect="1"/>
          </p:cNvSpPr>
          <p:nvPr/>
        </p:nvSpPr>
        <p:spPr>
          <a:xfrm>
            <a:off x="539750" y="5627154"/>
            <a:ext cx="417370" cy="417370"/>
          </a:xfrm>
          <a:custGeom>
            <a:avLst/>
            <a:gdLst>
              <a:gd name="connsiteX0" fmla="*/ 1800000 w 3262500"/>
              <a:gd name="connsiteY0" fmla="*/ 2925000 h 3262500"/>
              <a:gd name="connsiteX1" fmla="*/ 2137500 w 3262500"/>
              <a:gd name="connsiteY1" fmla="*/ 2925000 h 3262500"/>
              <a:gd name="connsiteX2" fmla="*/ 2137500 w 3262500"/>
              <a:gd name="connsiteY2" fmla="*/ 3262500 h 3262500"/>
              <a:gd name="connsiteX3" fmla="*/ 1800000 w 3262500"/>
              <a:gd name="connsiteY3" fmla="*/ 3262500 h 3262500"/>
              <a:gd name="connsiteX4" fmla="*/ 1125000 w 3262500"/>
              <a:gd name="connsiteY4" fmla="*/ 2925000 h 3262500"/>
              <a:gd name="connsiteX5" fmla="*/ 1462500 w 3262500"/>
              <a:gd name="connsiteY5" fmla="*/ 2925000 h 3262500"/>
              <a:gd name="connsiteX6" fmla="*/ 1462500 w 3262500"/>
              <a:gd name="connsiteY6" fmla="*/ 3262500 h 3262500"/>
              <a:gd name="connsiteX7" fmla="*/ 1125000 w 3262500"/>
              <a:gd name="connsiteY7" fmla="*/ 3262500 h 3262500"/>
              <a:gd name="connsiteX8" fmla="*/ 2700000 w 3262500"/>
              <a:gd name="connsiteY8" fmla="*/ 2812500 h 3262500"/>
              <a:gd name="connsiteX9" fmla="*/ 3037500 w 3262500"/>
              <a:gd name="connsiteY9" fmla="*/ 2812500 h 3262500"/>
              <a:gd name="connsiteX10" fmla="*/ 3037500 w 3262500"/>
              <a:gd name="connsiteY10" fmla="*/ 3037500 h 3262500"/>
              <a:gd name="connsiteX11" fmla="*/ 2700000 w 3262500"/>
              <a:gd name="connsiteY11" fmla="*/ 3037500 h 3262500"/>
              <a:gd name="connsiteX12" fmla="*/ 225000 w 3262500"/>
              <a:gd name="connsiteY12" fmla="*/ 2812500 h 3262500"/>
              <a:gd name="connsiteX13" fmla="*/ 562500 w 3262500"/>
              <a:gd name="connsiteY13" fmla="*/ 2812500 h 3262500"/>
              <a:gd name="connsiteX14" fmla="*/ 562500 w 3262500"/>
              <a:gd name="connsiteY14" fmla="*/ 3037500 h 3262500"/>
              <a:gd name="connsiteX15" fmla="*/ 225000 w 3262500"/>
              <a:gd name="connsiteY15" fmla="*/ 3037500 h 3262500"/>
              <a:gd name="connsiteX16" fmla="*/ 2700000 w 3262500"/>
              <a:gd name="connsiteY16" fmla="*/ 2475000 h 3262500"/>
              <a:gd name="connsiteX17" fmla="*/ 3037500 w 3262500"/>
              <a:gd name="connsiteY17" fmla="*/ 2475000 h 3262500"/>
              <a:gd name="connsiteX18" fmla="*/ 3037500 w 3262500"/>
              <a:gd name="connsiteY18" fmla="*/ 2700000 h 3262500"/>
              <a:gd name="connsiteX19" fmla="*/ 2700000 w 3262500"/>
              <a:gd name="connsiteY19" fmla="*/ 2700000 h 3262500"/>
              <a:gd name="connsiteX20" fmla="*/ 1912500 w 3262500"/>
              <a:gd name="connsiteY20" fmla="*/ 2475000 h 3262500"/>
              <a:gd name="connsiteX21" fmla="*/ 2025000 w 3262500"/>
              <a:gd name="connsiteY21" fmla="*/ 2475000 h 3262500"/>
              <a:gd name="connsiteX22" fmla="*/ 2025000 w 3262500"/>
              <a:gd name="connsiteY22" fmla="*/ 2587500 h 3262500"/>
              <a:gd name="connsiteX23" fmla="*/ 1912500 w 3262500"/>
              <a:gd name="connsiteY23" fmla="*/ 2587500 h 3262500"/>
              <a:gd name="connsiteX24" fmla="*/ 1687500 w 3262500"/>
              <a:gd name="connsiteY24" fmla="*/ 2475000 h 3262500"/>
              <a:gd name="connsiteX25" fmla="*/ 1800000 w 3262500"/>
              <a:gd name="connsiteY25" fmla="*/ 2475000 h 3262500"/>
              <a:gd name="connsiteX26" fmla="*/ 1800000 w 3262500"/>
              <a:gd name="connsiteY26" fmla="*/ 2587500 h 3262500"/>
              <a:gd name="connsiteX27" fmla="*/ 1687500 w 3262500"/>
              <a:gd name="connsiteY27" fmla="*/ 2587500 h 3262500"/>
              <a:gd name="connsiteX28" fmla="*/ 1462500 w 3262500"/>
              <a:gd name="connsiteY28" fmla="*/ 2475000 h 3262500"/>
              <a:gd name="connsiteX29" fmla="*/ 1575000 w 3262500"/>
              <a:gd name="connsiteY29" fmla="*/ 2475000 h 3262500"/>
              <a:gd name="connsiteX30" fmla="*/ 1575000 w 3262500"/>
              <a:gd name="connsiteY30" fmla="*/ 2587500 h 3262500"/>
              <a:gd name="connsiteX31" fmla="*/ 1462500 w 3262500"/>
              <a:gd name="connsiteY31" fmla="*/ 2587500 h 3262500"/>
              <a:gd name="connsiteX32" fmla="*/ 1237500 w 3262500"/>
              <a:gd name="connsiteY32" fmla="*/ 2475000 h 3262500"/>
              <a:gd name="connsiteX33" fmla="*/ 1350000 w 3262500"/>
              <a:gd name="connsiteY33" fmla="*/ 2475000 h 3262500"/>
              <a:gd name="connsiteX34" fmla="*/ 1350000 w 3262500"/>
              <a:gd name="connsiteY34" fmla="*/ 2587500 h 3262500"/>
              <a:gd name="connsiteX35" fmla="*/ 1237500 w 3262500"/>
              <a:gd name="connsiteY35" fmla="*/ 2587500 h 3262500"/>
              <a:gd name="connsiteX36" fmla="*/ 225000 w 3262500"/>
              <a:gd name="connsiteY36" fmla="*/ 2475000 h 3262500"/>
              <a:gd name="connsiteX37" fmla="*/ 562500 w 3262500"/>
              <a:gd name="connsiteY37" fmla="*/ 2475000 h 3262500"/>
              <a:gd name="connsiteX38" fmla="*/ 562500 w 3262500"/>
              <a:gd name="connsiteY38" fmla="*/ 2700000 h 3262500"/>
              <a:gd name="connsiteX39" fmla="*/ 225000 w 3262500"/>
              <a:gd name="connsiteY39" fmla="*/ 2700000 h 3262500"/>
              <a:gd name="connsiteX40" fmla="*/ 1125000 w 3262500"/>
              <a:gd name="connsiteY40" fmla="*/ 2362500 h 3262500"/>
              <a:gd name="connsiteX41" fmla="*/ 1125000 w 3262500"/>
              <a:gd name="connsiteY41" fmla="*/ 2700000 h 3262500"/>
              <a:gd name="connsiteX42" fmla="*/ 2137500 w 3262500"/>
              <a:gd name="connsiteY42" fmla="*/ 2700000 h 3262500"/>
              <a:gd name="connsiteX43" fmla="*/ 2137500 w 3262500"/>
              <a:gd name="connsiteY43" fmla="*/ 2362500 h 3262500"/>
              <a:gd name="connsiteX44" fmla="*/ 900000 w 3262500"/>
              <a:gd name="connsiteY44" fmla="*/ 2250000 h 3262500"/>
              <a:gd name="connsiteX45" fmla="*/ 2362500 w 3262500"/>
              <a:gd name="connsiteY45" fmla="*/ 2250000 h 3262500"/>
              <a:gd name="connsiteX46" fmla="*/ 2362500 w 3262500"/>
              <a:gd name="connsiteY46" fmla="*/ 3262500 h 3262500"/>
              <a:gd name="connsiteX47" fmla="*/ 2250000 w 3262500"/>
              <a:gd name="connsiteY47" fmla="*/ 3262500 h 3262500"/>
              <a:gd name="connsiteX48" fmla="*/ 2250000 w 3262500"/>
              <a:gd name="connsiteY48" fmla="*/ 2812500 h 3262500"/>
              <a:gd name="connsiteX49" fmla="*/ 1687500 w 3262500"/>
              <a:gd name="connsiteY49" fmla="*/ 2812500 h 3262500"/>
              <a:gd name="connsiteX50" fmla="*/ 1687500 w 3262500"/>
              <a:gd name="connsiteY50" fmla="*/ 3262500 h 3262500"/>
              <a:gd name="connsiteX51" fmla="*/ 1575000 w 3262500"/>
              <a:gd name="connsiteY51" fmla="*/ 3262500 h 3262500"/>
              <a:gd name="connsiteX52" fmla="*/ 1575000 w 3262500"/>
              <a:gd name="connsiteY52" fmla="*/ 2812500 h 3262500"/>
              <a:gd name="connsiteX53" fmla="*/ 1012500 w 3262500"/>
              <a:gd name="connsiteY53" fmla="*/ 2812500 h 3262500"/>
              <a:gd name="connsiteX54" fmla="*/ 1012500 w 3262500"/>
              <a:gd name="connsiteY54" fmla="*/ 3262500 h 3262500"/>
              <a:gd name="connsiteX55" fmla="*/ 900000 w 3262500"/>
              <a:gd name="connsiteY55" fmla="*/ 3262500 h 3262500"/>
              <a:gd name="connsiteX56" fmla="*/ 2700000 w 3262500"/>
              <a:gd name="connsiteY56" fmla="*/ 2137500 h 3262500"/>
              <a:gd name="connsiteX57" fmla="*/ 3037500 w 3262500"/>
              <a:gd name="connsiteY57" fmla="*/ 2137500 h 3262500"/>
              <a:gd name="connsiteX58" fmla="*/ 3037500 w 3262500"/>
              <a:gd name="connsiteY58" fmla="*/ 2362500 h 3262500"/>
              <a:gd name="connsiteX59" fmla="*/ 2700000 w 3262500"/>
              <a:gd name="connsiteY59" fmla="*/ 2362500 h 3262500"/>
              <a:gd name="connsiteX60" fmla="*/ 225000 w 3262500"/>
              <a:gd name="connsiteY60" fmla="*/ 2137500 h 3262500"/>
              <a:gd name="connsiteX61" fmla="*/ 562500 w 3262500"/>
              <a:gd name="connsiteY61" fmla="*/ 2137500 h 3262500"/>
              <a:gd name="connsiteX62" fmla="*/ 562500 w 3262500"/>
              <a:gd name="connsiteY62" fmla="*/ 2362500 h 3262500"/>
              <a:gd name="connsiteX63" fmla="*/ 225000 w 3262500"/>
              <a:gd name="connsiteY63" fmla="*/ 2362500 h 3262500"/>
              <a:gd name="connsiteX64" fmla="*/ 2587500 w 3262500"/>
              <a:gd name="connsiteY64" fmla="*/ 2025000 h 3262500"/>
              <a:gd name="connsiteX65" fmla="*/ 2587500 w 3262500"/>
              <a:gd name="connsiteY65" fmla="*/ 3150000 h 3262500"/>
              <a:gd name="connsiteX66" fmla="*/ 3150000 w 3262500"/>
              <a:gd name="connsiteY66" fmla="*/ 3150000 h 3262500"/>
              <a:gd name="connsiteX67" fmla="*/ 3150000 w 3262500"/>
              <a:gd name="connsiteY67" fmla="*/ 2025000 h 3262500"/>
              <a:gd name="connsiteX68" fmla="*/ 2025000 w 3262500"/>
              <a:gd name="connsiteY68" fmla="*/ 2025000 h 3262500"/>
              <a:gd name="connsiteX69" fmla="*/ 2250000 w 3262500"/>
              <a:gd name="connsiteY69" fmla="*/ 2025000 h 3262500"/>
              <a:gd name="connsiteX70" fmla="*/ 2250000 w 3262500"/>
              <a:gd name="connsiteY70" fmla="*/ 2137500 h 3262500"/>
              <a:gd name="connsiteX71" fmla="*/ 2025000 w 3262500"/>
              <a:gd name="connsiteY71" fmla="*/ 2137500 h 3262500"/>
              <a:gd name="connsiteX72" fmla="*/ 1687500 w 3262500"/>
              <a:gd name="connsiteY72" fmla="*/ 2025000 h 3262500"/>
              <a:gd name="connsiteX73" fmla="*/ 1912500 w 3262500"/>
              <a:gd name="connsiteY73" fmla="*/ 2025000 h 3262500"/>
              <a:gd name="connsiteX74" fmla="*/ 1912500 w 3262500"/>
              <a:gd name="connsiteY74" fmla="*/ 2137500 h 3262500"/>
              <a:gd name="connsiteX75" fmla="*/ 1687500 w 3262500"/>
              <a:gd name="connsiteY75" fmla="*/ 2137500 h 3262500"/>
              <a:gd name="connsiteX76" fmla="*/ 1350000 w 3262500"/>
              <a:gd name="connsiteY76" fmla="*/ 2025000 h 3262500"/>
              <a:gd name="connsiteX77" fmla="*/ 1575000 w 3262500"/>
              <a:gd name="connsiteY77" fmla="*/ 2025000 h 3262500"/>
              <a:gd name="connsiteX78" fmla="*/ 1575000 w 3262500"/>
              <a:gd name="connsiteY78" fmla="*/ 2137500 h 3262500"/>
              <a:gd name="connsiteX79" fmla="*/ 1350000 w 3262500"/>
              <a:gd name="connsiteY79" fmla="*/ 2137500 h 3262500"/>
              <a:gd name="connsiteX80" fmla="*/ 1012500 w 3262500"/>
              <a:gd name="connsiteY80" fmla="*/ 2025000 h 3262500"/>
              <a:gd name="connsiteX81" fmla="*/ 1237500 w 3262500"/>
              <a:gd name="connsiteY81" fmla="*/ 2025000 h 3262500"/>
              <a:gd name="connsiteX82" fmla="*/ 1237500 w 3262500"/>
              <a:gd name="connsiteY82" fmla="*/ 2137500 h 3262500"/>
              <a:gd name="connsiteX83" fmla="*/ 1012500 w 3262500"/>
              <a:gd name="connsiteY83" fmla="*/ 2137500 h 3262500"/>
              <a:gd name="connsiteX84" fmla="*/ 112500 w 3262500"/>
              <a:gd name="connsiteY84" fmla="*/ 2025000 h 3262500"/>
              <a:gd name="connsiteX85" fmla="*/ 112500 w 3262500"/>
              <a:gd name="connsiteY85" fmla="*/ 3150000 h 3262500"/>
              <a:gd name="connsiteX86" fmla="*/ 675000 w 3262500"/>
              <a:gd name="connsiteY86" fmla="*/ 3150000 h 3262500"/>
              <a:gd name="connsiteX87" fmla="*/ 675000 w 3262500"/>
              <a:gd name="connsiteY87" fmla="*/ 2025000 h 3262500"/>
              <a:gd name="connsiteX88" fmla="*/ 2362500 w 3262500"/>
              <a:gd name="connsiteY88" fmla="*/ 1912500 h 3262500"/>
              <a:gd name="connsiteX89" fmla="*/ 3262500 w 3262500"/>
              <a:gd name="connsiteY89" fmla="*/ 1912500 h 3262500"/>
              <a:gd name="connsiteX90" fmla="*/ 3262500 w 3262500"/>
              <a:gd name="connsiteY90" fmla="*/ 3262500 h 3262500"/>
              <a:gd name="connsiteX91" fmla="*/ 2475000 w 3262500"/>
              <a:gd name="connsiteY91" fmla="*/ 3262500 h 3262500"/>
              <a:gd name="connsiteX92" fmla="*/ 2475000 w 3262500"/>
              <a:gd name="connsiteY92" fmla="*/ 2137500 h 3262500"/>
              <a:gd name="connsiteX93" fmla="*/ 2362500 w 3262500"/>
              <a:gd name="connsiteY93" fmla="*/ 2137500 h 3262500"/>
              <a:gd name="connsiteX94" fmla="*/ 2362500 w 3262500"/>
              <a:gd name="connsiteY94" fmla="*/ 1968750 h 3262500"/>
              <a:gd name="connsiteX95" fmla="*/ 0 w 3262500"/>
              <a:gd name="connsiteY95" fmla="*/ 1912500 h 3262500"/>
              <a:gd name="connsiteX96" fmla="*/ 900000 w 3262500"/>
              <a:gd name="connsiteY96" fmla="*/ 1912500 h 3262500"/>
              <a:gd name="connsiteX97" fmla="*/ 900000 w 3262500"/>
              <a:gd name="connsiteY97" fmla="*/ 1968750 h 3262500"/>
              <a:gd name="connsiteX98" fmla="*/ 900000 w 3262500"/>
              <a:gd name="connsiteY98" fmla="*/ 2137500 h 3262500"/>
              <a:gd name="connsiteX99" fmla="*/ 787500 w 3262500"/>
              <a:gd name="connsiteY99" fmla="*/ 2137500 h 3262500"/>
              <a:gd name="connsiteX100" fmla="*/ 787500 w 3262500"/>
              <a:gd name="connsiteY100" fmla="*/ 3262500 h 3262500"/>
              <a:gd name="connsiteX101" fmla="*/ 0 w 3262500"/>
              <a:gd name="connsiteY101" fmla="*/ 3262500 h 3262500"/>
              <a:gd name="connsiteX102" fmla="*/ 2362500 w 3262500"/>
              <a:gd name="connsiteY102" fmla="*/ 1687500 h 3262500"/>
              <a:gd name="connsiteX103" fmla="*/ 3262500 w 3262500"/>
              <a:gd name="connsiteY103" fmla="*/ 1687500 h 3262500"/>
              <a:gd name="connsiteX104" fmla="*/ 3262500 w 3262500"/>
              <a:gd name="connsiteY104" fmla="*/ 1800000 h 3262500"/>
              <a:gd name="connsiteX105" fmla="*/ 2362500 w 3262500"/>
              <a:gd name="connsiteY105" fmla="*/ 1800000 h 3262500"/>
              <a:gd name="connsiteX106" fmla="*/ 0 w 3262500"/>
              <a:gd name="connsiteY106" fmla="*/ 1687500 h 3262500"/>
              <a:gd name="connsiteX107" fmla="*/ 900000 w 3262500"/>
              <a:gd name="connsiteY107" fmla="*/ 1687500 h 3262500"/>
              <a:gd name="connsiteX108" fmla="*/ 900000 w 3262500"/>
              <a:gd name="connsiteY108" fmla="*/ 1800000 h 3262500"/>
              <a:gd name="connsiteX109" fmla="*/ 0 w 3262500"/>
              <a:gd name="connsiteY109" fmla="*/ 1800000 h 3262500"/>
              <a:gd name="connsiteX110" fmla="*/ 2587500 w 3262500"/>
              <a:gd name="connsiteY110" fmla="*/ 1462500 h 3262500"/>
              <a:gd name="connsiteX111" fmla="*/ 2812500 w 3262500"/>
              <a:gd name="connsiteY111" fmla="*/ 1462500 h 3262500"/>
              <a:gd name="connsiteX112" fmla="*/ 2812500 w 3262500"/>
              <a:gd name="connsiteY112" fmla="*/ 1575000 h 3262500"/>
              <a:gd name="connsiteX113" fmla="*/ 2587500 w 3262500"/>
              <a:gd name="connsiteY113" fmla="*/ 1575000 h 3262500"/>
              <a:gd name="connsiteX114" fmla="*/ 450000 w 3262500"/>
              <a:gd name="connsiteY114" fmla="*/ 1462500 h 3262500"/>
              <a:gd name="connsiteX115" fmla="*/ 675000 w 3262500"/>
              <a:gd name="connsiteY115" fmla="*/ 1462500 h 3262500"/>
              <a:gd name="connsiteX116" fmla="*/ 675000 w 3262500"/>
              <a:gd name="connsiteY116" fmla="*/ 1575000 h 3262500"/>
              <a:gd name="connsiteX117" fmla="*/ 450000 w 3262500"/>
              <a:gd name="connsiteY117" fmla="*/ 1575000 h 3262500"/>
              <a:gd name="connsiteX118" fmla="*/ 2925000 w 3262500"/>
              <a:gd name="connsiteY118" fmla="*/ 1237500 h 3262500"/>
              <a:gd name="connsiteX119" fmla="*/ 3150000 w 3262500"/>
              <a:gd name="connsiteY119" fmla="*/ 1237500 h 3262500"/>
              <a:gd name="connsiteX120" fmla="*/ 3150000 w 3262500"/>
              <a:gd name="connsiteY120" fmla="*/ 1575000 h 3262500"/>
              <a:gd name="connsiteX121" fmla="*/ 2925000 w 3262500"/>
              <a:gd name="connsiteY121" fmla="*/ 1575000 h 3262500"/>
              <a:gd name="connsiteX122" fmla="*/ 112500 w 3262500"/>
              <a:gd name="connsiteY122" fmla="*/ 1237500 h 3262500"/>
              <a:gd name="connsiteX123" fmla="*/ 337500 w 3262500"/>
              <a:gd name="connsiteY123" fmla="*/ 1237500 h 3262500"/>
              <a:gd name="connsiteX124" fmla="*/ 337500 w 3262500"/>
              <a:gd name="connsiteY124" fmla="*/ 1575000 h 3262500"/>
              <a:gd name="connsiteX125" fmla="*/ 112500 w 3262500"/>
              <a:gd name="connsiteY125" fmla="*/ 1575000 h 3262500"/>
              <a:gd name="connsiteX126" fmla="*/ 900000 w 3262500"/>
              <a:gd name="connsiteY126" fmla="*/ 956250 h 3262500"/>
              <a:gd name="connsiteX127" fmla="*/ 1237500 w 3262500"/>
              <a:gd name="connsiteY127" fmla="*/ 956250 h 3262500"/>
              <a:gd name="connsiteX128" fmla="*/ 1575000 w 3262500"/>
              <a:gd name="connsiteY128" fmla="*/ 1293750 h 3262500"/>
              <a:gd name="connsiteX129" fmla="*/ 1237500 w 3262500"/>
              <a:gd name="connsiteY129" fmla="*/ 1293750 h 3262500"/>
              <a:gd name="connsiteX130" fmla="*/ 900000 w 3262500"/>
              <a:gd name="connsiteY130" fmla="*/ 956250 h 3262500"/>
              <a:gd name="connsiteX131" fmla="*/ 2025000 w 3262500"/>
              <a:gd name="connsiteY131" fmla="*/ 675000 h 3262500"/>
              <a:gd name="connsiteX132" fmla="*/ 2362500 w 3262500"/>
              <a:gd name="connsiteY132" fmla="*/ 675000 h 3262500"/>
              <a:gd name="connsiteX133" fmla="*/ 2025000 w 3262500"/>
              <a:gd name="connsiteY133" fmla="*/ 1012500 h 3262500"/>
              <a:gd name="connsiteX134" fmla="*/ 1687500 w 3262500"/>
              <a:gd name="connsiteY134" fmla="*/ 1012500 h 3262500"/>
              <a:gd name="connsiteX135" fmla="*/ 2025000 w 3262500"/>
              <a:gd name="connsiteY135" fmla="*/ 675000 h 3262500"/>
              <a:gd name="connsiteX136" fmla="*/ 900000 w 3262500"/>
              <a:gd name="connsiteY136" fmla="*/ 281250 h 3262500"/>
              <a:gd name="connsiteX137" fmla="*/ 1237500 w 3262500"/>
              <a:gd name="connsiteY137" fmla="*/ 281250 h 3262500"/>
              <a:gd name="connsiteX138" fmla="*/ 1575000 w 3262500"/>
              <a:gd name="connsiteY138" fmla="*/ 618750 h 3262500"/>
              <a:gd name="connsiteX139" fmla="*/ 1237500 w 3262500"/>
              <a:gd name="connsiteY139" fmla="*/ 618750 h 3262500"/>
              <a:gd name="connsiteX140" fmla="*/ 900000 w 3262500"/>
              <a:gd name="connsiteY140" fmla="*/ 281250 h 3262500"/>
              <a:gd name="connsiteX141" fmla="*/ 1912500 w 3262500"/>
              <a:gd name="connsiteY141" fmla="*/ 0 h 3262500"/>
              <a:gd name="connsiteX142" fmla="*/ 2250000 w 3262500"/>
              <a:gd name="connsiteY142" fmla="*/ 0 h 3262500"/>
              <a:gd name="connsiteX143" fmla="*/ 1912500 w 3262500"/>
              <a:gd name="connsiteY143" fmla="*/ 337500 h 3262500"/>
              <a:gd name="connsiteX144" fmla="*/ 1687500 w 3262500"/>
              <a:gd name="connsiteY144" fmla="*/ 337500 h 3262500"/>
              <a:gd name="connsiteX145" fmla="*/ 1687500 w 3262500"/>
              <a:gd name="connsiteY145" fmla="*/ 1012500 h 3262500"/>
              <a:gd name="connsiteX146" fmla="*/ 1687500 w 3262500"/>
              <a:gd name="connsiteY146" fmla="*/ 2025000 h 3262500"/>
              <a:gd name="connsiteX147" fmla="*/ 1575000 w 3262500"/>
              <a:gd name="connsiteY147" fmla="*/ 2025000 h 3262500"/>
              <a:gd name="connsiteX148" fmla="*/ 1575000 w 3262500"/>
              <a:gd name="connsiteY148" fmla="*/ 1293750 h 3262500"/>
              <a:gd name="connsiteX149" fmla="*/ 1575000 w 3262500"/>
              <a:gd name="connsiteY149" fmla="*/ 618750 h 3262500"/>
              <a:gd name="connsiteX150" fmla="*/ 1575000 w 3262500"/>
              <a:gd name="connsiteY150" fmla="*/ 337500 h 3262500"/>
              <a:gd name="connsiteX151" fmla="*/ 1912500 w 3262500"/>
              <a:gd name="connsiteY151" fmla="*/ 0 h 32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3262500" h="3262500">
                <a:moveTo>
                  <a:pt x="1800000" y="2925000"/>
                </a:moveTo>
                <a:lnTo>
                  <a:pt x="2137500" y="2925000"/>
                </a:lnTo>
                <a:lnTo>
                  <a:pt x="2137500" y="3262500"/>
                </a:lnTo>
                <a:lnTo>
                  <a:pt x="1800000" y="3262500"/>
                </a:lnTo>
                <a:close/>
                <a:moveTo>
                  <a:pt x="1125000" y="2925000"/>
                </a:moveTo>
                <a:lnTo>
                  <a:pt x="1462500" y="2925000"/>
                </a:lnTo>
                <a:lnTo>
                  <a:pt x="1462500" y="3262500"/>
                </a:lnTo>
                <a:lnTo>
                  <a:pt x="1125000" y="3262500"/>
                </a:lnTo>
                <a:close/>
                <a:moveTo>
                  <a:pt x="2700000" y="2812500"/>
                </a:moveTo>
                <a:lnTo>
                  <a:pt x="3037500" y="2812500"/>
                </a:lnTo>
                <a:lnTo>
                  <a:pt x="3037500" y="3037500"/>
                </a:lnTo>
                <a:lnTo>
                  <a:pt x="2700000" y="3037500"/>
                </a:lnTo>
                <a:close/>
                <a:moveTo>
                  <a:pt x="225000" y="2812500"/>
                </a:moveTo>
                <a:lnTo>
                  <a:pt x="562500" y="2812500"/>
                </a:lnTo>
                <a:lnTo>
                  <a:pt x="562500" y="3037500"/>
                </a:lnTo>
                <a:lnTo>
                  <a:pt x="225000" y="3037500"/>
                </a:lnTo>
                <a:close/>
                <a:moveTo>
                  <a:pt x="2700000" y="2475000"/>
                </a:moveTo>
                <a:lnTo>
                  <a:pt x="3037500" y="2475000"/>
                </a:lnTo>
                <a:lnTo>
                  <a:pt x="3037500" y="2700000"/>
                </a:lnTo>
                <a:lnTo>
                  <a:pt x="2700000" y="2700000"/>
                </a:lnTo>
                <a:close/>
                <a:moveTo>
                  <a:pt x="1912500" y="2475000"/>
                </a:moveTo>
                <a:lnTo>
                  <a:pt x="2025000" y="2475000"/>
                </a:lnTo>
                <a:lnTo>
                  <a:pt x="2025000" y="2587500"/>
                </a:lnTo>
                <a:lnTo>
                  <a:pt x="1912500" y="2587500"/>
                </a:lnTo>
                <a:close/>
                <a:moveTo>
                  <a:pt x="1687500" y="2475000"/>
                </a:moveTo>
                <a:lnTo>
                  <a:pt x="1800000" y="2475000"/>
                </a:lnTo>
                <a:lnTo>
                  <a:pt x="1800000" y="2587500"/>
                </a:lnTo>
                <a:lnTo>
                  <a:pt x="1687500" y="2587500"/>
                </a:lnTo>
                <a:close/>
                <a:moveTo>
                  <a:pt x="1462500" y="2475000"/>
                </a:moveTo>
                <a:lnTo>
                  <a:pt x="1575000" y="2475000"/>
                </a:lnTo>
                <a:lnTo>
                  <a:pt x="1575000" y="2587500"/>
                </a:lnTo>
                <a:lnTo>
                  <a:pt x="1462500" y="2587500"/>
                </a:lnTo>
                <a:close/>
                <a:moveTo>
                  <a:pt x="1237500" y="2475000"/>
                </a:moveTo>
                <a:lnTo>
                  <a:pt x="1350000" y="2475000"/>
                </a:lnTo>
                <a:lnTo>
                  <a:pt x="1350000" y="2587500"/>
                </a:lnTo>
                <a:lnTo>
                  <a:pt x="1237500" y="2587500"/>
                </a:lnTo>
                <a:close/>
                <a:moveTo>
                  <a:pt x="225000" y="2475000"/>
                </a:moveTo>
                <a:lnTo>
                  <a:pt x="562500" y="2475000"/>
                </a:lnTo>
                <a:lnTo>
                  <a:pt x="562500" y="2700000"/>
                </a:lnTo>
                <a:lnTo>
                  <a:pt x="225000" y="2700000"/>
                </a:lnTo>
                <a:close/>
                <a:moveTo>
                  <a:pt x="1125000" y="2362500"/>
                </a:moveTo>
                <a:lnTo>
                  <a:pt x="1125000" y="2700000"/>
                </a:lnTo>
                <a:lnTo>
                  <a:pt x="2137500" y="2700000"/>
                </a:lnTo>
                <a:lnTo>
                  <a:pt x="2137500" y="2362500"/>
                </a:lnTo>
                <a:close/>
                <a:moveTo>
                  <a:pt x="900000" y="2250000"/>
                </a:moveTo>
                <a:lnTo>
                  <a:pt x="2362500" y="2250000"/>
                </a:lnTo>
                <a:lnTo>
                  <a:pt x="2362500" y="3262500"/>
                </a:lnTo>
                <a:lnTo>
                  <a:pt x="2250000" y="3262500"/>
                </a:lnTo>
                <a:lnTo>
                  <a:pt x="2250000" y="2812500"/>
                </a:lnTo>
                <a:lnTo>
                  <a:pt x="1687500" y="2812500"/>
                </a:lnTo>
                <a:lnTo>
                  <a:pt x="1687500" y="3262500"/>
                </a:lnTo>
                <a:lnTo>
                  <a:pt x="1575000" y="3262500"/>
                </a:lnTo>
                <a:lnTo>
                  <a:pt x="1575000" y="2812500"/>
                </a:lnTo>
                <a:lnTo>
                  <a:pt x="1012500" y="2812500"/>
                </a:lnTo>
                <a:lnTo>
                  <a:pt x="1012500" y="3262500"/>
                </a:lnTo>
                <a:lnTo>
                  <a:pt x="900000" y="3262500"/>
                </a:lnTo>
                <a:close/>
                <a:moveTo>
                  <a:pt x="2700000" y="2137500"/>
                </a:moveTo>
                <a:lnTo>
                  <a:pt x="3037500" y="2137500"/>
                </a:lnTo>
                <a:lnTo>
                  <a:pt x="3037500" y="2362500"/>
                </a:lnTo>
                <a:lnTo>
                  <a:pt x="2700000" y="2362500"/>
                </a:lnTo>
                <a:close/>
                <a:moveTo>
                  <a:pt x="225000" y="2137500"/>
                </a:moveTo>
                <a:lnTo>
                  <a:pt x="562500" y="2137500"/>
                </a:lnTo>
                <a:lnTo>
                  <a:pt x="562500" y="2362500"/>
                </a:lnTo>
                <a:lnTo>
                  <a:pt x="225000" y="2362500"/>
                </a:lnTo>
                <a:close/>
                <a:moveTo>
                  <a:pt x="2587500" y="2025000"/>
                </a:moveTo>
                <a:lnTo>
                  <a:pt x="2587500" y="3150000"/>
                </a:lnTo>
                <a:lnTo>
                  <a:pt x="3150000" y="3150000"/>
                </a:lnTo>
                <a:lnTo>
                  <a:pt x="3150000" y="2025000"/>
                </a:lnTo>
                <a:close/>
                <a:moveTo>
                  <a:pt x="2025000" y="2025000"/>
                </a:moveTo>
                <a:lnTo>
                  <a:pt x="2250000" y="2025000"/>
                </a:lnTo>
                <a:lnTo>
                  <a:pt x="2250000" y="2137500"/>
                </a:lnTo>
                <a:lnTo>
                  <a:pt x="2025000" y="2137500"/>
                </a:lnTo>
                <a:close/>
                <a:moveTo>
                  <a:pt x="1687500" y="2025000"/>
                </a:moveTo>
                <a:lnTo>
                  <a:pt x="1912500" y="2025000"/>
                </a:lnTo>
                <a:lnTo>
                  <a:pt x="1912500" y="2137500"/>
                </a:lnTo>
                <a:lnTo>
                  <a:pt x="1687500" y="2137500"/>
                </a:lnTo>
                <a:close/>
                <a:moveTo>
                  <a:pt x="1350000" y="2025000"/>
                </a:moveTo>
                <a:lnTo>
                  <a:pt x="1575000" y="2025000"/>
                </a:lnTo>
                <a:lnTo>
                  <a:pt x="1575000" y="2137500"/>
                </a:lnTo>
                <a:lnTo>
                  <a:pt x="1350000" y="2137500"/>
                </a:lnTo>
                <a:close/>
                <a:moveTo>
                  <a:pt x="1012500" y="2025000"/>
                </a:moveTo>
                <a:lnTo>
                  <a:pt x="1237500" y="2025000"/>
                </a:lnTo>
                <a:lnTo>
                  <a:pt x="1237500" y="2137500"/>
                </a:lnTo>
                <a:lnTo>
                  <a:pt x="1012500" y="2137500"/>
                </a:lnTo>
                <a:close/>
                <a:moveTo>
                  <a:pt x="112500" y="2025000"/>
                </a:moveTo>
                <a:lnTo>
                  <a:pt x="112500" y="3150000"/>
                </a:lnTo>
                <a:lnTo>
                  <a:pt x="675000" y="3150000"/>
                </a:lnTo>
                <a:lnTo>
                  <a:pt x="675000" y="2025000"/>
                </a:lnTo>
                <a:close/>
                <a:moveTo>
                  <a:pt x="2362500" y="1912500"/>
                </a:moveTo>
                <a:lnTo>
                  <a:pt x="3262500" y="1912500"/>
                </a:lnTo>
                <a:lnTo>
                  <a:pt x="3262500" y="3262500"/>
                </a:lnTo>
                <a:lnTo>
                  <a:pt x="2475000" y="3262500"/>
                </a:lnTo>
                <a:lnTo>
                  <a:pt x="2475000" y="2137500"/>
                </a:lnTo>
                <a:lnTo>
                  <a:pt x="2362500" y="2137500"/>
                </a:lnTo>
                <a:lnTo>
                  <a:pt x="2362500" y="1968750"/>
                </a:lnTo>
                <a:close/>
                <a:moveTo>
                  <a:pt x="0" y="1912500"/>
                </a:moveTo>
                <a:lnTo>
                  <a:pt x="900000" y="1912500"/>
                </a:lnTo>
                <a:lnTo>
                  <a:pt x="900000" y="1968750"/>
                </a:lnTo>
                <a:lnTo>
                  <a:pt x="900000" y="2137500"/>
                </a:lnTo>
                <a:lnTo>
                  <a:pt x="787500" y="2137500"/>
                </a:lnTo>
                <a:lnTo>
                  <a:pt x="787500" y="3262500"/>
                </a:lnTo>
                <a:lnTo>
                  <a:pt x="0" y="3262500"/>
                </a:lnTo>
                <a:close/>
                <a:moveTo>
                  <a:pt x="2362500" y="1687500"/>
                </a:moveTo>
                <a:lnTo>
                  <a:pt x="3262500" y="1687500"/>
                </a:lnTo>
                <a:lnTo>
                  <a:pt x="3262500" y="1800000"/>
                </a:lnTo>
                <a:lnTo>
                  <a:pt x="2362500" y="1800000"/>
                </a:lnTo>
                <a:close/>
                <a:moveTo>
                  <a:pt x="0" y="1687500"/>
                </a:moveTo>
                <a:lnTo>
                  <a:pt x="900000" y="1687500"/>
                </a:lnTo>
                <a:lnTo>
                  <a:pt x="900000" y="1800000"/>
                </a:lnTo>
                <a:lnTo>
                  <a:pt x="0" y="1800000"/>
                </a:lnTo>
                <a:close/>
                <a:moveTo>
                  <a:pt x="2587500" y="1462500"/>
                </a:moveTo>
                <a:lnTo>
                  <a:pt x="2812500" y="1462500"/>
                </a:lnTo>
                <a:lnTo>
                  <a:pt x="2812500" y="1575000"/>
                </a:lnTo>
                <a:lnTo>
                  <a:pt x="2587500" y="1575000"/>
                </a:lnTo>
                <a:close/>
                <a:moveTo>
                  <a:pt x="450000" y="1462500"/>
                </a:moveTo>
                <a:lnTo>
                  <a:pt x="675000" y="1462500"/>
                </a:lnTo>
                <a:lnTo>
                  <a:pt x="675000" y="1575000"/>
                </a:lnTo>
                <a:lnTo>
                  <a:pt x="450000" y="1575000"/>
                </a:lnTo>
                <a:close/>
                <a:moveTo>
                  <a:pt x="2925000" y="1237500"/>
                </a:moveTo>
                <a:lnTo>
                  <a:pt x="3150000" y="1237500"/>
                </a:lnTo>
                <a:lnTo>
                  <a:pt x="3150000" y="1575000"/>
                </a:lnTo>
                <a:lnTo>
                  <a:pt x="2925000" y="1575000"/>
                </a:lnTo>
                <a:close/>
                <a:moveTo>
                  <a:pt x="112500" y="1237500"/>
                </a:moveTo>
                <a:lnTo>
                  <a:pt x="337500" y="1237500"/>
                </a:lnTo>
                <a:lnTo>
                  <a:pt x="337500" y="1575000"/>
                </a:lnTo>
                <a:lnTo>
                  <a:pt x="112500" y="1575000"/>
                </a:lnTo>
                <a:close/>
                <a:moveTo>
                  <a:pt x="900000" y="956250"/>
                </a:moveTo>
                <a:lnTo>
                  <a:pt x="1237500" y="956250"/>
                </a:lnTo>
                <a:cubicBezTo>
                  <a:pt x="1423912" y="956250"/>
                  <a:pt x="1575000" y="1107338"/>
                  <a:pt x="1575000" y="1293750"/>
                </a:cubicBezTo>
                <a:lnTo>
                  <a:pt x="1237500" y="1293750"/>
                </a:lnTo>
                <a:cubicBezTo>
                  <a:pt x="1051088" y="1293750"/>
                  <a:pt x="900000" y="1142662"/>
                  <a:pt x="900000" y="956250"/>
                </a:cubicBezTo>
                <a:close/>
                <a:moveTo>
                  <a:pt x="2025000" y="675000"/>
                </a:moveTo>
                <a:lnTo>
                  <a:pt x="2362500" y="675000"/>
                </a:lnTo>
                <a:cubicBezTo>
                  <a:pt x="2362500" y="861412"/>
                  <a:pt x="2211412" y="1012500"/>
                  <a:pt x="2025000" y="1012500"/>
                </a:cubicBezTo>
                <a:lnTo>
                  <a:pt x="1687500" y="1012500"/>
                </a:lnTo>
                <a:cubicBezTo>
                  <a:pt x="1687500" y="826088"/>
                  <a:pt x="1838588" y="675000"/>
                  <a:pt x="2025000" y="675000"/>
                </a:cubicBezTo>
                <a:close/>
                <a:moveTo>
                  <a:pt x="900000" y="281250"/>
                </a:moveTo>
                <a:lnTo>
                  <a:pt x="1237500" y="281250"/>
                </a:lnTo>
                <a:cubicBezTo>
                  <a:pt x="1423912" y="281250"/>
                  <a:pt x="1575000" y="432338"/>
                  <a:pt x="1575000" y="618750"/>
                </a:cubicBezTo>
                <a:lnTo>
                  <a:pt x="1237500" y="618750"/>
                </a:lnTo>
                <a:cubicBezTo>
                  <a:pt x="1051088" y="618750"/>
                  <a:pt x="900000" y="467663"/>
                  <a:pt x="900000" y="281250"/>
                </a:cubicBezTo>
                <a:close/>
                <a:moveTo>
                  <a:pt x="1912500" y="0"/>
                </a:moveTo>
                <a:lnTo>
                  <a:pt x="2250000" y="0"/>
                </a:lnTo>
                <a:cubicBezTo>
                  <a:pt x="2250000" y="186413"/>
                  <a:pt x="2098912" y="337500"/>
                  <a:pt x="1912500" y="337500"/>
                </a:cubicBezTo>
                <a:lnTo>
                  <a:pt x="1687500" y="337500"/>
                </a:lnTo>
                <a:lnTo>
                  <a:pt x="1687500" y="1012500"/>
                </a:lnTo>
                <a:lnTo>
                  <a:pt x="1687500" y="2025000"/>
                </a:lnTo>
                <a:lnTo>
                  <a:pt x="1575000" y="2025000"/>
                </a:lnTo>
                <a:lnTo>
                  <a:pt x="1575000" y="1293750"/>
                </a:lnTo>
                <a:lnTo>
                  <a:pt x="1575000" y="618750"/>
                </a:lnTo>
                <a:lnTo>
                  <a:pt x="1575000" y="337500"/>
                </a:lnTo>
                <a:cubicBezTo>
                  <a:pt x="1575000" y="151088"/>
                  <a:pt x="1726088" y="0"/>
                  <a:pt x="1912500" y="0"/>
                </a:cubicBezTo>
                <a:close/>
              </a:path>
            </a:pathLst>
          </a:custGeom>
          <a:solidFill>
            <a:schemeClr val="bg2"/>
          </a:solidFill>
          <a:ln w="9525" cap="flat">
            <a:noFill/>
            <a:prstDash val="solid"/>
            <a:miter/>
          </a:ln>
        </p:spPr>
        <p:txBody>
          <a:bodyPr rtlCol="0" anchor="ctr"/>
          <a:lstStyle/>
          <a:p>
            <a:endParaRPr lang="en-US" dirty="0">
              <a:latin typeface="Arial Narrow" charset="0"/>
            </a:endParaRPr>
          </a:p>
        </p:txBody>
      </p:sp>
      <p:sp>
        <p:nvSpPr>
          <p:cNvPr id="40" name="Freeform: Shape 39">
            <a:extLst>
              <a:ext uri="{FF2B5EF4-FFF2-40B4-BE49-F238E27FC236}">
                <a16:creationId xmlns:a16="http://schemas.microsoft.com/office/drawing/2014/main" id="{A9B81761-2169-18B2-E519-B6DE2CFD9883}"/>
              </a:ext>
            </a:extLst>
          </p:cNvPr>
          <p:cNvSpPr>
            <a:spLocks noChangeAspect="1"/>
          </p:cNvSpPr>
          <p:nvPr/>
        </p:nvSpPr>
        <p:spPr>
          <a:xfrm>
            <a:off x="539750" y="2486303"/>
            <a:ext cx="311136" cy="466792"/>
          </a:xfrm>
          <a:custGeom>
            <a:avLst/>
            <a:gdLst>
              <a:gd name="connsiteX0" fmla="*/ 1920117 w 2473788"/>
              <a:gd name="connsiteY0" fmla="*/ 2255055 h 3711359"/>
              <a:gd name="connsiteX1" fmla="*/ 1651360 w 2473788"/>
              <a:gd name="connsiteY1" fmla="*/ 3096870 h 3711359"/>
              <a:gd name="connsiteX2" fmla="*/ 2350456 w 2473788"/>
              <a:gd name="connsiteY2" fmla="*/ 3455141 h 3711359"/>
              <a:gd name="connsiteX3" fmla="*/ 2350456 w 2473788"/>
              <a:gd name="connsiteY3" fmla="*/ 2685394 h 3711359"/>
              <a:gd name="connsiteX4" fmla="*/ 554087 w 2473788"/>
              <a:gd name="connsiteY4" fmla="*/ 2255055 h 3711359"/>
              <a:gd name="connsiteX5" fmla="*/ 123749 w 2473788"/>
              <a:gd name="connsiteY5" fmla="*/ 2685394 h 3711359"/>
              <a:gd name="connsiteX6" fmla="*/ 123749 w 2473788"/>
              <a:gd name="connsiteY6" fmla="*/ 3455141 h 3711359"/>
              <a:gd name="connsiteX7" fmla="*/ 822845 w 2473788"/>
              <a:gd name="connsiteY7" fmla="*/ 3096870 h 3711359"/>
              <a:gd name="connsiteX8" fmla="*/ 554087 w 2473788"/>
              <a:gd name="connsiteY8" fmla="*/ 2255055 h 3711359"/>
              <a:gd name="connsiteX9" fmla="*/ 1237156 w 2473788"/>
              <a:gd name="connsiteY9" fmla="*/ 989769 h 3711359"/>
              <a:gd name="connsiteX10" fmla="*/ 989769 w 2473788"/>
              <a:gd name="connsiteY10" fmla="*/ 1237156 h 3711359"/>
              <a:gd name="connsiteX11" fmla="*/ 1237156 w 2473788"/>
              <a:gd name="connsiteY11" fmla="*/ 1484544 h 3711359"/>
              <a:gd name="connsiteX12" fmla="*/ 1484544 w 2473788"/>
              <a:gd name="connsiteY12" fmla="*/ 1237156 h 3711359"/>
              <a:gd name="connsiteX13" fmla="*/ 1237156 w 2473788"/>
              <a:gd name="connsiteY13" fmla="*/ 989769 h 3711359"/>
              <a:gd name="connsiteX14" fmla="*/ 1237047 w 2473788"/>
              <a:gd name="connsiteY14" fmla="*/ 865911 h 3711359"/>
              <a:gd name="connsiteX15" fmla="*/ 1608183 w 2473788"/>
              <a:gd name="connsiteY15" fmla="*/ 1237047 h 3711359"/>
              <a:gd name="connsiteX16" fmla="*/ 1237047 w 2473788"/>
              <a:gd name="connsiteY16" fmla="*/ 1608183 h 3711359"/>
              <a:gd name="connsiteX17" fmla="*/ 865911 w 2473788"/>
              <a:gd name="connsiteY17" fmla="*/ 1237047 h 3711359"/>
              <a:gd name="connsiteX18" fmla="*/ 1237047 w 2473788"/>
              <a:gd name="connsiteY18" fmla="*/ 865911 h 3711359"/>
              <a:gd name="connsiteX19" fmla="*/ 832984 w 2473788"/>
              <a:gd name="connsiteY19" fmla="*/ 742163 h 3711359"/>
              <a:gd name="connsiteX20" fmla="*/ 618524 w 2473788"/>
              <a:gd name="connsiteY20" fmla="*/ 1670003 h 3711359"/>
              <a:gd name="connsiteX21" fmla="*/ 972434 w 2473788"/>
              <a:gd name="connsiteY21" fmla="*/ 3124673 h 3711359"/>
              <a:gd name="connsiteX22" fmla="*/ 975705 w 2473788"/>
              <a:gd name="connsiteY22" fmla="*/ 3131542 h 3711359"/>
              <a:gd name="connsiteX23" fmla="*/ 1086588 w 2473788"/>
              <a:gd name="connsiteY23" fmla="*/ 3340115 h 3711359"/>
              <a:gd name="connsiteX24" fmla="*/ 1113409 w 2473788"/>
              <a:gd name="connsiteY24" fmla="*/ 3340115 h 3711359"/>
              <a:gd name="connsiteX25" fmla="*/ 1113409 w 2473788"/>
              <a:gd name="connsiteY25" fmla="*/ 2164888 h 3711359"/>
              <a:gd name="connsiteX26" fmla="*/ 1175229 w 2473788"/>
              <a:gd name="connsiteY26" fmla="*/ 2103068 h 3711359"/>
              <a:gd name="connsiteX27" fmla="*/ 1237048 w 2473788"/>
              <a:gd name="connsiteY27" fmla="*/ 2164888 h 3711359"/>
              <a:gd name="connsiteX28" fmla="*/ 1237048 w 2473788"/>
              <a:gd name="connsiteY28" fmla="*/ 3340224 h 3711359"/>
              <a:gd name="connsiteX29" fmla="*/ 1387618 w 2473788"/>
              <a:gd name="connsiteY29" fmla="*/ 3340224 h 3711359"/>
              <a:gd name="connsiteX30" fmla="*/ 1498609 w 2473788"/>
              <a:gd name="connsiteY30" fmla="*/ 3131432 h 3711359"/>
              <a:gd name="connsiteX31" fmla="*/ 1501771 w 2473788"/>
              <a:gd name="connsiteY31" fmla="*/ 3124673 h 3711359"/>
              <a:gd name="connsiteX32" fmla="*/ 1855681 w 2473788"/>
              <a:gd name="connsiteY32" fmla="*/ 1670003 h 3711359"/>
              <a:gd name="connsiteX33" fmla="*/ 1640675 w 2473788"/>
              <a:gd name="connsiteY33" fmla="*/ 742163 h 3711359"/>
              <a:gd name="connsiteX34" fmla="*/ 1237048 w 2473788"/>
              <a:gd name="connsiteY34" fmla="*/ 149152 h 3711359"/>
              <a:gd name="connsiteX35" fmla="*/ 947466 w 2473788"/>
              <a:gd name="connsiteY35" fmla="*/ 530428 h 3711359"/>
              <a:gd name="connsiteX36" fmla="*/ 896440 w 2473788"/>
              <a:gd name="connsiteY36" fmla="*/ 618524 h 3711359"/>
              <a:gd name="connsiteX37" fmla="*/ 1577002 w 2473788"/>
              <a:gd name="connsiteY37" fmla="*/ 618524 h 3711359"/>
              <a:gd name="connsiteX38" fmla="*/ 1237048 w 2473788"/>
              <a:gd name="connsiteY38" fmla="*/ 149152 h 3711359"/>
              <a:gd name="connsiteX39" fmla="*/ 1237143 w 2473788"/>
              <a:gd name="connsiteY39" fmla="*/ 0 h 3711359"/>
              <a:gd name="connsiteX40" fmla="*/ 1278697 w 2473788"/>
              <a:gd name="connsiteY40" fmla="*/ 16028 h 3711359"/>
              <a:gd name="connsiteX41" fmla="*/ 1630099 w 2473788"/>
              <a:gd name="connsiteY41" fmla="*/ 462176 h 3711359"/>
              <a:gd name="connsiteX42" fmla="*/ 1733241 w 2473788"/>
              <a:gd name="connsiteY42" fmla="*/ 648616 h 3711359"/>
              <a:gd name="connsiteX43" fmla="*/ 1737602 w 2473788"/>
              <a:gd name="connsiteY43" fmla="*/ 657447 h 3711359"/>
              <a:gd name="connsiteX44" fmla="*/ 1979429 w 2473788"/>
              <a:gd name="connsiteY44" fmla="*/ 1670112 h 3711359"/>
              <a:gd name="connsiteX45" fmla="*/ 1945848 w 2473788"/>
              <a:gd name="connsiteY45" fmla="*/ 2105794 h 3711359"/>
              <a:gd name="connsiteX46" fmla="*/ 2456105 w 2473788"/>
              <a:gd name="connsiteY46" fmla="*/ 2616051 h 3711359"/>
              <a:gd name="connsiteX47" fmla="*/ 2473768 w 2473788"/>
              <a:gd name="connsiteY47" fmla="*/ 2659663 h 3711359"/>
              <a:gd name="connsiteX48" fmla="*/ 2473768 w 2473788"/>
              <a:gd name="connsiteY48" fmla="*/ 3649322 h 3711359"/>
              <a:gd name="connsiteX49" fmla="*/ 2426449 w 2473788"/>
              <a:gd name="connsiteY49" fmla="*/ 3709506 h 3711359"/>
              <a:gd name="connsiteX50" fmla="*/ 2411948 w 2473788"/>
              <a:gd name="connsiteY50" fmla="*/ 3711251 h 3711359"/>
              <a:gd name="connsiteX51" fmla="*/ 2356889 w 2473788"/>
              <a:gd name="connsiteY51" fmla="*/ 3677560 h 3711359"/>
              <a:gd name="connsiteX52" fmla="*/ 1594010 w 2473788"/>
              <a:gd name="connsiteY52" fmla="*/ 3217238 h 3711359"/>
              <a:gd name="connsiteX53" fmla="*/ 1475168 w 2473788"/>
              <a:gd name="connsiteY53" fmla="*/ 3434207 h 3711359"/>
              <a:gd name="connsiteX54" fmla="*/ 1422398 w 2473788"/>
              <a:gd name="connsiteY54" fmla="*/ 3463863 h 3711359"/>
              <a:gd name="connsiteX55" fmla="*/ 1236830 w 2473788"/>
              <a:gd name="connsiteY55" fmla="*/ 3463863 h 3711359"/>
              <a:gd name="connsiteX56" fmla="*/ 1236830 w 2473788"/>
              <a:gd name="connsiteY56" fmla="*/ 3649540 h 3711359"/>
              <a:gd name="connsiteX57" fmla="*/ 1175010 w 2473788"/>
              <a:gd name="connsiteY57" fmla="*/ 3711359 h 3711359"/>
              <a:gd name="connsiteX58" fmla="*/ 1113191 w 2473788"/>
              <a:gd name="connsiteY58" fmla="*/ 3649540 h 3711359"/>
              <a:gd name="connsiteX59" fmla="*/ 1113191 w 2473788"/>
              <a:gd name="connsiteY59" fmla="*/ 3463972 h 3711359"/>
              <a:gd name="connsiteX60" fmla="*/ 1051371 w 2473788"/>
              <a:gd name="connsiteY60" fmla="*/ 3463972 h 3711359"/>
              <a:gd name="connsiteX61" fmla="*/ 998601 w 2473788"/>
              <a:gd name="connsiteY61" fmla="*/ 3434316 h 3711359"/>
              <a:gd name="connsiteX62" fmla="*/ 879759 w 2473788"/>
              <a:gd name="connsiteY62" fmla="*/ 3217348 h 3711359"/>
              <a:gd name="connsiteX63" fmla="*/ 116771 w 2473788"/>
              <a:gd name="connsiteY63" fmla="*/ 3677779 h 3711359"/>
              <a:gd name="connsiteX64" fmla="*/ 61820 w 2473788"/>
              <a:gd name="connsiteY64" fmla="*/ 3711251 h 3711359"/>
              <a:gd name="connsiteX65" fmla="*/ 47210 w 2473788"/>
              <a:gd name="connsiteY65" fmla="*/ 3709506 h 3711359"/>
              <a:gd name="connsiteX66" fmla="*/ 0 w 2473788"/>
              <a:gd name="connsiteY66" fmla="*/ 3649431 h 3711359"/>
              <a:gd name="connsiteX67" fmla="*/ 0 w 2473788"/>
              <a:gd name="connsiteY67" fmla="*/ 2659772 h 3711359"/>
              <a:gd name="connsiteX68" fmla="*/ 18099 w 2473788"/>
              <a:gd name="connsiteY68" fmla="*/ 2615942 h 3711359"/>
              <a:gd name="connsiteX69" fmla="*/ 528356 w 2473788"/>
              <a:gd name="connsiteY69" fmla="*/ 2105685 h 3711359"/>
              <a:gd name="connsiteX70" fmla="*/ 494775 w 2473788"/>
              <a:gd name="connsiteY70" fmla="*/ 1670003 h 3711359"/>
              <a:gd name="connsiteX71" fmla="*/ 736493 w 2473788"/>
              <a:gd name="connsiteY71" fmla="*/ 657447 h 3711359"/>
              <a:gd name="connsiteX72" fmla="*/ 740964 w 2473788"/>
              <a:gd name="connsiteY72" fmla="*/ 648616 h 3711359"/>
              <a:gd name="connsiteX73" fmla="*/ 844105 w 2473788"/>
              <a:gd name="connsiteY73" fmla="*/ 462176 h 3711359"/>
              <a:gd name="connsiteX74" fmla="*/ 1195508 w 2473788"/>
              <a:gd name="connsiteY74" fmla="*/ 16028 h 3711359"/>
              <a:gd name="connsiteX75" fmla="*/ 1237143 w 2473788"/>
              <a:gd name="connsiteY75" fmla="*/ 0 h 371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473788" h="3711359">
                <a:moveTo>
                  <a:pt x="1920117" y="2255055"/>
                </a:moveTo>
                <a:cubicBezTo>
                  <a:pt x="1859715" y="2565461"/>
                  <a:pt x="1759735" y="2856460"/>
                  <a:pt x="1651360" y="3096870"/>
                </a:cubicBezTo>
                <a:cubicBezTo>
                  <a:pt x="2001562" y="3126199"/>
                  <a:pt x="2227144" y="3312639"/>
                  <a:pt x="2350456" y="3455141"/>
                </a:cubicBezTo>
                <a:lnTo>
                  <a:pt x="2350456" y="2685394"/>
                </a:lnTo>
                <a:close/>
                <a:moveTo>
                  <a:pt x="554087" y="2255055"/>
                </a:moveTo>
                <a:lnTo>
                  <a:pt x="123749" y="2685394"/>
                </a:lnTo>
                <a:lnTo>
                  <a:pt x="123749" y="3455141"/>
                </a:lnTo>
                <a:cubicBezTo>
                  <a:pt x="247061" y="3312639"/>
                  <a:pt x="472642" y="3126199"/>
                  <a:pt x="822845" y="3096870"/>
                </a:cubicBezTo>
                <a:cubicBezTo>
                  <a:pt x="714469" y="2856352"/>
                  <a:pt x="614490" y="2565461"/>
                  <a:pt x="554087" y="2255055"/>
                </a:cubicBezTo>
                <a:close/>
                <a:moveTo>
                  <a:pt x="1237156" y="989769"/>
                </a:moveTo>
                <a:cubicBezTo>
                  <a:pt x="1100760" y="989769"/>
                  <a:pt x="989769" y="1100760"/>
                  <a:pt x="989769" y="1237156"/>
                </a:cubicBezTo>
                <a:cubicBezTo>
                  <a:pt x="989769" y="1373552"/>
                  <a:pt x="1100760" y="1484544"/>
                  <a:pt x="1237156" y="1484544"/>
                </a:cubicBezTo>
                <a:cubicBezTo>
                  <a:pt x="1373552" y="1484544"/>
                  <a:pt x="1484544" y="1373552"/>
                  <a:pt x="1484544" y="1237156"/>
                </a:cubicBezTo>
                <a:cubicBezTo>
                  <a:pt x="1484544" y="1100760"/>
                  <a:pt x="1373552" y="989769"/>
                  <a:pt x="1237156" y="989769"/>
                </a:cubicBezTo>
                <a:close/>
                <a:moveTo>
                  <a:pt x="1237047" y="865911"/>
                </a:moveTo>
                <a:cubicBezTo>
                  <a:pt x="1441695" y="865911"/>
                  <a:pt x="1608183" y="1032399"/>
                  <a:pt x="1608183" y="1237047"/>
                </a:cubicBezTo>
                <a:cubicBezTo>
                  <a:pt x="1608183" y="1441695"/>
                  <a:pt x="1441695" y="1608183"/>
                  <a:pt x="1237047" y="1608183"/>
                </a:cubicBezTo>
                <a:cubicBezTo>
                  <a:pt x="1032399" y="1608183"/>
                  <a:pt x="865911" y="1441695"/>
                  <a:pt x="865911" y="1237047"/>
                </a:cubicBezTo>
                <a:cubicBezTo>
                  <a:pt x="865911" y="1032399"/>
                  <a:pt x="1032399" y="865911"/>
                  <a:pt x="1237047" y="865911"/>
                </a:cubicBezTo>
                <a:close/>
                <a:moveTo>
                  <a:pt x="832984" y="742163"/>
                </a:moveTo>
                <a:cubicBezTo>
                  <a:pt x="719267" y="981264"/>
                  <a:pt x="618524" y="1298104"/>
                  <a:pt x="618524" y="1670003"/>
                </a:cubicBezTo>
                <a:cubicBezTo>
                  <a:pt x="618524" y="2179279"/>
                  <a:pt x="781195" y="2725407"/>
                  <a:pt x="972434" y="3124673"/>
                </a:cubicBezTo>
                <a:cubicBezTo>
                  <a:pt x="973633" y="3126853"/>
                  <a:pt x="974724" y="3129143"/>
                  <a:pt x="975705" y="3131542"/>
                </a:cubicBezTo>
                <a:cubicBezTo>
                  <a:pt x="1012012" y="3206772"/>
                  <a:pt x="1049191" y="3276769"/>
                  <a:pt x="1086588" y="3340115"/>
                </a:cubicBezTo>
                <a:lnTo>
                  <a:pt x="1113409" y="3340115"/>
                </a:lnTo>
                <a:lnTo>
                  <a:pt x="1113409" y="2164888"/>
                </a:lnTo>
                <a:cubicBezTo>
                  <a:pt x="1113409" y="2130761"/>
                  <a:pt x="1141102" y="2103068"/>
                  <a:pt x="1175229" y="2103068"/>
                </a:cubicBezTo>
                <a:cubicBezTo>
                  <a:pt x="1209355" y="2103068"/>
                  <a:pt x="1237048" y="2130761"/>
                  <a:pt x="1237048" y="2164888"/>
                </a:cubicBezTo>
                <a:lnTo>
                  <a:pt x="1237048" y="3340224"/>
                </a:lnTo>
                <a:lnTo>
                  <a:pt x="1387618" y="3340224"/>
                </a:lnTo>
                <a:cubicBezTo>
                  <a:pt x="1425015" y="3276769"/>
                  <a:pt x="1462303" y="3206772"/>
                  <a:pt x="1498609" y="3131432"/>
                </a:cubicBezTo>
                <a:cubicBezTo>
                  <a:pt x="1499482" y="3129143"/>
                  <a:pt x="1500572" y="3126853"/>
                  <a:pt x="1501771" y="3124673"/>
                </a:cubicBezTo>
                <a:cubicBezTo>
                  <a:pt x="1693009" y="2725407"/>
                  <a:pt x="1855681" y="2179170"/>
                  <a:pt x="1855681" y="1670003"/>
                </a:cubicBezTo>
                <a:cubicBezTo>
                  <a:pt x="1855681" y="1304864"/>
                  <a:pt x="1759517" y="990859"/>
                  <a:pt x="1640675" y="742163"/>
                </a:cubicBezTo>
                <a:close/>
                <a:moveTo>
                  <a:pt x="1237048" y="149152"/>
                </a:moveTo>
                <a:cubicBezTo>
                  <a:pt x="1177300" y="211517"/>
                  <a:pt x="1061729" y="342679"/>
                  <a:pt x="947466" y="530428"/>
                </a:cubicBezTo>
                <a:cubicBezTo>
                  <a:pt x="930676" y="557903"/>
                  <a:pt x="913558" y="587341"/>
                  <a:pt x="896440" y="618524"/>
                </a:cubicBezTo>
                <a:lnTo>
                  <a:pt x="1577002" y="618524"/>
                </a:lnTo>
                <a:cubicBezTo>
                  <a:pt x="1446602" y="382584"/>
                  <a:pt x="1305301" y="220676"/>
                  <a:pt x="1237048" y="149152"/>
                </a:cubicBezTo>
                <a:close/>
                <a:moveTo>
                  <a:pt x="1237143" y="0"/>
                </a:moveTo>
                <a:cubicBezTo>
                  <a:pt x="1252039" y="1"/>
                  <a:pt x="1266922" y="5343"/>
                  <a:pt x="1278697" y="16028"/>
                </a:cubicBezTo>
                <a:cubicBezTo>
                  <a:pt x="1285893" y="22569"/>
                  <a:pt x="1457396" y="179681"/>
                  <a:pt x="1630099" y="462176"/>
                </a:cubicBezTo>
                <a:cubicBezTo>
                  <a:pt x="1663789" y="517235"/>
                  <a:pt x="1698897" y="579709"/>
                  <a:pt x="1733241" y="648616"/>
                </a:cubicBezTo>
                <a:cubicBezTo>
                  <a:pt x="1734876" y="651450"/>
                  <a:pt x="1736402" y="654394"/>
                  <a:pt x="1737602" y="657447"/>
                </a:cubicBezTo>
                <a:cubicBezTo>
                  <a:pt x="1863967" y="913666"/>
                  <a:pt x="1979429" y="1259944"/>
                  <a:pt x="1979429" y="1670112"/>
                </a:cubicBezTo>
                <a:cubicBezTo>
                  <a:pt x="1979429" y="1816430"/>
                  <a:pt x="1967218" y="1962529"/>
                  <a:pt x="1945848" y="2105794"/>
                </a:cubicBezTo>
                <a:lnTo>
                  <a:pt x="2456105" y="2616051"/>
                </a:lnTo>
                <a:cubicBezTo>
                  <a:pt x="2467662" y="2627608"/>
                  <a:pt x="2474204" y="2643417"/>
                  <a:pt x="2473768" y="2659663"/>
                </a:cubicBezTo>
                <a:lnTo>
                  <a:pt x="2473768" y="3649322"/>
                </a:lnTo>
                <a:cubicBezTo>
                  <a:pt x="2473768" y="3677996"/>
                  <a:pt x="2454252" y="3702855"/>
                  <a:pt x="2426449" y="3709506"/>
                </a:cubicBezTo>
                <a:cubicBezTo>
                  <a:pt x="2421652" y="3710705"/>
                  <a:pt x="2416746" y="3711251"/>
                  <a:pt x="2411948" y="3711251"/>
                </a:cubicBezTo>
                <a:cubicBezTo>
                  <a:pt x="2389161" y="3711251"/>
                  <a:pt x="2367682" y="3698603"/>
                  <a:pt x="2356889" y="3677560"/>
                </a:cubicBezTo>
                <a:cubicBezTo>
                  <a:pt x="2347512" y="3659353"/>
                  <a:pt x="2122584" y="3236973"/>
                  <a:pt x="1594010" y="3217238"/>
                </a:cubicBezTo>
                <a:cubicBezTo>
                  <a:pt x="1554323" y="3297266"/>
                  <a:pt x="1514201" y="3370207"/>
                  <a:pt x="1475168" y="3434207"/>
                </a:cubicBezTo>
                <a:cubicBezTo>
                  <a:pt x="1463938" y="3452633"/>
                  <a:pt x="1443986" y="3463863"/>
                  <a:pt x="1422398" y="3463863"/>
                </a:cubicBezTo>
                <a:lnTo>
                  <a:pt x="1236830" y="3463863"/>
                </a:lnTo>
                <a:lnTo>
                  <a:pt x="1236830" y="3649540"/>
                </a:lnTo>
                <a:cubicBezTo>
                  <a:pt x="1236830" y="3683666"/>
                  <a:pt x="1209137" y="3711359"/>
                  <a:pt x="1175010" y="3711359"/>
                </a:cubicBezTo>
                <a:cubicBezTo>
                  <a:pt x="1140884" y="3711359"/>
                  <a:pt x="1113191" y="3683666"/>
                  <a:pt x="1113191" y="3649540"/>
                </a:cubicBezTo>
                <a:lnTo>
                  <a:pt x="1113191" y="3463972"/>
                </a:lnTo>
                <a:lnTo>
                  <a:pt x="1051371" y="3463972"/>
                </a:lnTo>
                <a:cubicBezTo>
                  <a:pt x="1029892" y="3463972"/>
                  <a:pt x="1009831" y="3452742"/>
                  <a:pt x="998601" y="3434316"/>
                </a:cubicBezTo>
                <a:cubicBezTo>
                  <a:pt x="959677" y="3370207"/>
                  <a:pt x="919555" y="3297375"/>
                  <a:pt x="879759" y="3217348"/>
                </a:cubicBezTo>
                <a:cubicBezTo>
                  <a:pt x="351184" y="3237082"/>
                  <a:pt x="126256" y="3659353"/>
                  <a:pt x="116771" y="3677779"/>
                </a:cubicBezTo>
                <a:cubicBezTo>
                  <a:pt x="105977" y="3698603"/>
                  <a:pt x="84498" y="3711251"/>
                  <a:pt x="61820" y="3711251"/>
                </a:cubicBezTo>
                <a:cubicBezTo>
                  <a:pt x="57023" y="3711251"/>
                  <a:pt x="52116" y="3710705"/>
                  <a:pt x="47210" y="3709506"/>
                </a:cubicBezTo>
                <a:cubicBezTo>
                  <a:pt x="19516" y="3702746"/>
                  <a:pt x="0" y="3677996"/>
                  <a:pt x="0" y="3649431"/>
                </a:cubicBezTo>
                <a:lnTo>
                  <a:pt x="0" y="2659772"/>
                </a:lnTo>
                <a:cubicBezTo>
                  <a:pt x="0" y="2643417"/>
                  <a:pt x="6542" y="2627608"/>
                  <a:pt x="18099" y="2615942"/>
                </a:cubicBezTo>
                <a:lnTo>
                  <a:pt x="528356" y="2105685"/>
                </a:lnTo>
                <a:cubicBezTo>
                  <a:pt x="506987" y="1962420"/>
                  <a:pt x="494775" y="1816212"/>
                  <a:pt x="494775" y="1670003"/>
                </a:cubicBezTo>
                <a:cubicBezTo>
                  <a:pt x="494775" y="1259944"/>
                  <a:pt x="610128" y="913666"/>
                  <a:pt x="736493" y="657447"/>
                </a:cubicBezTo>
                <a:cubicBezTo>
                  <a:pt x="737802" y="654394"/>
                  <a:pt x="739219" y="651450"/>
                  <a:pt x="740964" y="648616"/>
                </a:cubicBezTo>
                <a:cubicBezTo>
                  <a:pt x="775308" y="579600"/>
                  <a:pt x="810415" y="517235"/>
                  <a:pt x="844105" y="462176"/>
                </a:cubicBezTo>
                <a:cubicBezTo>
                  <a:pt x="1016809" y="179681"/>
                  <a:pt x="1188312" y="22569"/>
                  <a:pt x="1195508" y="16028"/>
                </a:cubicBezTo>
                <a:cubicBezTo>
                  <a:pt x="1207337" y="5343"/>
                  <a:pt x="1222247" y="1"/>
                  <a:pt x="1237143" y="0"/>
                </a:cubicBezTo>
                <a:close/>
              </a:path>
            </a:pathLst>
          </a:custGeom>
          <a:solidFill>
            <a:schemeClr val="bg2"/>
          </a:solidFill>
          <a:ln w="9525" cap="flat">
            <a:noFill/>
            <a:prstDash val="solid"/>
            <a:miter/>
          </a:ln>
        </p:spPr>
        <p:txBody>
          <a:bodyPr rtlCol="0" anchor="ctr"/>
          <a:lstStyle/>
          <a:p>
            <a:endParaRPr lang="en-US" dirty="0">
              <a:latin typeface="Arial Narrow" charset="0"/>
            </a:endParaRPr>
          </a:p>
        </p:txBody>
      </p:sp>
      <p:sp>
        <p:nvSpPr>
          <p:cNvPr id="41" name="Graphic 4">
            <a:extLst>
              <a:ext uri="{FF2B5EF4-FFF2-40B4-BE49-F238E27FC236}">
                <a16:creationId xmlns:a16="http://schemas.microsoft.com/office/drawing/2014/main" id="{46DB4BDE-79A8-2968-FE97-1F09883F3E39}"/>
              </a:ext>
            </a:extLst>
          </p:cNvPr>
          <p:cNvSpPr>
            <a:spLocks noChangeAspect="1"/>
          </p:cNvSpPr>
          <p:nvPr/>
        </p:nvSpPr>
        <p:spPr>
          <a:xfrm>
            <a:off x="539750" y="4337974"/>
            <a:ext cx="354036" cy="437754"/>
          </a:xfrm>
          <a:custGeom>
            <a:avLst/>
            <a:gdLst>
              <a:gd name="connsiteX0" fmla="*/ 26050 w 2183632"/>
              <a:gd name="connsiteY0" fmla="*/ 2644616 h 2699959"/>
              <a:gd name="connsiteX1" fmla="*/ 135111 w 2183632"/>
              <a:gd name="connsiteY1" fmla="*/ 2699957 h 2699959"/>
              <a:gd name="connsiteX2" fmla="*/ 2048684 w 2183632"/>
              <a:gd name="connsiteY2" fmla="*/ 2699957 h 2699959"/>
              <a:gd name="connsiteX3" fmla="*/ 2183606 w 2183632"/>
              <a:gd name="connsiteY3" fmla="*/ 2564940 h 2699959"/>
              <a:gd name="connsiteX4" fmla="*/ 2177272 w 2183632"/>
              <a:gd name="connsiteY4" fmla="*/ 2524125 h 2699959"/>
              <a:gd name="connsiteX5" fmla="*/ 2117359 w 2183632"/>
              <a:gd name="connsiteY5" fmla="*/ 2336483 h 2699959"/>
              <a:gd name="connsiteX6" fmla="*/ 1832562 w 2183632"/>
              <a:gd name="connsiteY6" fmla="*/ 2030635 h 2699959"/>
              <a:gd name="connsiteX7" fmla="*/ 1827037 w 2183632"/>
              <a:gd name="connsiteY7" fmla="*/ 2028063 h 2699959"/>
              <a:gd name="connsiteX8" fmla="*/ 1641109 w 2183632"/>
              <a:gd name="connsiteY8" fmla="*/ 1981867 h 2699959"/>
              <a:gd name="connsiteX9" fmla="*/ 1631584 w 2183632"/>
              <a:gd name="connsiteY9" fmla="*/ 1979962 h 2699959"/>
              <a:gd name="connsiteX10" fmla="*/ 1625964 w 2183632"/>
              <a:gd name="connsiteY10" fmla="*/ 1981105 h 2699959"/>
              <a:gd name="connsiteX11" fmla="*/ 1602723 w 2183632"/>
              <a:gd name="connsiteY11" fmla="*/ 1979962 h 2699959"/>
              <a:gd name="connsiteX12" fmla="*/ 1479946 w 2183632"/>
              <a:gd name="connsiteY12" fmla="*/ 1979962 h 2699959"/>
              <a:gd name="connsiteX13" fmla="*/ 1464611 w 2183632"/>
              <a:gd name="connsiteY13" fmla="*/ 1711928 h 2699959"/>
              <a:gd name="connsiteX14" fmla="*/ 1488614 w 2183632"/>
              <a:gd name="connsiteY14" fmla="*/ 1570101 h 2699959"/>
              <a:gd name="connsiteX15" fmla="*/ 1586626 w 2183632"/>
              <a:gd name="connsiteY15" fmla="*/ 1349407 h 2699959"/>
              <a:gd name="connsiteX16" fmla="*/ 1604057 w 2183632"/>
              <a:gd name="connsiteY16" fmla="*/ 1352264 h 2699959"/>
              <a:gd name="connsiteX17" fmla="*/ 1628155 w 2183632"/>
              <a:gd name="connsiteY17" fmla="*/ 1348264 h 2699959"/>
              <a:gd name="connsiteX18" fmla="*/ 1721881 w 2183632"/>
              <a:gd name="connsiteY18" fmla="*/ 1034987 h 2699959"/>
              <a:gd name="connsiteX19" fmla="*/ 1709594 w 2183632"/>
              <a:gd name="connsiteY19" fmla="*/ 944975 h 2699959"/>
              <a:gd name="connsiteX20" fmla="*/ 1811893 w 2183632"/>
              <a:gd name="connsiteY20" fmla="*/ 944975 h 2699959"/>
              <a:gd name="connsiteX21" fmla="*/ 1811893 w 2183632"/>
              <a:gd name="connsiteY21" fmla="*/ 764953 h 2699959"/>
              <a:gd name="connsiteX22" fmla="*/ 1721881 w 2183632"/>
              <a:gd name="connsiteY22" fmla="*/ 638175 h 2699959"/>
              <a:gd name="connsiteX23" fmla="*/ 1721881 w 2183632"/>
              <a:gd name="connsiteY23" fmla="*/ 539972 h 2699959"/>
              <a:gd name="connsiteX24" fmla="*/ 1309163 w 2183632"/>
              <a:gd name="connsiteY24" fmla="*/ 92297 h 2699959"/>
              <a:gd name="connsiteX25" fmla="*/ 1181909 w 2183632"/>
              <a:gd name="connsiteY25" fmla="*/ 0 h 2699959"/>
              <a:gd name="connsiteX26" fmla="*/ 973788 w 2183632"/>
              <a:gd name="connsiteY26" fmla="*/ 0 h 2699959"/>
              <a:gd name="connsiteX27" fmla="*/ 845486 w 2183632"/>
              <a:gd name="connsiteY27" fmla="*/ 95250 h 2699959"/>
              <a:gd name="connsiteX28" fmla="*/ 461914 w 2183632"/>
              <a:gd name="connsiteY28" fmla="*/ 539972 h 2699959"/>
              <a:gd name="connsiteX29" fmla="*/ 461914 w 2183632"/>
              <a:gd name="connsiteY29" fmla="*/ 638175 h 2699959"/>
              <a:gd name="connsiteX30" fmla="*/ 371903 w 2183632"/>
              <a:gd name="connsiteY30" fmla="*/ 764858 h 2699959"/>
              <a:gd name="connsiteX31" fmla="*/ 371903 w 2183632"/>
              <a:gd name="connsiteY31" fmla="*/ 944880 h 2699959"/>
              <a:gd name="connsiteX32" fmla="*/ 474201 w 2183632"/>
              <a:gd name="connsiteY32" fmla="*/ 944880 h 2699959"/>
              <a:gd name="connsiteX33" fmla="*/ 461914 w 2183632"/>
              <a:gd name="connsiteY33" fmla="*/ 1034891 h 2699959"/>
              <a:gd name="connsiteX34" fmla="*/ 555640 w 2183632"/>
              <a:gd name="connsiteY34" fmla="*/ 1348169 h 2699959"/>
              <a:gd name="connsiteX35" fmla="*/ 580024 w 2183632"/>
              <a:gd name="connsiteY35" fmla="*/ 1352550 h 2699959"/>
              <a:gd name="connsiteX36" fmla="*/ 597455 w 2183632"/>
              <a:gd name="connsiteY36" fmla="*/ 1349693 h 2699959"/>
              <a:gd name="connsiteX37" fmla="*/ 695372 w 2183632"/>
              <a:gd name="connsiteY37" fmla="*/ 1570387 h 2699959"/>
              <a:gd name="connsiteX38" fmla="*/ 719470 w 2183632"/>
              <a:gd name="connsiteY38" fmla="*/ 1712405 h 2699959"/>
              <a:gd name="connsiteX39" fmla="*/ 703849 w 2183632"/>
              <a:gd name="connsiteY39" fmla="*/ 1979962 h 2699959"/>
              <a:gd name="connsiteX40" fmla="*/ 580786 w 2183632"/>
              <a:gd name="connsiteY40" fmla="*/ 1979962 h 2699959"/>
              <a:gd name="connsiteX41" fmla="*/ 557545 w 2183632"/>
              <a:gd name="connsiteY41" fmla="*/ 1981105 h 2699959"/>
              <a:gd name="connsiteX42" fmla="*/ 551925 w 2183632"/>
              <a:gd name="connsiteY42" fmla="*/ 1979962 h 2699959"/>
              <a:gd name="connsiteX43" fmla="*/ 542400 w 2183632"/>
              <a:gd name="connsiteY43" fmla="*/ 1981867 h 2699959"/>
              <a:gd name="connsiteX44" fmla="*/ 356377 w 2183632"/>
              <a:gd name="connsiteY44" fmla="*/ 2028063 h 2699959"/>
              <a:gd name="connsiteX45" fmla="*/ 350948 w 2183632"/>
              <a:gd name="connsiteY45" fmla="*/ 2030635 h 2699959"/>
              <a:gd name="connsiteX46" fmla="*/ 65198 w 2183632"/>
              <a:gd name="connsiteY46" fmla="*/ 2338673 h 2699959"/>
              <a:gd name="connsiteX47" fmla="*/ 6524 w 2183632"/>
              <a:gd name="connsiteY47" fmla="*/ 2524125 h 2699959"/>
              <a:gd name="connsiteX48" fmla="*/ 26050 w 2183632"/>
              <a:gd name="connsiteY48" fmla="*/ 2644616 h 2699959"/>
              <a:gd name="connsiteX49" fmla="*/ 1856851 w 2183632"/>
              <a:gd name="connsiteY49" fmla="*/ 2146459 h 2699959"/>
              <a:gd name="connsiteX50" fmla="*/ 2032396 w 2183632"/>
              <a:gd name="connsiteY50" fmla="*/ 2366010 h 2699959"/>
              <a:gd name="connsiteX51" fmla="*/ 2091547 w 2183632"/>
              <a:gd name="connsiteY51" fmla="*/ 2551366 h 2699959"/>
              <a:gd name="connsiteX52" fmla="*/ 2062337 w 2183632"/>
              <a:gd name="connsiteY52" fmla="*/ 2607840 h 2699959"/>
              <a:gd name="connsiteX53" fmla="*/ 2062305 w 2183632"/>
              <a:gd name="connsiteY53" fmla="*/ 2607850 h 2699959"/>
              <a:gd name="connsiteX54" fmla="*/ 2048684 w 2183632"/>
              <a:gd name="connsiteY54" fmla="*/ 2610041 h 2699959"/>
              <a:gd name="connsiteX55" fmla="*/ 1856851 w 2183632"/>
              <a:gd name="connsiteY55" fmla="*/ 2610041 h 2699959"/>
              <a:gd name="connsiteX56" fmla="*/ 1676923 w 2183632"/>
              <a:gd name="connsiteY56" fmla="*/ 2076450 h 2699959"/>
              <a:gd name="connsiteX57" fmla="*/ 1766934 w 2183632"/>
              <a:gd name="connsiteY57" fmla="*/ 2100548 h 2699959"/>
              <a:gd name="connsiteX58" fmla="*/ 1766934 w 2183632"/>
              <a:gd name="connsiteY58" fmla="*/ 2609850 h 2699959"/>
              <a:gd name="connsiteX59" fmla="*/ 1676923 w 2183632"/>
              <a:gd name="connsiteY59" fmla="*/ 2609850 h 2699959"/>
              <a:gd name="connsiteX60" fmla="*/ 1496901 w 2183632"/>
              <a:gd name="connsiteY60" fmla="*/ 2070068 h 2699959"/>
              <a:gd name="connsiteX61" fmla="*/ 1586912 w 2183632"/>
              <a:gd name="connsiteY61" fmla="*/ 2070068 h 2699959"/>
              <a:gd name="connsiteX62" fmla="*/ 1586912 w 2183632"/>
              <a:gd name="connsiteY62" fmla="*/ 2609850 h 2699959"/>
              <a:gd name="connsiteX63" fmla="*/ 1496901 w 2183632"/>
              <a:gd name="connsiteY63" fmla="*/ 2609850 h 2699959"/>
              <a:gd name="connsiteX64" fmla="*/ 1046749 w 2183632"/>
              <a:gd name="connsiteY64" fmla="*/ 2609850 h 2699959"/>
              <a:gd name="connsiteX65" fmla="*/ 776906 w 2183632"/>
              <a:gd name="connsiteY65" fmla="*/ 2609850 h 2699959"/>
              <a:gd name="connsiteX66" fmla="*/ 776906 w 2183632"/>
              <a:gd name="connsiteY66" fmla="*/ 2111407 h 2699959"/>
              <a:gd name="connsiteX67" fmla="*/ 833294 w 2183632"/>
              <a:gd name="connsiteY67" fmla="*/ 2181701 h 2699959"/>
              <a:gd name="connsiteX68" fmla="*/ 1046844 w 2183632"/>
              <a:gd name="connsiteY68" fmla="*/ 2377250 h 2699959"/>
              <a:gd name="connsiteX69" fmla="*/ 904446 w 2183632"/>
              <a:gd name="connsiteY69" fmla="*/ 2126456 h 2699959"/>
              <a:gd name="connsiteX70" fmla="*/ 792051 w 2183632"/>
              <a:gd name="connsiteY70" fmla="*/ 2000250 h 2699959"/>
              <a:gd name="connsiteX71" fmla="*/ 808624 w 2183632"/>
              <a:gd name="connsiteY71" fmla="*/ 1701737 h 2699959"/>
              <a:gd name="connsiteX72" fmla="*/ 806814 w 2183632"/>
              <a:gd name="connsiteY72" fmla="*/ 1688973 h 2699959"/>
              <a:gd name="connsiteX73" fmla="*/ 895206 w 2183632"/>
              <a:gd name="connsiteY73" fmla="*/ 1766030 h 2699959"/>
              <a:gd name="connsiteX74" fmla="*/ 1288589 w 2183632"/>
              <a:gd name="connsiteY74" fmla="*/ 1766030 h 2699959"/>
              <a:gd name="connsiteX75" fmla="*/ 1377172 w 2183632"/>
              <a:gd name="connsiteY75" fmla="*/ 1688878 h 2699959"/>
              <a:gd name="connsiteX76" fmla="*/ 1375362 w 2183632"/>
              <a:gd name="connsiteY76" fmla="*/ 1701451 h 2699959"/>
              <a:gd name="connsiteX77" fmla="*/ 1391745 w 2183632"/>
              <a:gd name="connsiteY77" fmla="*/ 2000536 h 2699959"/>
              <a:gd name="connsiteX78" fmla="*/ 1279350 w 2183632"/>
              <a:gd name="connsiteY78" fmla="*/ 2126552 h 2699959"/>
              <a:gd name="connsiteX79" fmla="*/ 1091993 w 2183632"/>
              <a:gd name="connsiteY79" fmla="*/ 2294858 h 2699959"/>
              <a:gd name="connsiteX80" fmla="*/ 904541 w 2183632"/>
              <a:gd name="connsiteY80" fmla="*/ 2126647 h 2699959"/>
              <a:gd name="connsiteX81" fmla="*/ 1406889 w 2183632"/>
              <a:gd name="connsiteY81" fmla="*/ 2609850 h 2699959"/>
              <a:gd name="connsiteX82" fmla="*/ 1136856 w 2183632"/>
              <a:gd name="connsiteY82" fmla="*/ 2609850 h 2699959"/>
              <a:gd name="connsiteX83" fmla="*/ 1136856 w 2183632"/>
              <a:gd name="connsiteY83" fmla="*/ 2377250 h 2699959"/>
              <a:gd name="connsiteX84" fmla="*/ 1350501 w 2183632"/>
              <a:gd name="connsiteY84" fmla="*/ 2181701 h 2699959"/>
              <a:gd name="connsiteX85" fmla="*/ 1406889 w 2183632"/>
              <a:gd name="connsiteY85" fmla="*/ 2111407 h 2699959"/>
              <a:gd name="connsiteX86" fmla="*/ 1601104 w 2183632"/>
              <a:gd name="connsiteY86" fmla="*/ 1258253 h 2699959"/>
              <a:gd name="connsiteX87" fmla="*/ 1582054 w 2183632"/>
              <a:gd name="connsiteY87" fmla="*/ 1237583 h 2699959"/>
              <a:gd name="connsiteX88" fmla="*/ 1607676 w 2183632"/>
              <a:gd name="connsiteY88" fmla="*/ 976979 h 2699959"/>
              <a:gd name="connsiteX89" fmla="*/ 1622726 w 2183632"/>
              <a:gd name="connsiteY89" fmla="*/ 968216 h 2699959"/>
              <a:gd name="connsiteX90" fmla="*/ 1632251 w 2183632"/>
              <a:gd name="connsiteY90" fmla="*/ 1034891 h 2699959"/>
              <a:gd name="connsiteX91" fmla="*/ 1601104 w 2183632"/>
              <a:gd name="connsiteY91" fmla="*/ 1258443 h 2699959"/>
              <a:gd name="connsiteX92" fmla="*/ 1316878 w 2183632"/>
              <a:gd name="connsiteY92" fmla="*/ 183166 h 2699959"/>
              <a:gd name="connsiteX93" fmla="*/ 1631870 w 2183632"/>
              <a:gd name="connsiteY93" fmla="*/ 539972 h 2699959"/>
              <a:gd name="connsiteX94" fmla="*/ 1631870 w 2183632"/>
              <a:gd name="connsiteY94" fmla="*/ 629984 h 2699959"/>
              <a:gd name="connsiteX95" fmla="*/ 1316878 w 2183632"/>
              <a:gd name="connsiteY95" fmla="*/ 629984 h 2699959"/>
              <a:gd name="connsiteX96" fmla="*/ 928734 w 2183632"/>
              <a:gd name="connsiteY96" fmla="*/ 134969 h 2699959"/>
              <a:gd name="connsiteX97" fmla="*/ 973692 w 2183632"/>
              <a:gd name="connsiteY97" fmla="*/ 90011 h 2699959"/>
              <a:gd name="connsiteX98" fmla="*/ 973788 w 2183632"/>
              <a:gd name="connsiteY98" fmla="*/ 90011 h 2699959"/>
              <a:gd name="connsiteX99" fmla="*/ 1181909 w 2183632"/>
              <a:gd name="connsiteY99" fmla="*/ 90011 h 2699959"/>
              <a:gd name="connsiteX100" fmla="*/ 1226867 w 2183632"/>
              <a:gd name="connsiteY100" fmla="*/ 134969 h 2699959"/>
              <a:gd name="connsiteX101" fmla="*/ 1226867 w 2183632"/>
              <a:gd name="connsiteY101" fmla="*/ 630269 h 2699959"/>
              <a:gd name="connsiteX102" fmla="*/ 928734 w 2183632"/>
              <a:gd name="connsiteY102" fmla="*/ 630269 h 2699959"/>
              <a:gd name="connsiteX103" fmla="*/ 551925 w 2183632"/>
              <a:gd name="connsiteY103" fmla="*/ 539972 h 2699959"/>
              <a:gd name="connsiteX104" fmla="*/ 838723 w 2183632"/>
              <a:gd name="connsiteY104" fmla="*/ 187547 h 2699959"/>
              <a:gd name="connsiteX105" fmla="*/ 838723 w 2183632"/>
              <a:gd name="connsiteY105" fmla="*/ 629984 h 2699959"/>
              <a:gd name="connsiteX106" fmla="*/ 551925 w 2183632"/>
              <a:gd name="connsiteY106" fmla="*/ 629984 h 2699959"/>
              <a:gd name="connsiteX107" fmla="*/ 461914 w 2183632"/>
              <a:gd name="connsiteY107" fmla="*/ 854964 h 2699959"/>
              <a:gd name="connsiteX108" fmla="*/ 461914 w 2183632"/>
              <a:gd name="connsiteY108" fmla="*/ 764953 h 2699959"/>
              <a:gd name="connsiteX109" fmla="*/ 506872 w 2183632"/>
              <a:gd name="connsiteY109" fmla="*/ 719995 h 2699959"/>
              <a:gd name="connsiteX110" fmla="*/ 1676923 w 2183632"/>
              <a:gd name="connsiteY110" fmla="*/ 719995 h 2699959"/>
              <a:gd name="connsiteX111" fmla="*/ 1721881 w 2183632"/>
              <a:gd name="connsiteY111" fmla="*/ 764953 h 2699959"/>
              <a:gd name="connsiteX112" fmla="*/ 1721881 w 2183632"/>
              <a:gd name="connsiteY112" fmla="*/ 854964 h 2699959"/>
              <a:gd name="connsiteX113" fmla="*/ 582691 w 2183632"/>
              <a:gd name="connsiteY113" fmla="*/ 1258443 h 2699959"/>
              <a:gd name="connsiteX114" fmla="*/ 551925 w 2183632"/>
              <a:gd name="connsiteY114" fmla="*/ 1034987 h 2699959"/>
              <a:gd name="connsiteX115" fmla="*/ 561450 w 2183632"/>
              <a:gd name="connsiteY115" fmla="*/ 968312 h 2699959"/>
              <a:gd name="connsiteX116" fmla="*/ 576595 w 2183632"/>
              <a:gd name="connsiteY116" fmla="*/ 977170 h 2699959"/>
              <a:gd name="connsiteX117" fmla="*/ 601932 w 2183632"/>
              <a:gd name="connsiteY117" fmla="*/ 1238250 h 2699959"/>
              <a:gd name="connsiteX118" fmla="*/ 582691 w 2183632"/>
              <a:gd name="connsiteY118" fmla="*/ 1258443 h 2699959"/>
              <a:gd name="connsiteX119" fmla="*/ 686895 w 2183632"/>
              <a:gd name="connsiteY119" fmla="*/ 1346359 h 2699959"/>
              <a:gd name="connsiteX120" fmla="*/ 688038 w 2183632"/>
              <a:gd name="connsiteY120" fmla="*/ 1317212 h 2699959"/>
              <a:gd name="connsiteX121" fmla="*/ 661177 w 2183632"/>
              <a:gd name="connsiteY121" fmla="*/ 944975 h 2699959"/>
              <a:gd name="connsiteX122" fmla="*/ 1522999 w 2183632"/>
              <a:gd name="connsiteY122" fmla="*/ 944975 h 2699959"/>
              <a:gd name="connsiteX123" fmla="*/ 1496043 w 2183632"/>
              <a:gd name="connsiteY123" fmla="*/ 1316927 h 2699959"/>
              <a:gd name="connsiteX124" fmla="*/ 1497282 w 2183632"/>
              <a:gd name="connsiteY124" fmla="*/ 1346359 h 2699959"/>
              <a:gd name="connsiteX125" fmla="*/ 1232106 w 2183632"/>
              <a:gd name="connsiteY125" fmla="*/ 1696307 h 2699959"/>
              <a:gd name="connsiteX126" fmla="*/ 952261 w 2183632"/>
              <a:gd name="connsiteY126" fmla="*/ 1696307 h 2699959"/>
              <a:gd name="connsiteX127" fmla="*/ 686895 w 2183632"/>
              <a:gd name="connsiteY127" fmla="*/ 1346359 h 2699959"/>
              <a:gd name="connsiteX128" fmla="*/ 596883 w 2183632"/>
              <a:gd name="connsiteY128" fmla="*/ 2070259 h 2699959"/>
              <a:gd name="connsiteX129" fmla="*/ 686895 w 2183632"/>
              <a:gd name="connsiteY129" fmla="*/ 2070259 h 2699959"/>
              <a:gd name="connsiteX130" fmla="*/ 686895 w 2183632"/>
              <a:gd name="connsiteY130" fmla="*/ 2609850 h 2699959"/>
              <a:gd name="connsiteX131" fmla="*/ 596883 w 2183632"/>
              <a:gd name="connsiteY131" fmla="*/ 2609850 h 2699959"/>
              <a:gd name="connsiteX132" fmla="*/ 416861 w 2183632"/>
              <a:gd name="connsiteY132" fmla="*/ 2100739 h 2699959"/>
              <a:gd name="connsiteX133" fmla="*/ 506872 w 2183632"/>
              <a:gd name="connsiteY133" fmla="*/ 2076450 h 2699959"/>
              <a:gd name="connsiteX134" fmla="*/ 506872 w 2183632"/>
              <a:gd name="connsiteY134" fmla="*/ 2609850 h 2699959"/>
              <a:gd name="connsiteX135" fmla="*/ 416861 w 2183632"/>
              <a:gd name="connsiteY135" fmla="*/ 2609850 h 2699959"/>
              <a:gd name="connsiteX136" fmla="*/ 92249 w 2183632"/>
              <a:gd name="connsiteY136" fmla="*/ 2551271 h 2699959"/>
              <a:gd name="connsiteX137" fmla="*/ 150637 w 2183632"/>
              <a:gd name="connsiteY137" fmla="*/ 2368106 h 2699959"/>
              <a:gd name="connsiteX138" fmla="*/ 326850 w 2183632"/>
              <a:gd name="connsiteY138" fmla="*/ 2146459 h 2699959"/>
              <a:gd name="connsiteX139" fmla="*/ 326850 w 2183632"/>
              <a:gd name="connsiteY139" fmla="*/ 2609850 h 2699959"/>
              <a:gd name="connsiteX140" fmla="*/ 135111 w 2183632"/>
              <a:gd name="connsiteY140" fmla="*/ 2609850 h 2699959"/>
              <a:gd name="connsiteX141" fmla="*/ 90146 w 2183632"/>
              <a:gd name="connsiteY141" fmla="*/ 2564520 h 2699959"/>
              <a:gd name="connsiteX142" fmla="*/ 92249 w 2183632"/>
              <a:gd name="connsiteY142" fmla="*/ 2551081 h 269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2183632" h="2699959">
                <a:moveTo>
                  <a:pt x="26050" y="2644616"/>
                </a:moveTo>
                <a:cubicBezTo>
                  <a:pt x="51303" y="2679629"/>
                  <a:pt x="91943" y="2700250"/>
                  <a:pt x="135111" y="2699957"/>
                </a:cubicBezTo>
                <a:lnTo>
                  <a:pt x="2048684" y="2699957"/>
                </a:lnTo>
                <a:cubicBezTo>
                  <a:pt x="2123226" y="2699930"/>
                  <a:pt x="2183632" y="2639481"/>
                  <a:pt x="2183606" y="2564940"/>
                </a:cubicBezTo>
                <a:cubicBezTo>
                  <a:pt x="2183601" y="2551090"/>
                  <a:pt x="2181465" y="2537324"/>
                  <a:pt x="2177272" y="2524125"/>
                </a:cubicBezTo>
                <a:lnTo>
                  <a:pt x="2117359" y="2336483"/>
                </a:lnTo>
                <a:cubicBezTo>
                  <a:pt x="2066638" y="2200864"/>
                  <a:pt x="1964225" y="2090882"/>
                  <a:pt x="1832562" y="2030635"/>
                </a:cubicBezTo>
                <a:cubicBezTo>
                  <a:pt x="1830775" y="2029664"/>
                  <a:pt x="1828930" y="2028805"/>
                  <a:pt x="1827037" y="2028063"/>
                </a:cubicBezTo>
                <a:cubicBezTo>
                  <a:pt x="1768282" y="2001788"/>
                  <a:pt x="1705330" y="1986147"/>
                  <a:pt x="1641109" y="1981867"/>
                </a:cubicBezTo>
                <a:cubicBezTo>
                  <a:pt x="1638016" y="1980875"/>
                  <a:pt x="1634821" y="1980235"/>
                  <a:pt x="1631584" y="1979962"/>
                </a:cubicBezTo>
                <a:cubicBezTo>
                  <a:pt x="1629679" y="1979962"/>
                  <a:pt x="1627869" y="1980629"/>
                  <a:pt x="1625964" y="1981105"/>
                </a:cubicBezTo>
                <a:cubicBezTo>
                  <a:pt x="1618154" y="1981105"/>
                  <a:pt x="1610534" y="1979962"/>
                  <a:pt x="1602723" y="1979962"/>
                </a:cubicBezTo>
                <a:lnTo>
                  <a:pt x="1479946" y="1979962"/>
                </a:lnTo>
                <a:cubicBezTo>
                  <a:pt x="1453478" y="1893128"/>
                  <a:pt x="1448219" y="1801214"/>
                  <a:pt x="1464611" y="1711928"/>
                </a:cubicBezTo>
                <a:cubicBezTo>
                  <a:pt x="1470229" y="1664280"/>
                  <a:pt x="1478240" y="1616945"/>
                  <a:pt x="1488614" y="1570101"/>
                </a:cubicBezTo>
                <a:cubicBezTo>
                  <a:pt x="1544403" y="1509144"/>
                  <a:pt x="1578810" y="1431669"/>
                  <a:pt x="1586626" y="1349407"/>
                </a:cubicBezTo>
                <a:cubicBezTo>
                  <a:pt x="1592306" y="1351032"/>
                  <a:pt x="1598156" y="1351991"/>
                  <a:pt x="1604057" y="1352264"/>
                </a:cubicBezTo>
                <a:cubicBezTo>
                  <a:pt x="1612255" y="1352268"/>
                  <a:pt x="1620398" y="1350916"/>
                  <a:pt x="1628155" y="1348264"/>
                </a:cubicBezTo>
                <a:cubicBezTo>
                  <a:pt x="1651396" y="1340549"/>
                  <a:pt x="1721881" y="1317022"/>
                  <a:pt x="1721881" y="1034987"/>
                </a:cubicBezTo>
                <a:cubicBezTo>
                  <a:pt x="1722623" y="1004519"/>
                  <a:pt x="1718475" y="974129"/>
                  <a:pt x="1709594" y="944975"/>
                </a:cubicBezTo>
                <a:lnTo>
                  <a:pt x="1811893" y="944975"/>
                </a:lnTo>
                <a:lnTo>
                  <a:pt x="1811893" y="764953"/>
                </a:lnTo>
                <a:cubicBezTo>
                  <a:pt x="1811745" y="707902"/>
                  <a:pt x="1775693" y="657125"/>
                  <a:pt x="1721881" y="638175"/>
                </a:cubicBezTo>
                <a:lnTo>
                  <a:pt x="1721881" y="539972"/>
                </a:lnTo>
                <a:cubicBezTo>
                  <a:pt x="1721314" y="306261"/>
                  <a:pt x="1542058" y="111822"/>
                  <a:pt x="1309163" y="92297"/>
                </a:cubicBezTo>
                <a:cubicBezTo>
                  <a:pt x="1290962" y="37400"/>
                  <a:pt x="1239744" y="252"/>
                  <a:pt x="1181909" y="0"/>
                </a:cubicBezTo>
                <a:lnTo>
                  <a:pt x="973788" y="0"/>
                </a:lnTo>
                <a:cubicBezTo>
                  <a:pt x="914781" y="241"/>
                  <a:pt x="862791" y="38837"/>
                  <a:pt x="845486" y="95250"/>
                </a:cubicBezTo>
                <a:cubicBezTo>
                  <a:pt x="625427" y="128568"/>
                  <a:pt x="462555" y="317406"/>
                  <a:pt x="461914" y="539972"/>
                </a:cubicBezTo>
                <a:lnTo>
                  <a:pt x="461914" y="638175"/>
                </a:lnTo>
                <a:cubicBezTo>
                  <a:pt x="408135" y="657113"/>
                  <a:pt x="372091" y="707842"/>
                  <a:pt x="371903" y="764858"/>
                </a:cubicBezTo>
                <a:lnTo>
                  <a:pt x="371903" y="944880"/>
                </a:lnTo>
                <a:lnTo>
                  <a:pt x="474201" y="944880"/>
                </a:lnTo>
                <a:cubicBezTo>
                  <a:pt x="465321" y="974034"/>
                  <a:pt x="461172" y="1004424"/>
                  <a:pt x="461914" y="1034891"/>
                </a:cubicBezTo>
                <a:cubicBezTo>
                  <a:pt x="461914" y="1316927"/>
                  <a:pt x="532399" y="1340453"/>
                  <a:pt x="555640" y="1348169"/>
                </a:cubicBezTo>
                <a:cubicBezTo>
                  <a:pt x="563464" y="1350990"/>
                  <a:pt x="571708" y="1352472"/>
                  <a:pt x="580024" y="1352550"/>
                </a:cubicBezTo>
                <a:cubicBezTo>
                  <a:pt x="585926" y="1352277"/>
                  <a:pt x="591775" y="1351318"/>
                  <a:pt x="597455" y="1349693"/>
                </a:cubicBezTo>
                <a:cubicBezTo>
                  <a:pt x="605305" y="1431927"/>
                  <a:pt x="639671" y="1509383"/>
                  <a:pt x="695372" y="1570387"/>
                </a:cubicBezTo>
                <a:cubicBezTo>
                  <a:pt x="705823" y="1617284"/>
                  <a:pt x="713866" y="1664685"/>
                  <a:pt x="719470" y="1712405"/>
                </a:cubicBezTo>
                <a:cubicBezTo>
                  <a:pt x="735726" y="1801557"/>
                  <a:pt x="730369" y="1893307"/>
                  <a:pt x="703849" y="1979962"/>
                </a:cubicBezTo>
                <a:lnTo>
                  <a:pt x="580786" y="1979962"/>
                </a:lnTo>
                <a:cubicBezTo>
                  <a:pt x="572976" y="1979962"/>
                  <a:pt x="565260" y="1980819"/>
                  <a:pt x="557545" y="1981105"/>
                </a:cubicBezTo>
                <a:cubicBezTo>
                  <a:pt x="555640" y="1980629"/>
                  <a:pt x="553830" y="1980248"/>
                  <a:pt x="551925" y="1979962"/>
                </a:cubicBezTo>
                <a:cubicBezTo>
                  <a:pt x="548689" y="1980235"/>
                  <a:pt x="545493" y="1980875"/>
                  <a:pt x="542400" y="1981867"/>
                </a:cubicBezTo>
                <a:cubicBezTo>
                  <a:pt x="478151" y="1986160"/>
                  <a:pt x="415170" y="2001800"/>
                  <a:pt x="356377" y="2028063"/>
                </a:cubicBezTo>
                <a:cubicBezTo>
                  <a:pt x="354523" y="2028824"/>
                  <a:pt x="352711" y="2029682"/>
                  <a:pt x="350948" y="2030635"/>
                </a:cubicBezTo>
                <a:cubicBezTo>
                  <a:pt x="218483" y="2091172"/>
                  <a:pt x="115634" y="2202043"/>
                  <a:pt x="65198" y="2338673"/>
                </a:cubicBezTo>
                <a:lnTo>
                  <a:pt x="6524" y="2524125"/>
                </a:lnTo>
                <a:cubicBezTo>
                  <a:pt x="-6810" y="2565085"/>
                  <a:pt x="462" y="2609964"/>
                  <a:pt x="26050" y="2644616"/>
                </a:cubicBezTo>
                <a:close/>
                <a:moveTo>
                  <a:pt x="1856851" y="2146459"/>
                </a:moveTo>
                <a:cubicBezTo>
                  <a:pt x="1936799" y="2199578"/>
                  <a:pt x="1998170" y="2276333"/>
                  <a:pt x="2032396" y="2366010"/>
                </a:cubicBezTo>
                <a:lnTo>
                  <a:pt x="2091547" y="2551366"/>
                </a:lnTo>
                <a:cubicBezTo>
                  <a:pt x="2099075" y="2575027"/>
                  <a:pt x="2085997" y="2600311"/>
                  <a:pt x="2062337" y="2607840"/>
                </a:cubicBezTo>
                <a:cubicBezTo>
                  <a:pt x="2062326" y="2607843"/>
                  <a:pt x="2062315" y="2607846"/>
                  <a:pt x="2062305" y="2607850"/>
                </a:cubicBezTo>
                <a:cubicBezTo>
                  <a:pt x="2057907" y="2609287"/>
                  <a:pt x="2053311" y="2610026"/>
                  <a:pt x="2048684" y="2610041"/>
                </a:cubicBezTo>
                <a:lnTo>
                  <a:pt x="1856851" y="2610041"/>
                </a:lnTo>
                <a:close/>
                <a:moveTo>
                  <a:pt x="1676923" y="2076450"/>
                </a:moveTo>
                <a:cubicBezTo>
                  <a:pt x="1707663" y="2081428"/>
                  <a:pt x="1737820" y="2089502"/>
                  <a:pt x="1766934" y="2100548"/>
                </a:cubicBezTo>
                <a:lnTo>
                  <a:pt x="1766934" y="2609850"/>
                </a:lnTo>
                <a:lnTo>
                  <a:pt x="1676923" y="2609850"/>
                </a:lnTo>
                <a:close/>
                <a:moveTo>
                  <a:pt x="1496901" y="2070068"/>
                </a:moveTo>
                <a:lnTo>
                  <a:pt x="1586912" y="2070068"/>
                </a:lnTo>
                <a:lnTo>
                  <a:pt x="1586912" y="2609850"/>
                </a:lnTo>
                <a:lnTo>
                  <a:pt x="1496901" y="2609850"/>
                </a:lnTo>
                <a:close/>
                <a:moveTo>
                  <a:pt x="1046749" y="2609850"/>
                </a:moveTo>
                <a:lnTo>
                  <a:pt x="776906" y="2609850"/>
                </a:lnTo>
                <a:lnTo>
                  <a:pt x="776906" y="2111407"/>
                </a:lnTo>
                <a:cubicBezTo>
                  <a:pt x="795956" y="2133124"/>
                  <a:pt x="815006" y="2159032"/>
                  <a:pt x="833294" y="2181701"/>
                </a:cubicBezTo>
                <a:cubicBezTo>
                  <a:pt x="895683" y="2262473"/>
                  <a:pt x="965215" y="2351723"/>
                  <a:pt x="1046844" y="2377250"/>
                </a:cubicBezTo>
                <a:close/>
                <a:moveTo>
                  <a:pt x="904446" y="2126456"/>
                </a:moveTo>
                <a:cubicBezTo>
                  <a:pt x="872078" y="2080111"/>
                  <a:pt x="834352" y="2037749"/>
                  <a:pt x="792051" y="2000250"/>
                </a:cubicBezTo>
                <a:cubicBezTo>
                  <a:pt x="819738" y="1903222"/>
                  <a:pt x="825400" y="1801234"/>
                  <a:pt x="808624" y="1701737"/>
                </a:cubicBezTo>
                <a:cubicBezTo>
                  <a:pt x="808624" y="1697546"/>
                  <a:pt x="807291" y="1693164"/>
                  <a:pt x="806814" y="1688973"/>
                </a:cubicBezTo>
                <a:cubicBezTo>
                  <a:pt x="833961" y="1714214"/>
                  <a:pt x="862821" y="1739741"/>
                  <a:pt x="895206" y="1766030"/>
                </a:cubicBezTo>
                <a:cubicBezTo>
                  <a:pt x="1009874" y="1858948"/>
                  <a:pt x="1173922" y="1858948"/>
                  <a:pt x="1288589" y="1766030"/>
                </a:cubicBezTo>
                <a:cubicBezTo>
                  <a:pt x="1321069" y="1739741"/>
                  <a:pt x="1349930" y="1714119"/>
                  <a:pt x="1377172" y="1688878"/>
                </a:cubicBezTo>
                <a:cubicBezTo>
                  <a:pt x="1376600" y="1692974"/>
                  <a:pt x="1375838" y="1697355"/>
                  <a:pt x="1375362" y="1701451"/>
                </a:cubicBezTo>
                <a:cubicBezTo>
                  <a:pt x="1358421" y="1801118"/>
                  <a:pt x="1364019" y="1903315"/>
                  <a:pt x="1391745" y="2000536"/>
                </a:cubicBezTo>
                <a:cubicBezTo>
                  <a:pt x="1349452" y="2037972"/>
                  <a:pt x="1311726" y="2080270"/>
                  <a:pt x="1279350" y="2126552"/>
                </a:cubicBezTo>
                <a:cubicBezTo>
                  <a:pt x="1221533" y="2201609"/>
                  <a:pt x="1149429" y="2294858"/>
                  <a:pt x="1091993" y="2294858"/>
                </a:cubicBezTo>
                <a:cubicBezTo>
                  <a:pt x="1034557" y="2294858"/>
                  <a:pt x="962358" y="2201704"/>
                  <a:pt x="904541" y="2126647"/>
                </a:cubicBezTo>
                <a:close/>
                <a:moveTo>
                  <a:pt x="1406889" y="2609850"/>
                </a:moveTo>
                <a:lnTo>
                  <a:pt x="1136856" y="2609850"/>
                </a:lnTo>
                <a:lnTo>
                  <a:pt x="1136856" y="2377250"/>
                </a:lnTo>
                <a:cubicBezTo>
                  <a:pt x="1218580" y="2351723"/>
                  <a:pt x="1288113" y="2262473"/>
                  <a:pt x="1350501" y="2181701"/>
                </a:cubicBezTo>
                <a:cubicBezTo>
                  <a:pt x="1368313" y="2158651"/>
                  <a:pt x="1388601" y="2133124"/>
                  <a:pt x="1406889" y="2111407"/>
                </a:cubicBezTo>
                <a:close/>
                <a:moveTo>
                  <a:pt x="1601104" y="1258253"/>
                </a:moveTo>
                <a:cubicBezTo>
                  <a:pt x="1594059" y="1252037"/>
                  <a:pt x="1587675" y="1245111"/>
                  <a:pt x="1582054" y="1237583"/>
                </a:cubicBezTo>
                <a:cubicBezTo>
                  <a:pt x="1579416" y="1149977"/>
                  <a:pt x="1588027" y="1062394"/>
                  <a:pt x="1607676" y="976979"/>
                </a:cubicBezTo>
                <a:cubicBezTo>
                  <a:pt x="1612321" y="973462"/>
                  <a:pt x="1617374" y="970519"/>
                  <a:pt x="1622726" y="968216"/>
                </a:cubicBezTo>
                <a:cubicBezTo>
                  <a:pt x="1630635" y="989504"/>
                  <a:pt x="1633883" y="1012241"/>
                  <a:pt x="1632251" y="1034891"/>
                </a:cubicBezTo>
                <a:cubicBezTo>
                  <a:pt x="1631870" y="1175861"/>
                  <a:pt x="1612248" y="1238917"/>
                  <a:pt x="1601104" y="1258443"/>
                </a:cubicBezTo>
                <a:close/>
                <a:moveTo>
                  <a:pt x="1316878" y="183166"/>
                </a:moveTo>
                <a:cubicBezTo>
                  <a:pt x="1496683" y="205928"/>
                  <a:pt x="1631580" y="358733"/>
                  <a:pt x="1631870" y="539972"/>
                </a:cubicBezTo>
                <a:lnTo>
                  <a:pt x="1631870" y="629984"/>
                </a:lnTo>
                <a:lnTo>
                  <a:pt x="1316878" y="629984"/>
                </a:lnTo>
                <a:close/>
                <a:moveTo>
                  <a:pt x="928734" y="134969"/>
                </a:moveTo>
                <a:cubicBezTo>
                  <a:pt x="928734" y="110140"/>
                  <a:pt x="948863" y="90011"/>
                  <a:pt x="973692" y="90011"/>
                </a:cubicBezTo>
                <a:cubicBezTo>
                  <a:pt x="973724" y="90011"/>
                  <a:pt x="973756" y="90011"/>
                  <a:pt x="973788" y="90011"/>
                </a:cubicBezTo>
                <a:lnTo>
                  <a:pt x="1181909" y="90011"/>
                </a:lnTo>
                <a:cubicBezTo>
                  <a:pt x="1206739" y="90011"/>
                  <a:pt x="1226867" y="110140"/>
                  <a:pt x="1226867" y="134969"/>
                </a:cubicBezTo>
                <a:lnTo>
                  <a:pt x="1226867" y="630269"/>
                </a:lnTo>
                <a:lnTo>
                  <a:pt x="928734" y="630269"/>
                </a:lnTo>
                <a:close/>
                <a:moveTo>
                  <a:pt x="551925" y="539972"/>
                </a:moveTo>
                <a:cubicBezTo>
                  <a:pt x="552297" y="369508"/>
                  <a:pt x="671890" y="222549"/>
                  <a:pt x="838723" y="187547"/>
                </a:cubicBezTo>
                <a:lnTo>
                  <a:pt x="838723" y="629984"/>
                </a:lnTo>
                <a:lnTo>
                  <a:pt x="551925" y="629984"/>
                </a:lnTo>
                <a:close/>
                <a:moveTo>
                  <a:pt x="461914" y="854964"/>
                </a:moveTo>
                <a:lnTo>
                  <a:pt x="461914" y="764953"/>
                </a:lnTo>
                <a:cubicBezTo>
                  <a:pt x="461914" y="740123"/>
                  <a:pt x="482043" y="719995"/>
                  <a:pt x="506872" y="719995"/>
                </a:cubicBezTo>
                <a:lnTo>
                  <a:pt x="1676923" y="719995"/>
                </a:lnTo>
                <a:cubicBezTo>
                  <a:pt x="1701731" y="720047"/>
                  <a:pt x="1721829" y="740145"/>
                  <a:pt x="1721881" y="764953"/>
                </a:cubicBezTo>
                <a:lnTo>
                  <a:pt x="1721881" y="854964"/>
                </a:lnTo>
                <a:close/>
                <a:moveTo>
                  <a:pt x="582691" y="1258443"/>
                </a:moveTo>
                <a:cubicBezTo>
                  <a:pt x="571452" y="1238917"/>
                  <a:pt x="551925" y="1175861"/>
                  <a:pt x="551925" y="1034987"/>
                </a:cubicBezTo>
                <a:cubicBezTo>
                  <a:pt x="550337" y="1012338"/>
                  <a:pt x="553584" y="989610"/>
                  <a:pt x="561450" y="968312"/>
                </a:cubicBezTo>
                <a:cubicBezTo>
                  <a:pt x="566867" y="970584"/>
                  <a:pt x="571959" y="973563"/>
                  <a:pt x="576595" y="977170"/>
                </a:cubicBezTo>
                <a:cubicBezTo>
                  <a:pt x="596147" y="1062759"/>
                  <a:pt x="604662" y="1150499"/>
                  <a:pt x="601932" y="1238250"/>
                </a:cubicBezTo>
                <a:cubicBezTo>
                  <a:pt x="596225" y="1245621"/>
                  <a:pt x="589778" y="1252387"/>
                  <a:pt x="582691" y="1258443"/>
                </a:cubicBezTo>
                <a:close/>
                <a:moveTo>
                  <a:pt x="686895" y="1346359"/>
                </a:moveTo>
                <a:cubicBezTo>
                  <a:pt x="686895" y="1336834"/>
                  <a:pt x="686895" y="1326452"/>
                  <a:pt x="688038" y="1317212"/>
                </a:cubicBezTo>
                <a:cubicBezTo>
                  <a:pt x="699814" y="1192503"/>
                  <a:pt x="690736" y="1066702"/>
                  <a:pt x="661177" y="944975"/>
                </a:cubicBezTo>
                <a:lnTo>
                  <a:pt x="1522999" y="944975"/>
                </a:lnTo>
                <a:cubicBezTo>
                  <a:pt x="1493456" y="1066607"/>
                  <a:pt x="1484346" y="1192306"/>
                  <a:pt x="1496043" y="1316927"/>
                </a:cubicBezTo>
                <a:cubicBezTo>
                  <a:pt x="1496901" y="1326452"/>
                  <a:pt x="1497282" y="1336453"/>
                  <a:pt x="1497282" y="1346359"/>
                </a:cubicBezTo>
                <a:cubicBezTo>
                  <a:pt x="1497282" y="1433513"/>
                  <a:pt x="1403175" y="1557814"/>
                  <a:pt x="1232106" y="1696307"/>
                </a:cubicBezTo>
                <a:cubicBezTo>
                  <a:pt x="1150564" y="1762492"/>
                  <a:pt x="1033803" y="1762492"/>
                  <a:pt x="952261" y="1696307"/>
                </a:cubicBezTo>
                <a:cubicBezTo>
                  <a:pt x="781002" y="1557814"/>
                  <a:pt x="686895" y="1433513"/>
                  <a:pt x="686895" y="1346359"/>
                </a:cubicBezTo>
                <a:close/>
                <a:moveTo>
                  <a:pt x="596883" y="2070259"/>
                </a:moveTo>
                <a:lnTo>
                  <a:pt x="686895" y="2070259"/>
                </a:lnTo>
                <a:lnTo>
                  <a:pt x="686895" y="2609850"/>
                </a:lnTo>
                <a:lnTo>
                  <a:pt x="596883" y="2609850"/>
                </a:lnTo>
                <a:close/>
                <a:moveTo>
                  <a:pt x="416861" y="2100739"/>
                </a:moveTo>
                <a:cubicBezTo>
                  <a:pt x="445965" y="2089616"/>
                  <a:pt x="476123" y="2081478"/>
                  <a:pt x="506872" y="2076450"/>
                </a:cubicBezTo>
                <a:lnTo>
                  <a:pt x="506872" y="2609850"/>
                </a:lnTo>
                <a:lnTo>
                  <a:pt x="416861" y="2609850"/>
                </a:lnTo>
                <a:close/>
                <a:moveTo>
                  <a:pt x="92249" y="2551271"/>
                </a:moveTo>
                <a:lnTo>
                  <a:pt x="150637" y="2368106"/>
                </a:lnTo>
                <a:cubicBezTo>
                  <a:pt x="184697" y="2277584"/>
                  <a:pt x="246337" y="2200050"/>
                  <a:pt x="326850" y="2146459"/>
                </a:cubicBezTo>
                <a:lnTo>
                  <a:pt x="326850" y="2609850"/>
                </a:lnTo>
                <a:lnTo>
                  <a:pt x="135111" y="2609850"/>
                </a:lnTo>
                <a:cubicBezTo>
                  <a:pt x="110177" y="2609750"/>
                  <a:pt x="90045" y="2589454"/>
                  <a:pt x="90146" y="2564520"/>
                </a:cubicBezTo>
                <a:cubicBezTo>
                  <a:pt x="90164" y="2559960"/>
                  <a:pt x="90873" y="2555428"/>
                  <a:pt x="92249" y="2551081"/>
                </a:cubicBezTo>
                <a:close/>
              </a:path>
            </a:pathLst>
          </a:custGeom>
          <a:solidFill>
            <a:schemeClr val="bg2"/>
          </a:solidFill>
          <a:ln w="9525" cap="flat">
            <a:noFill/>
            <a:prstDash val="solid"/>
            <a:miter/>
          </a:ln>
        </p:spPr>
        <p:txBody>
          <a:bodyPr rtlCol="0" anchor="ctr"/>
          <a:lstStyle/>
          <a:p>
            <a:endParaRPr lang="en-GB" dirty="0">
              <a:latin typeface="Arial Narrow" charset="0"/>
            </a:endParaRPr>
          </a:p>
        </p:txBody>
      </p:sp>
      <p:pic>
        <p:nvPicPr>
          <p:cNvPr id="49" name="Picture 80" descr="455 India Flag Circle Stock Photos, Pictures &amp;amp; Royalty-Free Images - iStock">
            <a:extLst>
              <a:ext uri="{FF2B5EF4-FFF2-40B4-BE49-F238E27FC236}">
                <a16:creationId xmlns:a16="http://schemas.microsoft.com/office/drawing/2014/main" id="{D5D82563-0656-C064-2E1A-1DB103606FEA}"/>
              </a:ext>
            </a:extLst>
          </p:cNvPr>
          <p:cNvPicPr>
            <a:picLocks noChangeArrowheads="1"/>
          </p:cNvPicPr>
          <p:nvPr/>
        </p:nvPicPr>
        <p:blipFill rotWithShape="1">
          <a:blip r:embed="rId8">
            <a:extLst>
              <a:ext uri="{28A0092B-C50C-407E-A947-70E740481C1C}">
                <a14:useLocalDpi xmlns:a14="http://schemas.microsoft.com/office/drawing/2010/main" val="0"/>
              </a:ext>
            </a:extLst>
          </a:blip>
          <a:srcRect l="10416" t="12009" r="11008" b="11061"/>
          <a:stretch/>
        </p:blipFill>
        <p:spPr bwMode="auto">
          <a:xfrm>
            <a:off x="3457522" y="4150464"/>
            <a:ext cx="274320" cy="27432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4708F964-7AD8-D245-28C0-5D312877337B}"/>
              </a:ext>
            </a:extLst>
          </p:cNvPr>
          <p:cNvPicPr>
            <a:picLocks/>
          </p:cNvPicPr>
          <p:nvPr/>
        </p:nvPicPr>
        <p:blipFill>
          <a:blip r:embed="rId9"/>
          <a:stretch>
            <a:fillRect/>
          </a:stretch>
        </p:blipFill>
        <p:spPr>
          <a:xfrm>
            <a:off x="4100345" y="4150464"/>
            <a:ext cx="274320" cy="274320"/>
          </a:xfrm>
          <a:prstGeom prst="rect">
            <a:avLst/>
          </a:prstGeom>
        </p:spPr>
      </p:pic>
      <p:pic>
        <p:nvPicPr>
          <p:cNvPr id="51" name="Picture 58" descr="The United Arab Emirates flag icon - Country flags">
            <a:extLst>
              <a:ext uri="{FF2B5EF4-FFF2-40B4-BE49-F238E27FC236}">
                <a16:creationId xmlns:a16="http://schemas.microsoft.com/office/drawing/2014/main" id="{CC1D59BD-BD63-A6CE-E158-4E44F9A1D4F3}"/>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81483" y="5324481"/>
            <a:ext cx="274320" cy="27432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52" name="Picture 60" descr="Saudi Arabia flag icon - Country flags">
            <a:extLst>
              <a:ext uri="{FF2B5EF4-FFF2-40B4-BE49-F238E27FC236}">
                <a16:creationId xmlns:a16="http://schemas.microsoft.com/office/drawing/2014/main" id="{8B792576-28D1-52DD-D831-F09D175F3BE2}"/>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26342" y="5770204"/>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85" descr="Egypt flag icon - Country flags">
            <a:extLst>
              <a:ext uri="{FF2B5EF4-FFF2-40B4-BE49-F238E27FC236}">
                <a16:creationId xmlns:a16="http://schemas.microsoft.com/office/drawing/2014/main" id="{C555E8CD-F88B-8F88-9A7F-4DF1E29EFD2C}"/>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74818" y="5770204"/>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21C72050-9352-254E-6D74-04B90423B2E1}"/>
              </a:ext>
            </a:extLst>
          </p:cNvPr>
          <p:cNvPicPr>
            <a:picLocks/>
          </p:cNvPicPr>
          <p:nvPr/>
        </p:nvPicPr>
        <p:blipFill>
          <a:blip r:embed="rId9"/>
          <a:stretch>
            <a:fillRect/>
          </a:stretch>
        </p:blipFill>
        <p:spPr>
          <a:xfrm>
            <a:off x="3635722" y="5317618"/>
            <a:ext cx="274320" cy="274320"/>
          </a:xfrm>
          <a:prstGeom prst="rect">
            <a:avLst/>
          </a:prstGeom>
        </p:spPr>
      </p:pic>
      <p:pic>
        <p:nvPicPr>
          <p:cNvPr id="55" name="Graphic 54">
            <a:extLst>
              <a:ext uri="{FF2B5EF4-FFF2-40B4-BE49-F238E27FC236}">
                <a16:creationId xmlns:a16="http://schemas.microsoft.com/office/drawing/2014/main" id="{5FD0A69F-09F7-9353-F088-9B93AA4C0697}"/>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4127377" y="5324481"/>
            <a:ext cx="274320" cy="274320"/>
          </a:xfrm>
          <a:prstGeom prst="rect">
            <a:avLst/>
          </a:prstGeom>
        </p:spPr>
      </p:pic>
      <p:pic>
        <p:nvPicPr>
          <p:cNvPr id="61" name="Picture 73" descr="Germany flag icon - Country flags">
            <a:extLst>
              <a:ext uri="{FF2B5EF4-FFF2-40B4-BE49-F238E27FC236}">
                <a16:creationId xmlns:a16="http://schemas.microsoft.com/office/drawing/2014/main" id="{956BF0FB-7272-16F3-5FA4-B391448BBD27}"/>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83202" y="2818555"/>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a:extLst>
              <a:ext uri="{FF2B5EF4-FFF2-40B4-BE49-F238E27FC236}">
                <a16:creationId xmlns:a16="http://schemas.microsoft.com/office/drawing/2014/main" id="{CB66BBCD-AE39-5859-04DE-74AF4A1A760E}"/>
              </a:ext>
            </a:extLst>
          </p:cNvPr>
          <p:cNvPicPr>
            <a:picLocks/>
          </p:cNvPicPr>
          <p:nvPr/>
        </p:nvPicPr>
        <p:blipFill>
          <a:blip r:embed="rId9"/>
          <a:stretch>
            <a:fillRect/>
          </a:stretch>
        </p:blipFill>
        <p:spPr>
          <a:xfrm>
            <a:off x="3640330" y="2818555"/>
            <a:ext cx="274320" cy="274320"/>
          </a:xfrm>
          <a:prstGeom prst="rect">
            <a:avLst/>
          </a:prstGeom>
        </p:spPr>
      </p:pic>
      <p:pic>
        <p:nvPicPr>
          <p:cNvPr id="63" name="Graphic 62">
            <a:extLst>
              <a:ext uri="{FF2B5EF4-FFF2-40B4-BE49-F238E27FC236}">
                <a16:creationId xmlns:a16="http://schemas.microsoft.com/office/drawing/2014/main" id="{129A1079-DA2C-8FE3-1435-5C6FE4435484}"/>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4127377" y="2819009"/>
            <a:ext cx="274320" cy="274320"/>
          </a:xfrm>
          <a:prstGeom prst="rect">
            <a:avLst/>
          </a:prstGeom>
        </p:spPr>
      </p:pic>
    </p:spTree>
    <p:extLst>
      <p:ext uri="{BB962C8B-B14F-4D97-AF65-F5344CB8AC3E}">
        <p14:creationId xmlns:p14="http://schemas.microsoft.com/office/powerpoint/2010/main" val="438774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9B19D4-721A-1E3B-3109-B9E7D5208CE4}"/>
              </a:ext>
            </a:extLst>
          </p:cNvPr>
          <p:cNvGraphicFramePr>
            <a:graphicFrameLocks noChangeAspect="1"/>
          </p:cNvGraphicFramePr>
          <p:nvPr>
            <p:custDataLst>
              <p:tags r:id="rId1"/>
            </p:custDataLst>
            <p:extLst>
              <p:ext uri="{D42A27DB-BD31-4B8C-83A1-F6EECF244321}">
                <p14:modId xmlns:p14="http://schemas.microsoft.com/office/powerpoint/2010/main" val="2194483693"/>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B29B19D4-721A-1E3B-3109-B9E7D5208CE4}"/>
                          </a:ext>
                        </a:extLst>
                      </p:cNvPr>
                      <p:cNvPicPr/>
                      <p:nvPr/>
                    </p:nvPicPr>
                    <p:blipFill>
                      <a:blip r:embed="rId5"/>
                      <a:stretch>
                        <a:fillRect/>
                      </a:stretch>
                    </p:blipFill>
                    <p:spPr>
                      <a:xfrm>
                        <a:off x="1441" y="1531"/>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70F8A52-34A2-E5E1-1B79-682E413E1527}"/>
              </a:ext>
            </a:extLst>
          </p:cNvPr>
          <p:cNvSpPr>
            <a:spLocks noGrp="1"/>
          </p:cNvSpPr>
          <p:nvPr>
            <p:ph type="title"/>
          </p:nvPr>
        </p:nvSpPr>
        <p:spPr>
          <a:xfrm>
            <a:off x="531814" y="560664"/>
            <a:ext cx="11089972" cy="664797"/>
          </a:xfrm>
        </p:spPr>
        <p:txBody>
          <a:bodyPr vert="horz"/>
          <a:lstStyle/>
          <a:p>
            <a:r>
              <a:rPr lang="en-US" sz="2400" kern="1200" dirty="0">
                <a:solidFill>
                  <a:schemeClr val="bg2"/>
                </a:solidFill>
                <a:latin typeface="Franklin Gothic Demi" panose="020B0703020102020204" pitchFamily="34" charset="0"/>
                <a:ea typeface="+mj-ea"/>
                <a:cs typeface="Calibri" panose="020F0502020204030204" pitchFamily="34" charset="0"/>
              </a:rPr>
              <a:t>A Comprehensive Dashboard of Key HR Metrics </a:t>
            </a:r>
            <a:br>
              <a:rPr lang="en-US" sz="2400" kern="1200" dirty="0">
                <a:solidFill>
                  <a:schemeClr val="bg2"/>
                </a:solidFill>
                <a:latin typeface="Franklin Gothic Demi" panose="020B0703020102020204" pitchFamily="34" charset="0"/>
                <a:ea typeface="+mj-ea"/>
                <a:cs typeface="Calibri" panose="020F0502020204030204" pitchFamily="34" charset="0"/>
              </a:rPr>
            </a:br>
            <a:r>
              <a:rPr lang="en-US" sz="2400" kern="1200" dirty="0">
                <a:solidFill>
                  <a:schemeClr val="bg2"/>
                </a:solidFill>
                <a:latin typeface="Franklin Gothic Demi" panose="020B0703020102020204" pitchFamily="34" charset="0"/>
                <a:ea typeface="+mj-ea"/>
                <a:cs typeface="Calibri" panose="020F0502020204030204" pitchFamily="34" charset="0"/>
              </a:rPr>
              <a:t>and Performance Indicators</a:t>
            </a:r>
          </a:p>
        </p:txBody>
      </p:sp>
      <p:sp>
        <p:nvSpPr>
          <p:cNvPr id="117" name="Arrow: Pentagon 116">
            <a:extLst>
              <a:ext uri="{FF2B5EF4-FFF2-40B4-BE49-F238E27FC236}">
                <a16:creationId xmlns:a16="http://schemas.microsoft.com/office/drawing/2014/main" id="{F60E6805-D191-AAAC-721D-97766D150312}"/>
              </a:ext>
            </a:extLst>
          </p:cNvPr>
          <p:cNvSpPr>
            <a:spLocks/>
          </p:cNvSpPr>
          <p:nvPr/>
        </p:nvSpPr>
        <p:spPr>
          <a:xfrm flipH="1">
            <a:off x="10346988" y="560664"/>
            <a:ext cx="1845013" cy="886350"/>
          </a:xfrm>
          <a:prstGeom prst="homePlate">
            <a:avLst>
              <a:gd name="adj" fmla="val 1507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buClr>
                <a:srgbClr val="000000"/>
              </a:buClr>
            </a:pPr>
            <a:endParaRPr lang="en-US" sz="1270" kern="0" dirty="0">
              <a:solidFill>
                <a:srgbClr val="FFFFFF"/>
              </a:solidFill>
              <a:latin typeface="Calibri" panose="020F0502020204030204"/>
              <a:sym typeface="Arial"/>
            </a:endParaRPr>
          </a:p>
        </p:txBody>
      </p:sp>
      <p:sp>
        <p:nvSpPr>
          <p:cNvPr id="63" name="Google Shape;831;p25">
            <a:extLst>
              <a:ext uri="{FF2B5EF4-FFF2-40B4-BE49-F238E27FC236}">
                <a16:creationId xmlns:a16="http://schemas.microsoft.com/office/drawing/2014/main" id="{D79C79E1-9FD4-A584-4F44-463E677B2BE6}"/>
              </a:ext>
            </a:extLst>
          </p:cNvPr>
          <p:cNvSpPr>
            <a:spLocks/>
          </p:cNvSpPr>
          <p:nvPr/>
        </p:nvSpPr>
        <p:spPr>
          <a:xfrm>
            <a:off x="499720" y="2096784"/>
            <a:ext cx="3654893" cy="4200553"/>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lang="en-US" sz="1270" kern="0" dirty="0">
              <a:solidFill>
                <a:srgbClr val="000000"/>
              </a:solidFill>
              <a:latin typeface="Arial"/>
              <a:cs typeface="Arial"/>
              <a:sym typeface="Arial"/>
            </a:endParaRPr>
          </a:p>
        </p:txBody>
      </p:sp>
      <p:sp>
        <p:nvSpPr>
          <p:cNvPr id="64" name="Google Shape;831;p25">
            <a:extLst>
              <a:ext uri="{FF2B5EF4-FFF2-40B4-BE49-F238E27FC236}">
                <a16:creationId xmlns:a16="http://schemas.microsoft.com/office/drawing/2014/main" id="{D95811C9-B676-7005-593A-F3C2E0DF10B2}"/>
              </a:ext>
            </a:extLst>
          </p:cNvPr>
          <p:cNvSpPr>
            <a:spLocks/>
          </p:cNvSpPr>
          <p:nvPr/>
        </p:nvSpPr>
        <p:spPr>
          <a:xfrm>
            <a:off x="8035681" y="2096784"/>
            <a:ext cx="3654893" cy="4200554"/>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sz="1270" kern="0" dirty="0">
              <a:solidFill>
                <a:srgbClr val="000000"/>
              </a:solidFill>
              <a:latin typeface="Arial"/>
              <a:cs typeface="Arial"/>
              <a:sym typeface="Arial"/>
            </a:endParaRPr>
          </a:p>
        </p:txBody>
      </p:sp>
      <p:sp>
        <p:nvSpPr>
          <p:cNvPr id="65" name="Google Shape;831;p25">
            <a:extLst>
              <a:ext uri="{FF2B5EF4-FFF2-40B4-BE49-F238E27FC236}">
                <a16:creationId xmlns:a16="http://schemas.microsoft.com/office/drawing/2014/main" id="{7BA4A2F5-B9EF-10F4-13B0-86B15FA65BDC}"/>
              </a:ext>
            </a:extLst>
          </p:cNvPr>
          <p:cNvSpPr>
            <a:spLocks/>
          </p:cNvSpPr>
          <p:nvPr/>
        </p:nvSpPr>
        <p:spPr>
          <a:xfrm>
            <a:off x="4267701" y="2096784"/>
            <a:ext cx="3654893" cy="4200553"/>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sz="1270" kern="0" dirty="0">
              <a:solidFill>
                <a:srgbClr val="000000"/>
              </a:solidFill>
              <a:latin typeface="Arial"/>
              <a:cs typeface="Arial"/>
              <a:sym typeface="Arial"/>
            </a:endParaRPr>
          </a:p>
        </p:txBody>
      </p:sp>
      <p:sp>
        <p:nvSpPr>
          <p:cNvPr id="46" name="Google Shape;563;p30">
            <a:extLst>
              <a:ext uri="{FF2B5EF4-FFF2-40B4-BE49-F238E27FC236}">
                <a16:creationId xmlns:a16="http://schemas.microsoft.com/office/drawing/2014/main" id="{6604BE4A-F4BF-28A9-9640-54ABD8289778}"/>
              </a:ext>
            </a:extLst>
          </p:cNvPr>
          <p:cNvSpPr txBox="1">
            <a:spLocks/>
          </p:cNvSpPr>
          <p:nvPr/>
        </p:nvSpPr>
        <p:spPr>
          <a:xfrm>
            <a:off x="8177644" y="2511537"/>
            <a:ext cx="3444141" cy="3680907"/>
          </a:xfrm>
          <a:prstGeom prst="rect">
            <a:avLst/>
          </a:prstGeom>
          <a:noFill/>
          <a:ln>
            <a:noFill/>
          </a:ln>
        </p:spPr>
        <p:txBody>
          <a:bodyPr spcFirstLastPara="1" wrap="square" lIns="0" tIns="0" rIns="0" bIns="0" anchor="t" anchorCtr="0">
            <a:noAutofit/>
          </a:bodyPr>
          <a:lstStyle/>
          <a:p>
            <a:pPr marL="0" lvl="3" defTabSz="829544">
              <a:lnSpc>
                <a:spcPts val="1814"/>
              </a:lnSpc>
              <a:buClr>
                <a:srgbClr val="000000"/>
              </a:buClr>
            </a:pPr>
            <a:r>
              <a:rPr lang="en-IN" sz="1452" kern="0" dirty="0">
                <a:solidFill>
                  <a:srgbClr val="222222"/>
                </a:solidFill>
                <a:latin typeface="Calibri" panose="020F0502020204030204"/>
                <a:ea typeface="Calibri"/>
                <a:cs typeface="Calibri"/>
                <a:sym typeface="Calibri"/>
              </a:rPr>
              <a:t>The client benefited from Infomineo Data Analytics service on multiple fronts: </a:t>
            </a:r>
            <a:endParaRPr sz="1452" kern="0" dirty="0">
              <a:solidFill>
                <a:srgbClr val="222222"/>
              </a:solidFill>
              <a:latin typeface="Calibri" panose="020F0502020204030204"/>
              <a:ea typeface="Calibri"/>
              <a:cs typeface="Calibri"/>
              <a:sym typeface="Calibri"/>
            </a:endParaRPr>
          </a:p>
          <a:p>
            <a:pPr marL="259232" lvl="3" indent="-259232" defTabSz="829544">
              <a:lnSpc>
                <a:spcPts val="1814"/>
              </a:lnSpc>
              <a:spcBef>
                <a:spcPts val="544"/>
              </a:spcBef>
              <a:buClr>
                <a:schemeClr val="bg2"/>
              </a:buClr>
              <a:buFont typeface="Wingdings" panose="05000000000000000000" pitchFamily="2" charset="2"/>
              <a:buChar char="§"/>
            </a:pPr>
            <a:r>
              <a:rPr lang="en-IN" sz="1452" b="1" kern="0" dirty="0">
                <a:solidFill>
                  <a:schemeClr val="bg2"/>
                </a:solidFill>
                <a:latin typeface="Calibri" panose="020F0502020204030204"/>
                <a:ea typeface="Calibri"/>
                <a:cs typeface="Calibri"/>
                <a:sym typeface="Calibri"/>
              </a:rPr>
              <a:t>Stable and Reliable Data:</a:t>
            </a:r>
          </a:p>
          <a:p>
            <a:pPr marL="259232" lvl="5" indent="-259232" defTabSz="829544">
              <a:lnSpc>
                <a:spcPts val="1814"/>
              </a:lnSpc>
              <a:buFont typeface="Calibri" panose="020F0502020204030204" pitchFamily="34" charset="0"/>
              <a:buChar char="⁻"/>
            </a:pPr>
            <a:r>
              <a:rPr lang="en-US" sz="1270" kern="0" dirty="0">
                <a:solidFill>
                  <a:srgbClr val="222222"/>
                </a:solidFill>
                <a:latin typeface="Calibri" panose="020F0502020204030204"/>
                <a:ea typeface="Calibri"/>
                <a:cs typeface="Calibri"/>
                <a:sym typeface="Calibri"/>
              </a:rPr>
              <a:t>Correction &amp; Standardization of ERP data, </a:t>
            </a:r>
            <a:r>
              <a:rPr lang="en-US" sz="1270" b="1" kern="0" dirty="0">
                <a:solidFill>
                  <a:srgbClr val="222222"/>
                </a:solidFill>
                <a:latin typeface="Calibri" panose="020F0502020204030204"/>
                <a:ea typeface="Calibri"/>
                <a:cs typeface="Calibri"/>
                <a:sym typeface="Calibri"/>
              </a:rPr>
              <a:t>eliminating manual file usage</a:t>
            </a:r>
          </a:p>
          <a:p>
            <a:pPr marL="259232" lvl="5" indent="-259232" defTabSz="829544">
              <a:lnSpc>
                <a:spcPts val="1814"/>
              </a:lnSpc>
              <a:buFont typeface="Calibri" panose="020F0502020204030204" pitchFamily="34" charset="0"/>
              <a:buChar char="⁻"/>
            </a:pPr>
            <a:r>
              <a:rPr lang="en-US" sz="1270" kern="0" dirty="0">
                <a:solidFill>
                  <a:srgbClr val="222222"/>
                </a:solidFill>
                <a:latin typeface="Calibri" panose="020F0502020204030204"/>
                <a:ea typeface="Calibri"/>
                <a:cs typeface="Calibri"/>
                <a:sym typeface="Calibri"/>
              </a:rPr>
              <a:t>Significant enhancement in </a:t>
            </a:r>
            <a:r>
              <a:rPr lang="en-US" sz="1270" b="1" kern="0" dirty="0">
                <a:solidFill>
                  <a:srgbClr val="222222"/>
                </a:solidFill>
                <a:latin typeface="Calibri" panose="020F0502020204030204"/>
                <a:ea typeface="Calibri"/>
                <a:cs typeface="Calibri"/>
                <a:sym typeface="Calibri"/>
              </a:rPr>
              <a:t>accuracy</a:t>
            </a:r>
            <a:r>
              <a:rPr lang="en-US" sz="1452" b="1" kern="0" dirty="0">
                <a:solidFill>
                  <a:srgbClr val="222222"/>
                </a:solidFill>
                <a:latin typeface="Calibri" panose="020F0502020204030204"/>
                <a:ea typeface="Calibri"/>
                <a:cs typeface="Calibri"/>
                <a:sym typeface="Calibri"/>
              </a:rPr>
              <a:t> +75% </a:t>
            </a:r>
            <a:r>
              <a:rPr lang="en-US" sz="1270" kern="0" dirty="0">
                <a:solidFill>
                  <a:srgbClr val="222222"/>
                </a:solidFill>
                <a:latin typeface="Calibri" panose="020F0502020204030204"/>
                <a:ea typeface="Calibri"/>
                <a:cs typeface="Calibri"/>
                <a:sym typeface="Calibri"/>
              </a:rPr>
              <a:t>for Critical Data Elements</a:t>
            </a:r>
          </a:p>
          <a:p>
            <a:pPr marL="259232" lvl="3" indent="-259232" defTabSz="829544">
              <a:lnSpc>
                <a:spcPts val="1814"/>
              </a:lnSpc>
              <a:spcBef>
                <a:spcPts val="544"/>
              </a:spcBef>
              <a:buClr>
                <a:schemeClr val="bg2"/>
              </a:buClr>
              <a:buFont typeface="Wingdings" panose="05000000000000000000" pitchFamily="2" charset="2"/>
              <a:buChar char="§"/>
            </a:pPr>
            <a:r>
              <a:rPr lang="en-US" sz="1452" b="1" kern="0" dirty="0">
                <a:solidFill>
                  <a:schemeClr val="bg2"/>
                </a:solidFill>
                <a:latin typeface="Calibri" panose="020F0502020204030204"/>
                <a:ea typeface="Calibri"/>
                <a:cs typeface="Calibri"/>
                <a:sym typeface="Calibri"/>
              </a:rPr>
              <a:t>Organizational Efficiency: </a:t>
            </a:r>
            <a:r>
              <a:rPr lang="en-US" sz="1270" b="1" kern="0" dirty="0">
                <a:solidFill>
                  <a:srgbClr val="222222"/>
                </a:solidFill>
                <a:latin typeface="Calibri" panose="020F0502020204030204"/>
                <a:ea typeface="Calibri"/>
                <a:cs typeface="Calibri"/>
                <a:sym typeface="Calibri"/>
              </a:rPr>
              <a:t>1 HR FTE </a:t>
            </a:r>
            <a:r>
              <a:rPr lang="en-US" sz="1270" kern="0" dirty="0">
                <a:solidFill>
                  <a:srgbClr val="222222"/>
                </a:solidFill>
                <a:latin typeface="Calibri" panose="020F0502020204030204"/>
                <a:ea typeface="Calibri"/>
                <a:cs typeface="Calibri"/>
                <a:sym typeface="Calibri"/>
              </a:rPr>
              <a:t>reallocated to other tasks due to streamlined data processes.</a:t>
            </a:r>
          </a:p>
          <a:p>
            <a:pPr marL="259232" lvl="3" indent="-259232" defTabSz="829544">
              <a:lnSpc>
                <a:spcPts val="1814"/>
              </a:lnSpc>
              <a:spcBef>
                <a:spcPts val="544"/>
              </a:spcBef>
              <a:buClr>
                <a:schemeClr val="bg2"/>
              </a:buClr>
              <a:buFont typeface="Wingdings" panose="05000000000000000000" pitchFamily="2" charset="2"/>
              <a:buChar char="§"/>
            </a:pPr>
            <a:r>
              <a:rPr lang="en-US" sz="1452" b="1" kern="0" dirty="0">
                <a:solidFill>
                  <a:schemeClr val="bg2"/>
                </a:solidFill>
                <a:latin typeface="Calibri" panose="020F0502020204030204"/>
                <a:ea typeface="Calibri"/>
                <a:cs typeface="Calibri"/>
                <a:sym typeface="Calibri"/>
              </a:rPr>
              <a:t>Companywide Transformation</a:t>
            </a:r>
            <a:r>
              <a:rPr lang="en-US" sz="1452" kern="0" dirty="0">
                <a:solidFill>
                  <a:schemeClr val="bg2"/>
                </a:solidFill>
                <a:latin typeface="Calibri" panose="020F0502020204030204"/>
                <a:ea typeface="Calibri"/>
                <a:cs typeface="Calibri"/>
                <a:sym typeface="Calibri"/>
              </a:rPr>
              <a:t>: </a:t>
            </a:r>
            <a:r>
              <a:rPr lang="en-US" sz="1270" kern="0" dirty="0">
                <a:solidFill>
                  <a:srgbClr val="222222"/>
                </a:solidFill>
                <a:latin typeface="Calibri" panose="020F0502020204030204"/>
                <a:ea typeface="Calibri"/>
                <a:cs typeface="Calibri"/>
                <a:sym typeface="Calibri"/>
              </a:rPr>
              <a:t>The client embarked on a </a:t>
            </a:r>
            <a:r>
              <a:rPr lang="en-US" sz="1270" b="1" kern="0" dirty="0">
                <a:solidFill>
                  <a:srgbClr val="222222"/>
                </a:solidFill>
                <a:latin typeface="Calibri" panose="020F0502020204030204"/>
                <a:ea typeface="Calibri"/>
                <a:cs typeface="Calibri"/>
                <a:sym typeface="Calibri"/>
              </a:rPr>
              <a:t>data transformation journey</a:t>
            </a:r>
            <a:r>
              <a:rPr lang="en-US" sz="1270" kern="0" dirty="0">
                <a:solidFill>
                  <a:srgbClr val="222222"/>
                </a:solidFill>
                <a:latin typeface="Calibri" panose="020F0502020204030204"/>
                <a:ea typeface="Calibri"/>
                <a:cs typeface="Calibri"/>
                <a:sym typeface="Calibri"/>
              </a:rPr>
              <a:t>, partnering with Infomineo to create </a:t>
            </a:r>
            <a:r>
              <a:rPr lang="en-US" sz="1270" kern="0" dirty="0" err="1">
                <a:solidFill>
                  <a:srgbClr val="222222"/>
                </a:solidFill>
                <a:latin typeface="Calibri" panose="020F0502020204030204"/>
                <a:ea typeface="Calibri"/>
                <a:cs typeface="Calibri"/>
                <a:sym typeface="Calibri"/>
              </a:rPr>
              <a:t>alsol</a:t>
            </a:r>
            <a:r>
              <a:rPr lang="en-US" sz="1270" kern="0" dirty="0">
                <a:solidFill>
                  <a:srgbClr val="222222"/>
                </a:solidFill>
                <a:latin typeface="Calibri" panose="020F0502020204030204"/>
                <a:ea typeface="Calibri"/>
                <a:cs typeface="Calibri"/>
                <a:sym typeface="Calibri"/>
              </a:rPr>
              <a:t> </a:t>
            </a:r>
            <a:r>
              <a:rPr lang="en-US" sz="1270" b="1" kern="0" dirty="0">
                <a:solidFill>
                  <a:srgbClr val="222222"/>
                </a:solidFill>
                <a:latin typeface="Calibri" panose="020F0502020204030204"/>
                <a:ea typeface="Calibri"/>
                <a:cs typeface="Calibri"/>
                <a:sym typeface="Calibri"/>
              </a:rPr>
              <a:t>financial dashboards</a:t>
            </a:r>
            <a:endParaRPr sz="1452" b="1" kern="0" dirty="0">
              <a:solidFill>
                <a:srgbClr val="222222"/>
              </a:solidFill>
              <a:latin typeface="Calibri" panose="020F0502020204030204"/>
              <a:ea typeface="Calibri"/>
              <a:cs typeface="Calibri"/>
              <a:sym typeface="Calibri"/>
            </a:endParaRPr>
          </a:p>
        </p:txBody>
      </p:sp>
      <p:sp>
        <p:nvSpPr>
          <p:cNvPr id="35" name="Google Shape;543;p30">
            <a:extLst>
              <a:ext uri="{FF2B5EF4-FFF2-40B4-BE49-F238E27FC236}">
                <a16:creationId xmlns:a16="http://schemas.microsoft.com/office/drawing/2014/main" id="{965346D9-9F85-F85E-25C0-97943DF282ED}"/>
              </a:ext>
            </a:extLst>
          </p:cNvPr>
          <p:cNvSpPr txBox="1">
            <a:spLocks/>
          </p:cNvSpPr>
          <p:nvPr/>
        </p:nvSpPr>
        <p:spPr>
          <a:xfrm>
            <a:off x="726905" y="2511537"/>
            <a:ext cx="3200523" cy="1025922"/>
          </a:xfrm>
          <a:prstGeom prst="rect">
            <a:avLst/>
          </a:prstGeom>
          <a:noFill/>
          <a:ln>
            <a:noFill/>
          </a:ln>
        </p:spPr>
        <p:txBody>
          <a:bodyPr spcFirstLastPara="1" wrap="square" lIns="0" tIns="0" rIns="0" bIns="0" anchor="t" anchorCtr="0">
            <a:spAutoFit/>
          </a:bodyPr>
          <a:lstStyle/>
          <a:p>
            <a:pPr defTabSz="829544">
              <a:lnSpc>
                <a:spcPts val="1633"/>
              </a:lnSpc>
              <a:buClr>
                <a:srgbClr val="000000"/>
              </a:buClr>
            </a:pPr>
            <a:r>
              <a:rPr lang="en-IN" sz="1452" kern="0" dirty="0">
                <a:solidFill>
                  <a:srgbClr val="444444"/>
                </a:solidFill>
                <a:latin typeface="Calibri" panose="020F0502020204030204"/>
                <a:ea typeface="Calibri"/>
                <a:cs typeface="Calibri"/>
                <a:sym typeface="Calibri"/>
              </a:rPr>
              <a:t>The client wanted to have an automated Human Resource Dashboard to track, </a:t>
            </a:r>
            <a:r>
              <a:rPr lang="en-US" sz="1452" kern="0" dirty="0">
                <a:solidFill>
                  <a:srgbClr val="444444"/>
                </a:solidFill>
                <a:latin typeface="Calibri" panose="020F0502020204030204"/>
                <a:ea typeface="Calibri"/>
                <a:cs typeface="Calibri"/>
                <a:sym typeface="Calibri"/>
              </a:rPr>
              <a:t>analyze</a:t>
            </a:r>
            <a:r>
              <a:rPr lang="en-IN" sz="1452" kern="0" dirty="0">
                <a:solidFill>
                  <a:srgbClr val="444444"/>
                </a:solidFill>
                <a:latin typeface="Calibri" panose="020F0502020204030204"/>
                <a:ea typeface="Calibri"/>
                <a:cs typeface="Calibri"/>
                <a:sym typeface="Calibri"/>
              </a:rPr>
              <a:t> and report on HR KPIs.</a:t>
            </a:r>
            <a:endParaRPr sz="1452" kern="0" dirty="0">
              <a:solidFill>
                <a:srgbClr val="000000"/>
              </a:solidFill>
              <a:latin typeface="Calibri" panose="020F0502020204030204"/>
              <a:cs typeface="Arial"/>
              <a:sym typeface="Arial"/>
            </a:endParaRPr>
          </a:p>
          <a:p>
            <a:pPr defTabSz="829544">
              <a:lnSpc>
                <a:spcPts val="1633"/>
              </a:lnSpc>
              <a:buClr>
                <a:srgbClr val="000000"/>
              </a:buClr>
            </a:pPr>
            <a:endParaRPr sz="1452" kern="0" dirty="0">
              <a:solidFill>
                <a:srgbClr val="444444"/>
              </a:solidFill>
              <a:latin typeface="Calibri" panose="020F0502020204030204"/>
              <a:ea typeface="Calibri"/>
              <a:cs typeface="Calibri"/>
              <a:sym typeface="Calibri"/>
            </a:endParaRPr>
          </a:p>
          <a:p>
            <a:pPr defTabSz="829544">
              <a:lnSpc>
                <a:spcPts val="1633"/>
              </a:lnSpc>
              <a:buClr>
                <a:srgbClr val="000000"/>
              </a:buClr>
            </a:pPr>
            <a:r>
              <a:rPr lang="en-IN" sz="1452" kern="0" dirty="0">
                <a:solidFill>
                  <a:srgbClr val="444444"/>
                </a:solidFill>
                <a:latin typeface="Calibri" panose="020F0502020204030204"/>
                <a:ea typeface="Calibri"/>
                <a:cs typeface="Calibri"/>
                <a:sym typeface="Calibri"/>
              </a:rPr>
              <a:t>The firm was looking for: </a:t>
            </a:r>
            <a:endParaRPr sz="1452" kern="0" dirty="0">
              <a:solidFill>
                <a:srgbClr val="444444"/>
              </a:solidFill>
              <a:latin typeface="Calibri" panose="020F0502020204030204"/>
              <a:ea typeface="Calibri"/>
              <a:cs typeface="Calibri"/>
              <a:sym typeface="Calibri"/>
            </a:endParaRPr>
          </a:p>
        </p:txBody>
      </p:sp>
      <p:sp>
        <p:nvSpPr>
          <p:cNvPr id="47" name="Google Shape;565;p30">
            <a:extLst>
              <a:ext uri="{FF2B5EF4-FFF2-40B4-BE49-F238E27FC236}">
                <a16:creationId xmlns:a16="http://schemas.microsoft.com/office/drawing/2014/main" id="{3DED97C6-99D7-87EC-3609-03E131EE28F4}"/>
              </a:ext>
            </a:extLst>
          </p:cNvPr>
          <p:cNvSpPr txBox="1">
            <a:spLocks/>
          </p:cNvSpPr>
          <p:nvPr/>
        </p:nvSpPr>
        <p:spPr>
          <a:xfrm>
            <a:off x="4489977" y="2511537"/>
            <a:ext cx="3200523" cy="654652"/>
          </a:xfrm>
          <a:prstGeom prst="rect">
            <a:avLst/>
          </a:prstGeom>
          <a:noFill/>
          <a:ln>
            <a:noFill/>
          </a:ln>
        </p:spPr>
        <p:txBody>
          <a:bodyPr spcFirstLastPara="1" wrap="square" lIns="0" tIns="0" rIns="0" bIns="0" anchor="t" anchorCtr="0">
            <a:noAutofit/>
          </a:bodyPr>
          <a:lstStyle/>
          <a:p>
            <a:pPr defTabSz="829544">
              <a:lnSpc>
                <a:spcPts val="1633"/>
              </a:lnSpc>
              <a:buClr>
                <a:srgbClr val="000000"/>
              </a:buClr>
            </a:pPr>
            <a:r>
              <a:rPr lang="en-IN" sz="1452" kern="0" dirty="0">
                <a:solidFill>
                  <a:srgbClr val="222222"/>
                </a:solidFill>
                <a:latin typeface="Calibri" panose="020F0502020204030204"/>
                <a:ea typeface="Calibri"/>
                <a:cs typeface="Calibri"/>
                <a:sym typeface="Calibri"/>
              </a:rPr>
              <a:t>The company decided to use</a:t>
            </a:r>
            <a:r>
              <a:rPr lang="en-IN" sz="1452" b="1" kern="0" dirty="0">
                <a:solidFill>
                  <a:srgbClr val="222222"/>
                </a:solidFill>
                <a:latin typeface="Calibri" panose="020F0502020204030204"/>
                <a:ea typeface="Calibri"/>
                <a:cs typeface="Calibri"/>
                <a:sym typeface="Calibri"/>
              </a:rPr>
              <a:t> Infomineo’ Data Analytics service as a solution </a:t>
            </a:r>
            <a:r>
              <a:rPr lang="en-IN" sz="1452" kern="0" dirty="0">
                <a:solidFill>
                  <a:srgbClr val="222222"/>
                </a:solidFill>
                <a:latin typeface="Calibri" panose="020F0502020204030204"/>
                <a:ea typeface="Calibri"/>
                <a:cs typeface="Calibri"/>
                <a:sym typeface="Calibri"/>
              </a:rPr>
              <a:t>to cover</a:t>
            </a:r>
            <a:r>
              <a:rPr lang="en-IN" sz="1452" b="1" kern="0" dirty="0">
                <a:solidFill>
                  <a:srgbClr val="222222"/>
                </a:solidFill>
                <a:latin typeface="Calibri" panose="020F0502020204030204"/>
                <a:ea typeface="Calibri"/>
                <a:cs typeface="Calibri"/>
                <a:sym typeface="Calibri"/>
              </a:rPr>
              <a:t>:</a:t>
            </a:r>
            <a:endParaRPr sz="1452" kern="0" dirty="0">
              <a:solidFill>
                <a:srgbClr val="222222"/>
              </a:solidFill>
              <a:latin typeface="Calibri" panose="020F0502020204030204"/>
              <a:ea typeface="Calibri"/>
              <a:cs typeface="Calibri"/>
              <a:sym typeface="Calibri"/>
            </a:endParaRPr>
          </a:p>
        </p:txBody>
      </p:sp>
      <p:sp>
        <p:nvSpPr>
          <p:cNvPr id="67" name="Google Shape;540;p30">
            <a:extLst>
              <a:ext uri="{FF2B5EF4-FFF2-40B4-BE49-F238E27FC236}">
                <a16:creationId xmlns:a16="http://schemas.microsoft.com/office/drawing/2014/main" id="{27BA0A68-6DC4-A5AE-D93D-DDEDE497CB4B}"/>
              </a:ext>
            </a:extLst>
          </p:cNvPr>
          <p:cNvSpPr>
            <a:spLocks/>
          </p:cNvSpPr>
          <p:nvPr/>
        </p:nvSpPr>
        <p:spPr>
          <a:xfrm>
            <a:off x="8025868" y="1686527"/>
            <a:ext cx="3654893" cy="713863"/>
          </a:xfrm>
          <a:prstGeom prst="round2SameRect">
            <a:avLst/>
          </a:prstGeom>
          <a:gradFill flip="none" rotWithShape="1">
            <a:gsLst>
              <a:gs pos="16000">
                <a:srgbClr val="13349A"/>
              </a:gs>
              <a:gs pos="46000">
                <a:srgbClr val="183BA6"/>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400" b="1" dirty="0">
              <a:solidFill>
                <a:schemeClr val="bg1"/>
              </a:solidFill>
              <a:latin typeface="Calibri" panose="020F0502020204030204" pitchFamily="34" charset="0"/>
              <a:cs typeface="Calibri" panose="020F0502020204030204" pitchFamily="34" charset="0"/>
              <a:sym typeface="Arial"/>
            </a:endParaRPr>
          </a:p>
        </p:txBody>
      </p:sp>
      <p:sp>
        <p:nvSpPr>
          <p:cNvPr id="68" name="Google Shape;541;p30">
            <a:extLst>
              <a:ext uri="{FF2B5EF4-FFF2-40B4-BE49-F238E27FC236}">
                <a16:creationId xmlns:a16="http://schemas.microsoft.com/office/drawing/2014/main" id="{497A69E6-D1A5-6AF9-EE29-8EE6DF2963C4}"/>
              </a:ext>
            </a:extLst>
          </p:cNvPr>
          <p:cNvSpPr txBox="1"/>
          <p:nvPr/>
        </p:nvSpPr>
        <p:spPr>
          <a:xfrm>
            <a:off x="8998252" y="1901065"/>
            <a:ext cx="1710125"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Outcome</a:t>
            </a:r>
            <a:endParaRPr sz="2177" b="1" kern="0" dirty="0">
              <a:solidFill>
                <a:srgbClr val="000000"/>
              </a:solidFill>
              <a:latin typeface="Calibri" panose="020F0502020204030204"/>
              <a:cs typeface="Arial"/>
              <a:sym typeface="Arial"/>
            </a:endParaRPr>
          </a:p>
        </p:txBody>
      </p:sp>
      <p:sp>
        <p:nvSpPr>
          <p:cNvPr id="69" name="Google Shape;545;p30">
            <a:extLst>
              <a:ext uri="{FF2B5EF4-FFF2-40B4-BE49-F238E27FC236}">
                <a16:creationId xmlns:a16="http://schemas.microsoft.com/office/drawing/2014/main" id="{C7D9A90D-1786-4187-F2C5-3576731906F5}"/>
              </a:ext>
            </a:extLst>
          </p:cNvPr>
          <p:cNvSpPr>
            <a:spLocks/>
          </p:cNvSpPr>
          <p:nvPr/>
        </p:nvSpPr>
        <p:spPr>
          <a:xfrm>
            <a:off x="499720" y="1685023"/>
            <a:ext cx="3654893" cy="716872"/>
          </a:xfrm>
          <a:prstGeom prst="round2SameRect">
            <a:avLst/>
          </a:prstGeom>
          <a:gradFill flip="none" rotWithShape="1">
            <a:gsLst>
              <a:gs pos="16000">
                <a:srgbClr val="13349A"/>
              </a:gs>
              <a:gs pos="46000">
                <a:srgbClr val="183BA6"/>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400" b="1" dirty="0">
              <a:solidFill>
                <a:schemeClr val="bg1"/>
              </a:solidFill>
              <a:latin typeface="Calibri" panose="020F0502020204030204" pitchFamily="34" charset="0"/>
              <a:cs typeface="Calibri" panose="020F0502020204030204" pitchFamily="34" charset="0"/>
              <a:sym typeface="Arial"/>
            </a:endParaRPr>
          </a:p>
        </p:txBody>
      </p:sp>
      <p:sp>
        <p:nvSpPr>
          <p:cNvPr id="70" name="Google Shape;546;p30">
            <a:extLst>
              <a:ext uri="{FF2B5EF4-FFF2-40B4-BE49-F238E27FC236}">
                <a16:creationId xmlns:a16="http://schemas.microsoft.com/office/drawing/2014/main" id="{8EC7BB4B-5745-B640-5ECF-CD5AAC1D117C}"/>
              </a:ext>
            </a:extLst>
          </p:cNvPr>
          <p:cNvSpPr txBox="1"/>
          <p:nvPr/>
        </p:nvSpPr>
        <p:spPr>
          <a:xfrm>
            <a:off x="1218392" y="1901065"/>
            <a:ext cx="2217549"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Client Challenge</a:t>
            </a:r>
            <a:endParaRPr sz="2177" b="1" kern="0" dirty="0">
              <a:solidFill>
                <a:srgbClr val="000000"/>
              </a:solidFill>
              <a:latin typeface="Calibri" panose="020F0502020204030204"/>
              <a:cs typeface="Arial"/>
              <a:sym typeface="Arial"/>
            </a:endParaRPr>
          </a:p>
        </p:txBody>
      </p:sp>
      <p:grpSp>
        <p:nvGrpSpPr>
          <p:cNvPr id="84" name="Group 83">
            <a:extLst>
              <a:ext uri="{FF2B5EF4-FFF2-40B4-BE49-F238E27FC236}">
                <a16:creationId xmlns:a16="http://schemas.microsoft.com/office/drawing/2014/main" id="{CFE9919F-15F4-023E-0988-74C0DB7A8D3A}"/>
              </a:ext>
            </a:extLst>
          </p:cNvPr>
          <p:cNvGrpSpPr/>
          <p:nvPr/>
        </p:nvGrpSpPr>
        <p:grpSpPr>
          <a:xfrm>
            <a:off x="3465991" y="1746794"/>
            <a:ext cx="592190" cy="593331"/>
            <a:chOff x="3416568" y="1395569"/>
            <a:chExt cx="955760" cy="957600"/>
          </a:xfrm>
        </p:grpSpPr>
        <p:sp>
          <p:nvSpPr>
            <p:cNvPr id="72" name="Google Shape;551;p30">
              <a:extLst>
                <a:ext uri="{FF2B5EF4-FFF2-40B4-BE49-F238E27FC236}">
                  <a16:creationId xmlns:a16="http://schemas.microsoft.com/office/drawing/2014/main" id="{7AC567B8-CB2C-7B6B-00F2-D43D8D9EE06E}"/>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01" kern="0" dirty="0">
                <a:solidFill>
                  <a:srgbClr val="FFFFFF"/>
                </a:solidFill>
                <a:latin typeface="Arial"/>
                <a:cs typeface="Arial"/>
                <a:sym typeface="Arial"/>
              </a:endParaRPr>
            </a:p>
          </p:txBody>
        </p:sp>
        <p:pic>
          <p:nvPicPr>
            <p:cNvPr id="73" name="Google Shape;552;p30">
              <a:extLst>
                <a:ext uri="{FF2B5EF4-FFF2-40B4-BE49-F238E27FC236}">
                  <a16:creationId xmlns:a16="http://schemas.microsoft.com/office/drawing/2014/main" id="{E9D8B212-377A-4B1C-FE1F-44BBDA09FC1F}"/>
                </a:ext>
              </a:extLst>
            </p:cNvPr>
            <p:cNvPicPr preferRelativeResize="0"/>
            <p:nvPr/>
          </p:nvPicPr>
          <p:blipFill rotWithShape="1">
            <a:blip r:embed="rId6"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sp>
        <p:nvSpPr>
          <p:cNvPr id="74" name="Google Shape;566;p30">
            <a:extLst>
              <a:ext uri="{FF2B5EF4-FFF2-40B4-BE49-F238E27FC236}">
                <a16:creationId xmlns:a16="http://schemas.microsoft.com/office/drawing/2014/main" id="{FA21B87D-2D31-A065-F658-8E483CBC1C78}"/>
              </a:ext>
            </a:extLst>
          </p:cNvPr>
          <p:cNvSpPr>
            <a:spLocks/>
          </p:cNvSpPr>
          <p:nvPr/>
        </p:nvSpPr>
        <p:spPr>
          <a:xfrm>
            <a:off x="4262794" y="1685023"/>
            <a:ext cx="3654893" cy="716872"/>
          </a:xfrm>
          <a:prstGeom prst="round2SameRect">
            <a:avLst/>
          </a:prstGeom>
          <a:gradFill flip="none" rotWithShape="1">
            <a:gsLst>
              <a:gs pos="16000">
                <a:srgbClr val="13349A"/>
              </a:gs>
              <a:gs pos="46000">
                <a:srgbClr val="183BA6"/>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400" b="1" dirty="0">
              <a:solidFill>
                <a:schemeClr val="bg1"/>
              </a:solidFill>
              <a:latin typeface="Calibri" panose="020F0502020204030204" pitchFamily="34" charset="0"/>
              <a:cs typeface="Calibri" panose="020F0502020204030204" pitchFamily="34" charset="0"/>
              <a:sym typeface="Arial"/>
            </a:endParaRPr>
          </a:p>
        </p:txBody>
      </p:sp>
      <p:sp>
        <p:nvSpPr>
          <p:cNvPr id="75" name="Google Shape;567;p30">
            <a:extLst>
              <a:ext uri="{FF2B5EF4-FFF2-40B4-BE49-F238E27FC236}">
                <a16:creationId xmlns:a16="http://schemas.microsoft.com/office/drawing/2014/main" id="{02BEBACB-D89C-DE2E-ECB3-DEBD3F1B6A68}"/>
              </a:ext>
            </a:extLst>
          </p:cNvPr>
          <p:cNvSpPr txBox="1"/>
          <p:nvPr/>
        </p:nvSpPr>
        <p:spPr>
          <a:xfrm>
            <a:off x="5210232" y="1901065"/>
            <a:ext cx="1760015"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Our Solution</a:t>
            </a:r>
            <a:endParaRPr sz="2177" b="1" kern="0" dirty="0">
              <a:solidFill>
                <a:srgbClr val="000000"/>
              </a:solidFill>
              <a:latin typeface="Calibri" panose="020F0502020204030204"/>
              <a:cs typeface="Arial"/>
              <a:sym typeface="Arial"/>
            </a:endParaRPr>
          </a:p>
        </p:txBody>
      </p:sp>
      <p:grpSp>
        <p:nvGrpSpPr>
          <p:cNvPr id="85" name="Group 84">
            <a:extLst>
              <a:ext uri="{FF2B5EF4-FFF2-40B4-BE49-F238E27FC236}">
                <a16:creationId xmlns:a16="http://schemas.microsoft.com/office/drawing/2014/main" id="{C9087BB1-2562-AC83-FF1C-CB4ADD670F58}"/>
              </a:ext>
            </a:extLst>
          </p:cNvPr>
          <p:cNvGrpSpPr/>
          <p:nvPr/>
        </p:nvGrpSpPr>
        <p:grpSpPr>
          <a:xfrm>
            <a:off x="7222958" y="1746794"/>
            <a:ext cx="592190" cy="593331"/>
            <a:chOff x="7762572" y="1395569"/>
            <a:chExt cx="955760" cy="957600"/>
          </a:xfrm>
        </p:grpSpPr>
        <p:sp>
          <p:nvSpPr>
            <p:cNvPr id="76" name="Google Shape;568;p30">
              <a:extLst>
                <a:ext uri="{FF2B5EF4-FFF2-40B4-BE49-F238E27FC236}">
                  <a16:creationId xmlns:a16="http://schemas.microsoft.com/office/drawing/2014/main" id="{483098E1-C41C-B52A-2C2A-B7DEF91693DA}"/>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597" kern="0" dirty="0">
                <a:solidFill>
                  <a:srgbClr val="FFFFFF"/>
                </a:solidFill>
                <a:latin typeface="Arial"/>
                <a:cs typeface="Arial"/>
                <a:sym typeface="Arial"/>
              </a:endParaRPr>
            </a:p>
          </p:txBody>
        </p:sp>
        <p:pic>
          <p:nvPicPr>
            <p:cNvPr id="77" name="Google Shape;569;p30">
              <a:extLst>
                <a:ext uri="{FF2B5EF4-FFF2-40B4-BE49-F238E27FC236}">
                  <a16:creationId xmlns:a16="http://schemas.microsoft.com/office/drawing/2014/main" id="{DDBEE1B2-2558-37C2-F7C8-217F1E77F8D8}"/>
                </a:ext>
              </a:extLst>
            </p:cNvPr>
            <p:cNvPicPr preferRelativeResize="0"/>
            <p:nvPr/>
          </p:nvPicPr>
          <p:blipFill rotWithShape="1">
            <a:blip r:embed="rId7"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86" name="Group 85">
            <a:extLst>
              <a:ext uri="{FF2B5EF4-FFF2-40B4-BE49-F238E27FC236}">
                <a16:creationId xmlns:a16="http://schemas.microsoft.com/office/drawing/2014/main" id="{6CF3BF89-D5CB-F433-CD46-1D9D5B64E278}"/>
              </a:ext>
            </a:extLst>
          </p:cNvPr>
          <p:cNvGrpSpPr/>
          <p:nvPr/>
        </p:nvGrpSpPr>
        <p:grpSpPr>
          <a:xfrm>
            <a:off x="10997736" y="1746794"/>
            <a:ext cx="592190" cy="593331"/>
            <a:chOff x="12019931" y="1366765"/>
            <a:chExt cx="955760" cy="957600"/>
          </a:xfrm>
        </p:grpSpPr>
        <p:sp>
          <p:nvSpPr>
            <p:cNvPr id="79" name="Google Shape;583;p30">
              <a:extLst>
                <a:ext uri="{FF2B5EF4-FFF2-40B4-BE49-F238E27FC236}">
                  <a16:creationId xmlns:a16="http://schemas.microsoft.com/office/drawing/2014/main" id="{48B8D64B-B2F4-F87A-15EE-E731299D19AB}"/>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01" kern="0" dirty="0">
                <a:solidFill>
                  <a:srgbClr val="FFFFFF"/>
                </a:solidFill>
                <a:highlight>
                  <a:srgbClr val="FFFF00"/>
                </a:highlight>
                <a:latin typeface="Arial"/>
                <a:cs typeface="Arial"/>
                <a:sym typeface="Arial"/>
              </a:endParaRPr>
            </a:p>
          </p:txBody>
        </p:sp>
        <p:grpSp>
          <p:nvGrpSpPr>
            <p:cNvPr id="80" name="Google Shape;584;p30">
              <a:extLst>
                <a:ext uri="{FF2B5EF4-FFF2-40B4-BE49-F238E27FC236}">
                  <a16:creationId xmlns:a16="http://schemas.microsoft.com/office/drawing/2014/main" id="{EE262A71-A3A2-01C0-F4DA-72E751BCB797}"/>
                </a:ext>
              </a:extLst>
            </p:cNvPr>
            <p:cNvGrpSpPr/>
            <p:nvPr/>
          </p:nvGrpSpPr>
          <p:grpSpPr>
            <a:xfrm>
              <a:off x="12226115" y="1593618"/>
              <a:ext cx="543392" cy="503895"/>
              <a:chOff x="10915170" y="2075424"/>
              <a:chExt cx="432288" cy="400866"/>
            </a:xfrm>
          </p:grpSpPr>
          <p:sp>
            <p:nvSpPr>
              <p:cNvPr id="81" name="Google Shape;585;p30">
                <a:extLst>
                  <a:ext uri="{FF2B5EF4-FFF2-40B4-BE49-F238E27FC236}">
                    <a16:creationId xmlns:a16="http://schemas.microsoft.com/office/drawing/2014/main" id="{4A9FC926-2B21-D840-8C6F-64FF1A5DFBA9}"/>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buClr>
                    <a:srgbClr val="000000"/>
                  </a:buClr>
                </a:pPr>
                <a:endParaRPr sz="1801" kern="0" dirty="0">
                  <a:solidFill>
                    <a:srgbClr val="444444"/>
                  </a:solidFill>
                  <a:highlight>
                    <a:srgbClr val="FFFF00"/>
                  </a:highlight>
                  <a:latin typeface="Calibri"/>
                  <a:ea typeface="Calibri"/>
                  <a:cs typeface="Calibri"/>
                  <a:sym typeface="Calibri"/>
                </a:endParaRPr>
              </a:p>
            </p:txBody>
          </p:sp>
          <p:sp>
            <p:nvSpPr>
              <p:cNvPr id="82" name="Google Shape;586;p30">
                <a:extLst>
                  <a:ext uri="{FF2B5EF4-FFF2-40B4-BE49-F238E27FC236}">
                    <a16:creationId xmlns:a16="http://schemas.microsoft.com/office/drawing/2014/main" id="{DD05F787-065E-1133-86E6-3AF1EDEE739F}"/>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buClr>
                    <a:srgbClr val="000000"/>
                  </a:buClr>
                </a:pPr>
                <a:endParaRPr sz="1801" kern="0" dirty="0">
                  <a:solidFill>
                    <a:srgbClr val="444444"/>
                  </a:solidFill>
                  <a:highlight>
                    <a:srgbClr val="FFFF00"/>
                  </a:highlight>
                  <a:latin typeface="Calibri"/>
                  <a:ea typeface="Calibri"/>
                  <a:cs typeface="Calibri"/>
                  <a:sym typeface="Calibri"/>
                </a:endParaRPr>
              </a:p>
            </p:txBody>
          </p:sp>
        </p:grpSp>
      </p:grpSp>
      <p:grpSp>
        <p:nvGrpSpPr>
          <p:cNvPr id="2" name="Group 1">
            <a:extLst>
              <a:ext uri="{FF2B5EF4-FFF2-40B4-BE49-F238E27FC236}">
                <a16:creationId xmlns:a16="http://schemas.microsoft.com/office/drawing/2014/main" id="{621799D4-3A15-E3E8-C631-D79D8E60224E}"/>
              </a:ext>
            </a:extLst>
          </p:cNvPr>
          <p:cNvGrpSpPr/>
          <p:nvPr/>
        </p:nvGrpSpPr>
        <p:grpSpPr>
          <a:xfrm>
            <a:off x="4489978" y="5250140"/>
            <a:ext cx="3177496" cy="690816"/>
            <a:chOff x="4949498" y="5682606"/>
            <a:chExt cx="3502693" cy="761517"/>
          </a:xfrm>
        </p:grpSpPr>
        <p:sp>
          <p:nvSpPr>
            <p:cNvPr id="50" name="Google Shape;573;p30">
              <a:extLst>
                <a:ext uri="{FF2B5EF4-FFF2-40B4-BE49-F238E27FC236}">
                  <a16:creationId xmlns:a16="http://schemas.microsoft.com/office/drawing/2014/main" id="{8258115C-502F-0BBB-962A-03BFE0454D92}"/>
                </a:ext>
              </a:extLst>
            </p:cNvPr>
            <p:cNvSpPr txBox="1"/>
            <p:nvPr/>
          </p:nvSpPr>
          <p:spPr>
            <a:xfrm>
              <a:off x="5582955" y="5682606"/>
              <a:ext cx="2869236" cy="761517"/>
            </a:xfrm>
            <a:prstGeom prst="rect">
              <a:avLst/>
            </a:prstGeom>
            <a:noFill/>
            <a:ln>
              <a:noFill/>
            </a:ln>
          </p:spPr>
          <p:txBody>
            <a:bodyPr spcFirstLastPara="1" wrap="square" lIns="0" tIns="0" rIns="0" bIns="0" anchor="t" anchorCtr="0">
              <a:noAutofit/>
            </a:bodyPr>
            <a:lstStyle/>
            <a:p>
              <a:pPr defTabSz="829544">
                <a:buClr>
                  <a:srgbClr val="000000"/>
                </a:buClr>
              </a:pPr>
              <a:r>
                <a:rPr lang="en-IN" sz="1452" b="1" kern="0" dirty="0">
                  <a:solidFill>
                    <a:srgbClr val="000000"/>
                  </a:solidFill>
                  <a:latin typeface="Calibri" panose="020F0502020204030204"/>
                  <a:ea typeface="Calibri"/>
                  <a:cs typeface="Calibri"/>
                  <a:sym typeface="Calibri"/>
                </a:rPr>
                <a:t>Ad-hoc deliverables: </a:t>
              </a:r>
              <a:r>
                <a:rPr lang="en-IN" sz="1452" kern="0" dirty="0">
                  <a:solidFill>
                    <a:srgbClr val="000000"/>
                  </a:solidFill>
                  <a:latin typeface="Calibri" panose="020F0502020204030204"/>
                  <a:ea typeface="Calibri"/>
                  <a:cs typeface="Calibri"/>
                  <a:sym typeface="Calibri"/>
                </a:rPr>
                <a:t>Dictionaries, Creation of Metadata, Data Quality Process</a:t>
              </a:r>
              <a:endParaRPr sz="1452" kern="0" dirty="0">
                <a:solidFill>
                  <a:srgbClr val="000000"/>
                </a:solidFill>
                <a:latin typeface="Calibri" panose="020F0502020204030204"/>
                <a:ea typeface="Calibri"/>
                <a:cs typeface="Calibri"/>
                <a:sym typeface="Calibri"/>
              </a:endParaRPr>
            </a:p>
          </p:txBody>
        </p:sp>
        <p:grpSp>
          <p:nvGrpSpPr>
            <p:cNvPr id="107" name="Group 106">
              <a:extLst>
                <a:ext uri="{FF2B5EF4-FFF2-40B4-BE49-F238E27FC236}">
                  <a16:creationId xmlns:a16="http://schemas.microsoft.com/office/drawing/2014/main" id="{7204C0D3-58D2-E0D3-E238-A0CC367FFF7D}"/>
                </a:ext>
              </a:extLst>
            </p:cNvPr>
            <p:cNvGrpSpPr>
              <a:grpSpLocks noChangeAspect="1"/>
            </p:cNvGrpSpPr>
            <p:nvPr/>
          </p:nvGrpSpPr>
          <p:grpSpPr>
            <a:xfrm>
              <a:off x="4949498" y="5682606"/>
              <a:ext cx="548640" cy="548640"/>
              <a:chOff x="4887648" y="6069599"/>
              <a:chExt cx="503992" cy="503992"/>
            </a:xfrm>
          </p:grpSpPr>
          <p:sp>
            <p:nvSpPr>
              <p:cNvPr id="62" name="Google Shape;558;p30">
                <a:extLst>
                  <a:ext uri="{FF2B5EF4-FFF2-40B4-BE49-F238E27FC236}">
                    <a16:creationId xmlns:a16="http://schemas.microsoft.com/office/drawing/2014/main" id="{54180ABC-A787-9438-4AB6-3C4600014C42}"/>
                  </a:ext>
                </a:extLst>
              </p:cNvPr>
              <p:cNvSpPr/>
              <p:nvPr/>
            </p:nvSpPr>
            <p:spPr>
              <a:xfrm>
                <a:off x="4887648" y="6069599"/>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633" kern="0" dirty="0">
                  <a:solidFill>
                    <a:srgbClr val="FFFFFF"/>
                  </a:solidFill>
                  <a:latin typeface="Calibri" panose="020F0502020204030204"/>
                  <a:ea typeface="Calibri"/>
                  <a:cs typeface="Calibri"/>
                  <a:sym typeface="Calibri"/>
                </a:endParaRPr>
              </a:p>
            </p:txBody>
          </p:sp>
          <p:pic>
            <p:nvPicPr>
              <p:cNvPr id="93" name="Graphic 92">
                <a:extLst>
                  <a:ext uri="{FF2B5EF4-FFF2-40B4-BE49-F238E27FC236}">
                    <a16:creationId xmlns:a16="http://schemas.microsoft.com/office/drawing/2014/main" id="{8AEE5EC5-F600-6F3A-0573-766B005E00F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35553" y="6184975"/>
                <a:ext cx="208183" cy="273240"/>
              </a:xfrm>
              <a:prstGeom prst="rect">
                <a:avLst/>
              </a:prstGeom>
            </p:spPr>
          </p:pic>
        </p:grpSp>
      </p:grpSp>
      <p:grpSp>
        <p:nvGrpSpPr>
          <p:cNvPr id="3" name="Group 2">
            <a:extLst>
              <a:ext uri="{FF2B5EF4-FFF2-40B4-BE49-F238E27FC236}">
                <a16:creationId xmlns:a16="http://schemas.microsoft.com/office/drawing/2014/main" id="{D7928818-26F9-4C07-9E98-4BD719FCA425}"/>
              </a:ext>
            </a:extLst>
          </p:cNvPr>
          <p:cNvGrpSpPr/>
          <p:nvPr/>
        </p:nvGrpSpPr>
        <p:grpSpPr>
          <a:xfrm>
            <a:off x="4489977" y="4325452"/>
            <a:ext cx="3200523" cy="504461"/>
            <a:chOff x="4949498" y="4489546"/>
            <a:chExt cx="3528076" cy="556089"/>
          </a:xfrm>
        </p:grpSpPr>
        <p:sp>
          <p:nvSpPr>
            <p:cNvPr id="58" name="Google Shape;581;p30">
              <a:extLst>
                <a:ext uri="{FF2B5EF4-FFF2-40B4-BE49-F238E27FC236}">
                  <a16:creationId xmlns:a16="http://schemas.microsoft.com/office/drawing/2014/main" id="{CA120129-9FC4-C99D-6C2E-0EF68BB29563}"/>
                </a:ext>
              </a:extLst>
            </p:cNvPr>
            <p:cNvSpPr txBox="1"/>
            <p:nvPr/>
          </p:nvSpPr>
          <p:spPr>
            <a:xfrm>
              <a:off x="5582955" y="4489546"/>
              <a:ext cx="2894619" cy="556089"/>
            </a:xfrm>
            <a:prstGeom prst="rect">
              <a:avLst/>
            </a:prstGeom>
            <a:noFill/>
            <a:ln>
              <a:noFill/>
            </a:ln>
          </p:spPr>
          <p:txBody>
            <a:bodyPr spcFirstLastPara="1" wrap="square" lIns="0" tIns="0" rIns="0" bIns="0" anchor="t" anchorCtr="0">
              <a:noAutofit/>
            </a:bodyPr>
            <a:lstStyle/>
            <a:p>
              <a:pPr defTabSz="829544">
                <a:buClr>
                  <a:srgbClr val="000000"/>
                </a:buClr>
              </a:pPr>
              <a:r>
                <a:rPr lang="en-IN" sz="1452" b="1" kern="0" dirty="0">
                  <a:solidFill>
                    <a:srgbClr val="000000"/>
                  </a:solidFill>
                  <a:latin typeface="Calibri" panose="020F0502020204030204"/>
                  <a:ea typeface="Calibri"/>
                  <a:cs typeface="Calibri"/>
                  <a:sym typeface="Calibri"/>
                </a:rPr>
                <a:t>Dashboard creation </a:t>
              </a:r>
              <a:r>
                <a:rPr lang="en-IN" sz="1452" kern="0" dirty="0">
                  <a:solidFill>
                    <a:srgbClr val="000000"/>
                  </a:solidFill>
                  <a:latin typeface="Calibri" panose="020F0502020204030204"/>
                  <a:ea typeface="Calibri"/>
                  <a:cs typeface="Calibri"/>
                  <a:sym typeface="Calibri"/>
                </a:rPr>
                <a:t>reflecting the HR Team’s needs</a:t>
              </a:r>
              <a:endParaRPr sz="1452" kern="0" dirty="0">
                <a:solidFill>
                  <a:srgbClr val="000000"/>
                </a:solidFill>
                <a:latin typeface="Calibri" panose="020F0502020204030204"/>
                <a:cs typeface="Arial"/>
                <a:sym typeface="Arial"/>
              </a:endParaRPr>
            </a:p>
          </p:txBody>
        </p:sp>
        <p:grpSp>
          <p:nvGrpSpPr>
            <p:cNvPr id="108" name="Group 107">
              <a:extLst>
                <a:ext uri="{FF2B5EF4-FFF2-40B4-BE49-F238E27FC236}">
                  <a16:creationId xmlns:a16="http://schemas.microsoft.com/office/drawing/2014/main" id="{D5C9D8CD-08C0-6C33-0825-5A615165193E}"/>
                </a:ext>
              </a:extLst>
            </p:cNvPr>
            <p:cNvGrpSpPr>
              <a:grpSpLocks noChangeAspect="1"/>
            </p:cNvGrpSpPr>
            <p:nvPr/>
          </p:nvGrpSpPr>
          <p:grpSpPr>
            <a:xfrm>
              <a:off x="4949498" y="4489546"/>
              <a:ext cx="548640" cy="548640"/>
              <a:chOff x="4887648" y="5202916"/>
              <a:chExt cx="503992" cy="503992"/>
            </a:xfrm>
          </p:grpSpPr>
          <p:sp>
            <p:nvSpPr>
              <p:cNvPr id="61" name="Google Shape;557;p30">
                <a:extLst>
                  <a:ext uri="{FF2B5EF4-FFF2-40B4-BE49-F238E27FC236}">
                    <a16:creationId xmlns:a16="http://schemas.microsoft.com/office/drawing/2014/main" id="{E65C1931-357A-5C4E-2EAF-CDA16EB9A04B}"/>
                  </a:ext>
                </a:extLst>
              </p:cNvPr>
              <p:cNvSpPr/>
              <p:nvPr/>
            </p:nvSpPr>
            <p:spPr>
              <a:xfrm>
                <a:off x="4887648" y="5202916"/>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633" kern="0" dirty="0">
                  <a:solidFill>
                    <a:srgbClr val="FFFFFF"/>
                  </a:solidFill>
                  <a:latin typeface="Calibri" panose="020F0502020204030204"/>
                  <a:ea typeface="Calibri"/>
                  <a:cs typeface="Calibri"/>
                  <a:sym typeface="Calibri"/>
                </a:endParaRPr>
              </a:p>
            </p:txBody>
          </p:sp>
          <p:pic>
            <p:nvPicPr>
              <p:cNvPr id="95" name="Graphic 94">
                <a:extLst>
                  <a:ext uri="{FF2B5EF4-FFF2-40B4-BE49-F238E27FC236}">
                    <a16:creationId xmlns:a16="http://schemas.microsoft.com/office/drawing/2014/main" id="{C91E8C00-1FC6-FF18-A77E-5E57804ECC3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99772" y="5321545"/>
                <a:ext cx="279745" cy="266734"/>
              </a:xfrm>
              <a:prstGeom prst="rect">
                <a:avLst/>
              </a:prstGeom>
            </p:spPr>
          </p:pic>
        </p:grpSp>
      </p:grpSp>
      <p:grpSp>
        <p:nvGrpSpPr>
          <p:cNvPr id="6" name="Group 5">
            <a:extLst>
              <a:ext uri="{FF2B5EF4-FFF2-40B4-BE49-F238E27FC236}">
                <a16:creationId xmlns:a16="http://schemas.microsoft.com/office/drawing/2014/main" id="{1501DFB2-3B68-EA9E-4CBB-4C29544971F1}"/>
              </a:ext>
            </a:extLst>
          </p:cNvPr>
          <p:cNvGrpSpPr/>
          <p:nvPr/>
        </p:nvGrpSpPr>
        <p:grpSpPr>
          <a:xfrm>
            <a:off x="4489978" y="3250573"/>
            <a:ext cx="3234377" cy="654653"/>
            <a:chOff x="4949498" y="3583148"/>
            <a:chExt cx="3565395" cy="721653"/>
          </a:xfrm>
        </p:grpSpPr>
        <p:sp>
          <p:nvSpPr>
            <p:cNvPr id="51" name="Google Shape;574;p30">
              <a:extLst>
                <a:ext uri="{FF2B5EF4-FFF2-40B4-BE49-F238E27FC236}">
                  <a16:creationId xmlns:a16="http://schemas.microsoft.com/office/drawing/2014/main" id="{005CAD1D-944C-12B5-3975-9D7EEFA5C4F9}"/>
                </a:ext>
              </a:extLst>
            </p:cNvPr>
            <p:cNvSpPr txBox="1"/>
            <p:nvPr/>
          </p:nvSpPr>
          <p:spPr>
            <a:xfrm>
              <a:off x="5582954" y="3583149"/>
              <a:ext cx="2931939" cy="721652"/>
            </a:xfrm>
            <a:prstGeom prst="rect">
              <a:avLst/>
            </a:prstGeom>
            <a:noFill/>
            <a:ln>
              <a:noFill/>
            </a:ln>
          </p:spPr>
          <p:txBody>
            <a:bodyPr spcFirstLastPara="1" wrap="square" lIns="0" tIns="0" rIns="0" bIns="0" anchor="t" anchorCtr="0">
              <a:noAutofit/>
            </a:bodyPr>
            <a:lstStyle/>
            <a:p>
              <a:pPr defTabSz="829544">
                <a:buClr>
                  <a:srgbClr val="000000"/>
                </a:buClr>
              </a:pPr>
              <a:r>
                <a:rPr lang="en-IN" sz="1452" b="1" kern="0" dirty="0">
                  <a:solidFill>
                    <a:srgbClr val="000000"/>
                  </a:solidFill>
                  <a:latin typeface="Calibri" panose="020F0502020204030204"/>
                  <a:ea typeface="Calibri"/>
                  <a:cs typeface="Calibri"/>
                  <a:sym typeface="Calibri"/>
                </a:rPr>
                <a:t>Data Quality &amp; Consistency problems </a:t>
              </a:r>
              <a:r>
                <a:rPr lang="en-IN" sz="1452" kern="0" dirty="0">
                  <a:solidFill>
                    <a:srgbClr val="000000"/>
                  </a:solidFill>
                  <a:latin typeface="Calibri" panose="020F0502020204030204"/>
                  <a:ea typeface="Calibri"/>
                  <a:cs typeface="Calibri"/>
                  <a:sym typeface="Calibri"/>
                </a:rPr>
                <a:t>between the various Data sources </a:t>
              </a:r>
              <a:endParaRPr sz="1452" kern="0" dirty="0">
                <a:solidFill>
                  <a:srgbClr val="000000"/>
                </a:solidFill>
                <a:latin typeface="Calibri" panose="020F0502020204030204"/>
                <a:ea typeface="Calibri"/>
                <a:cs typeface="Calibri"/>
                <a:sym typeface="Calibri"/>
              </a:endParaRPr>
            </a:p>
          </p:txBody>
        </p:sp>
        <p:grpSp>
          <p:nvGrpSpPr>
            <p:cNvPr id="109" name="Group 108">
              <a:extLst>
                <a:ext uri="{FF2B5EF4-FFF2-40B4-BE49-F238E27FC236}">
                  <a16:creationId xmlns:a16="http://schemas.microsoft.com/office/drawing/2014/main" id="{5CE5F806-D9B9-A341-7D59-E4F409367725}"/>
                </a:ext>
              </a:extLst>
            </p:cNvPr>
            <p:cNvGrpSpPr>
              <a:grpSpLocks noChangeAspect="1"/>
            </p:cNvGrpSpPr>
            <p:nvPr/>
          </p:nvGrpSpPr>
          <p:grpSpPr>
            <a:xfrm>
              <a:off x="4949498" y="3583148"/>
              <a:ext cx="548640" cy="548640"/>
              <a:chOff x="4887648" y="4398723"/>
              <a:chExt cx="503992" cy="503992"/>
            </a:xfrm>
          </p:grpSpPr>
          <p:sp>
            <p:nvSpPr>
              <p:cNvPr id="60" name="Google Shape;554;p30">
                <a:extLst>
                  <a:ext uri="{FF2B5EF4-FFF2-40B4-BE49-F238E27FC236}">
                    <a16:creationId xmlns:a16="http://schemas.microsoft.com/office/drawing/2014/main" id="{F5D8EFBA-BAC2-A0B0-D5F2-9F27A0F90746}"/>
                  </a:ext>
                </a:extLst>
              </p:cNvPr>
              <p:cNvSpPr/>
              <p:nvPr/>
            </p:nvSpPr>
            <p:spPr>
              <a:xfrm>
                <a:off x="4887648" y="4398723"/>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633" kern="0" dirty="0">
                  <a:solidFill>
                    <a:srgbClr val="FFFFFF"/>
                  </a:solidFill>
                  <a:latin typeface="Calibri" panose="020F0502020204030204"/>
                  <a:ea typeface="Calibri"/>
                  <a:cs typeface="Calibri"/>
                  <a:sym typeface="Calibri"/>
                </a:endParaRPr>
              </a:p>
            </p:txBody>
          </p:sp>
          <p:pic>
            <p:nvPicPr>
              <p:cNvPr id="97" name="Graphic 96">
                <a:extLst>
                  <a:ext uri="{FF2B5EF4-FFF2-40B4-BE49-F238E27FC236}">
                    <a16:creationId xmlns:a16="http://schemas.microsoft.com/office/drawing/2014/main" id="{C186A730-E4A6-3D02-20D9-23701BFAC45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99772" y="4536870"/>
                <a:ext cx="279745" cy="227699"/>
              </a:xfrm>
              <a:prstGeom prst="rect">
                <a:avLst/>
              </a:prstGeom>
            </p:spPr>
          </p:pic>
        </p:grpSp>
      </p:grpSp>
      <p:grpSp>
        <p:nvGrpSpPr>
          <p:cNvPr id="8" name="Group 7">
            <a:extLst>
              <a:ext uri="{FF2B5EF4-FFF2-40B4-BE49-F238E27FC236}">
                <a16:creationId xmlns:a16="http://schemas.microsoft.com/office/drawing/2014/main" id="{6F0A3FAE-A731-5EB4-AD10-EF5D09714566}"/>
              </a:ext>
            </a:extLst>
          </p:cNvPr>
          <p:cNvGrpSpPr/>
          <p:nvPr/>
        </p:nvGrpSpPr>
        <p:grpSpPr>
          <a:xfrm>
            <a:off x="729106" y="4559473"/>
            <a:ext cx="3097524" cy="497703"/>
            <a:chOff x="803725" y="4868493"/>
            <a:chExt cx="3414536" cy="548640"/>
          </a:xfrm>
        </p:grpSpPr>
        <p:sp>
          <p:nvSpPr>
            <p:cNvPr id="45" name="Google Shape;562;p30">
              <a:extLst>
                <a:ext uri="{FF2B5EF4-FFF2-40B4-BE49-F238E27FC236}">
                  <a16:creationId xmlns:a16="http://schemas.microsoft.com/office/drawing/2014/main" id="{F17C599E-94BF-773D-C245-38BF2B699897}"/>
                </a:ext>
              </a:extLst>
            </p:cNvPr>
            <p:cNvSpPr txBox="1"/>
            <p:nvPr/>
          </p:nvSpPr>
          <p:spPr>
            <a:xfrm>
              <a:off x="1437182" y="4868493"/>
              <a:ext cx="2781079" cy="480375"/>
            </a:xfrm>
            <a:prstGeom prst="rect">
              <a:avLst/>
            </a:prstGeom>
            <a:noFill/>
            <a:ln>
              <a:noFill/>
            </a:ln>
          </p:spPr>
          <p:txBody>
            <a:bodyPr spcFirstLastPara="1" wrap="square" lIns="0" tIns="0" rIns="0" bIns="0" anchor="t" anchorCtr="0">
              <a:noAutofit/>
            </a:bodyPr>
            <a:lstStyle/>
            <a:p>
              <a:pPr defTabSz="829544">
                <a:buClr>
                  <a:srgbClr val="000000"/>
                </a:buClr>
              </a:pPr>
              <a:r>
                <a:rPr lang="en-IN" sz="1452" b="1" kern="0" dirty="0">
                  <a:solidFill>
                    <a:srgbClr val="444444"/>
                  </a:solidFill>
                  <a:latin typeface="Calibri" panose="020F0502020204030204"/>
                  <a:ea typeface="Calibri"/>
                  <a:cs typeface="Calibri"/>
                  <a:sym typeface="Calibri"/>
                </a:rPr>
                <a:t>Smooth integration </a:t>
              </a:r>
              <a:r>
                <a:rPr lang="en-IN" sz="1452" kern="0" dirty="0">
                  <a:solidFill>
                    <a:srgbClr val="444444"/>
                  </a:solidFill>
                  <a:latin typeface="Calibri" panose="020F0502020204030204"/>
                  <a:ea typeface="Calibri"/>
                  <a:cs typeface="Calibri"/>
                  <a:sym typeface="Calibri"/>
                </a:rPr>
                <a:t>with its existing ERPs </a:t>
              </a:r>
              <a:endParaRPr sz="1452" kern="0" dirty="0">
                <a:solidFill>
                  <a:srgbClr val="000000"/>
                </a:solidFill>
                <a:latin typeface="Calibri" panose="020F0502020204030204"/>
                <a:ea typeface="Calibri"/>
                <a:cs typeface="Calibri"/>
                <a:sym typeface="Calibri"/>
              </a:endParaRPr>
            </a:p>
            <a:p>
              <a:pPr defTabSz="829544">
                <a:buClr>
                  <a:srgbClr val="000000"/>
                </a:buClr>
              </a:pPr>
              <a:endParaRPr sz="1452" kern="0" dirty="0">
                <a:solidFill>
                  <a:srgbClr val="000000"/>
                </a:solidFill>
                <a:latin typeface="Calibri" panose="020F0502020204030204"/>
                <a:ea typeface="Calibri"/>
                <a:cs typeface="Calibri"/>
                <a:sym typeface="Calibri"/>
              </a:endParaRPr>
            </a:p>
          </p:txBody>
        </p:sp>
        <p:grpSp>
          <p:nvGrpSpPr>
            <p:cNvPr id="105" name="Group 104">
              <a:extLst>
                <a:ext uri="{FF2B5EF4-FFF2-40B4-BE49-F238E27FC236}">
                  <a16:creationId xmlns:a16="http://schemas.microsoft.com/office/drawing/2014/main" id="{18960702-537C-1A5E-1878-F36F610892A0}"/>
                </a:ext>
              </a:extLst>
            </p:cNvPr>
            <p:cNvGrpSpPr>
              <a:grpSpLocks noChangeAspect="1"/>
            </p:cNvGrpSpPr>
            <p:nvPr/>
          </p:nvGrpSpPr>
          <p:grpSpPr>
            <a:xfrm>
              <a:off x="803725" y="4868493"/>
              <a:ext cx="548640" cy="548640"/>
              <a:chOff x="698421" y="5202916"/>
              <a:chExt cx="503992" cy="503992"/>
            </a:xfrm>
          </p:grpSpPr>
          <p:sp>
            <p:nvSpPr>
              <p:cNvPr id="40" name="Google Shape;557;p30">
                <a:extLst>
                  <a:ext uri="{FF2B5EF4-FFF2-40B4-BE49-F238E27FC236}">
                    <a16:creationId xmlns:a16="http://schemas.microsoft.com/office/drawing/2014/main" id="{08C8BDB2-E3E5-53B9-2202-C21D6B180F4C}"/>
                  </a:ext>
                </a:extLst>
              </p:cNvPr>
              <p:cNvSpPr/>
              <p:nvPr/>
            </p:nvSpPr>
            <p:spPr>
              <a:xfrm>
                <a:off x="698421" y="5202916"/>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633" kern="0" dirty="0">
                  <a:solidFill>
                    <a:srgbClr val="FFFFFF"/>
                  </a:solidFill>
                  <a:latin typeface="Calibri" panose="020F0502020204030204"/>
                  <a:ea typeface="Calibri"/>
                  <a:cs typeface="Calibri"/>
                  <a:sym typeface="Calibri"/>
                </a:endParaRPr>
              </a:p>
            </p:txBody>
          </p:sp>
          <p:pic>
            <p:nvPicPr>
              <p:cNvPr id="99" name="Graphic 98">
                <a:extLst>
                  <a:ext uri="{FF2B5EF4-FFF2-40B4-BE49-F238E27FC236}">
                    <a16:creationId xmlns:a16="http://schemas.microsoft.com/office/drawing/2014/main" id="{2B846CB2-3518-09A6-9C50-1F216312539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65005" y="5311787"/>
                <a:ext cx="370825" cy="286251"/>
              </a:xfrm>
              <a:prstGeom prst="rect">
                <a:avLst/>
              </a:prstGeom>
            </p:spPr>
          </p:pic>
        </p:grpSp>
      </p:grpSp>
      <p:grpSp>
        <p:nvGrpSpPr>
          <p:cNvPr id="9" name="Group 8">
            <a:extLst>
              <a:ext uri="{FF2B5EF4-FFF2-40B4-BE49-F238E27FC236}">
                <a16:creationId xmlns:a16="http://schemas.microsoft.com/office/drawing/2014/main" id="{1A4C949B-7D34-E301-FC07-64DF823C7192}"/>
              </a:ext>
            </a:extLst>
          </p:cNvPr>
          <p:cNvGrpSpPr/>
          <p:nvPr/>
        </p:nvGrpSpPr>
        <p:grpSpPr>
          <a:xfrm>
            <a:off x="729106" y="5443253"/>
            <a:ext cx="3158438" cy="497703"/>
            <a:chOff x="803725" y="5774197"/>
            <a:chExt cx="3481684" cy="548640"/>
          </a:xfrm>
        </p:grpSpPr>
        <p:sp>
          <p:nvSpPr>
            <p:cNvPr id="43" name="Google Shape;560;p30">
              <a:extLst>
                <a:ext uri="{FF2B5EF4-FFF2-40B4-BE49-F238E27FC236}">
                  <a16:creationId xmlns:a16="http://schemas.microsoft.com/office/drawing/2014/main" id="{F6AB3F0C-0A45-7CB8-2CC6-79CA465D629A}"/>
                </a:ext>
              </a:extLst>
            </p:cNvPr>
            <p:cNvSpPr txBox="1"/>
            <p:nvPr/>
          </p:nvSpPr>
          <p:spPr>
            <a:xfrm>
              <a:off x="1437182" y="5774197"/>
              <a:ext cx="2848227" cy="492444"/>
            </a:xfrm>
            <a:prstGeom prst="rect">
              <a:avLst/>
            </a:prstGeom>
            <a:noFill/>
            <a:ln>
              <a:noFill/>
            </a:ln>
          </p:spPr>
          <p:txBody>
            <a:bodyPr spcFirstLastPara="1" wrap="square" lIns="0" tIns="0" rIns="0" bIns="0" anchor="t" anchorCtr="0">
              <a:noAutofit/>
            </a:bodyPr>
            <a:lstStyle/>
            <a:p>
              <a:pPr defTabSz="829544">
                <a:buClr>
                  <a:srgbClr val="000000"/>
                </a:buClr>
              </a:pPr>
              <a:r>
                <a:rPr lang="en-IN" sz="1452" b="1" kern="0" dirty="0">
                  <a:solidFill>
                    <a:srgbClr val="444444"/>
                  </a:solidFill>
                  <a:latin typeface="Calibri" panose="020F0502020204030204"/>
                  <a:ea typeface="Calibri"/>
                  <a:cs typeface="Calibri"/>
                  <a:sym typeface="Calibri"/>
                </a:rPr>
                <a:t>Lower cost </a:t>
              </a:r>
              <a:r>
                <a:rPr lang="en-IN" sz="1452" kern="0" dirty="0">
                  <a:solidFill>
                    <a:srgbClr val="444444"/>
                  </a:solidFill>
                  <a:latin typeface="Calibri" panose="020F0502020204030204"/>
                  <a:ea typeface="Calibri"/>
                  <a:cs typeface="Calibri"/>
                  <a:sym typeface="Calibri"/>
                </a:rPr>
                <a:t>than subscribing to a dedicated HR Dashboard tool</a:t>
              </a:r>
              <a:endParaRPr sz="1452" kern="0" dirty="0">
                <a:solidFill>
                  <a:srgbClr val="000000"/>
                </a:solidFill>
                <a:latin typeface="Calibri" panose="020F0502020204030204"/>
                <a:ea typeface="Calibri"/>
                <a:cs typeface="Calibri"/>
                <a:sym typeface="Calibri"/>
              </a:endParaRPr>
            </a:p>
          </p:txBody>
        </p:sp>
        <p:grpSp>
          <p:nvGrpSpPr>
            <p:cNvPr id="106" name="Group 105">
              <a:extLst>
                <a:ext uri="{FF2B5EF4-FFF2-40B4-BE49-F238E27FC236}">
                  <a16:creationId xmlns:a16="http://schemas.microsoft.com/office/drawing/2014/main" id="{3194FCBF-429F-AB76-68B1-38ED9C61B9BB}"/>
                </a:ext>
              </a:extLst>
            </p:cNvPr>
            <p:cNvGrpSpPr>
              <a:grpSpLocks noChangeAspect="1"/>
            </p:cNvGrpSpPr>
            <p:nvPr/>
          </p:nvGrpSpPr>
          <p:grpSpPr>
            <a:xfrm>
              <a:off x="803725" y="5774197"/>
              <a:ext cx="548640" cy="548640"/>
              <a:chOff x="698421" y="6069599"/>
              <a:chExt cx="503992" cy="503992"/>
            </a:xfrm>
          </p:grpSpPr>
          <p:sp>
            <p:nvSpPr>
              <p:cNvPr id="41" name="Google Shape;558;p30">
                <a:extLst>
                  <a:ext uri="{FF2B5EF4-FFF2-40B4-BE49-F238E27FC236}">
                    <a16:creationId xmlns:a16="http://schemas.microsoft.com/office/drawing/2014/main" id="{A3A4C06D-64B3-1800-FAEE-591C217639B0}"/>
                  </a:ext>
                </a:extLst>
              </p:cNvPr>
              <p:cNvSpPr/>
              <p:nvPr/>
            </p:nvSpPr>
            <p:spPr>
              <a:xfrm>
                <a:off x="698421" y="6069599"/>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633" kern="0" dirty="0">
                  <a:solidFill>
                    <a:srgbClr val="FFFFFF"/>
                  </a:solidFill>
                  <a:latin typeface="Calibri" panose="020F0502020204030204"/>
                  <a:ea typeface="Calibri"/>
                  <a:cs typeface="Calibri"/>
                  <a:sym typeface="Calibri"/>
                </a:endParaRPr>
              </a:p>
            </p:txBody>
          </p:sp>
          <p:pic>
            <p:nvPicPr>
              <p:cNvPr id="101" name="Graphic 100">
                <a:extLst>
                  <a:ext uri="{FF2B5EF4-FFF2-40B4-BE49-F238E27FC236}">
                    <a16:creationId xmlns:a16="http://schemas.microsoft.com/office/drawing/2014/main" id="{861713B8-2C91-3566-DB36-D664C6164E8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17050" y="6188228"/>
                <a:ext cx="266734" cy="266734"/>
              </a:xfrm>
              <a:prstGeom prst="rect">
                <a:avLst/>
              </a:prstGeom>
            </p:spPr>
          </p:pic>
        </p:grpSp>
      </p:grpSp>
      <p:sp>
        <p:nvSpPr>
          <p:cNvPr id="44" name="Google Shape;561;p30">
            <a:extLst>
              <a:ext uri="{FF2B5EF4-FFF2-40B4-BE49-F238E27FC236}">
                <a16:creationId xmlns:a16="http://schemas.microsoft.com/office/drawing/2014/main" id="{EE28414E-DAF0-116D-6048-D41825AC3162}"/>
              </a:ext>
            </a:extLst>
          </p:cNvPr>
          <p:cNvSpPr txBox="1"/>
          <p:nvPr/>
        </p:nvSpPr>
        <p:spPr>
          <a:xfrm>
            <a:off x="1303753" y="3804965"/>
            <a:ext cx="2256441" cy="294612"/>
          </a:xfrm>
          <a:prstGeom prst="rect">
            <a:avLst/>
          </a:prstGeom>
          <a:noFill/>
          <a:ln>
            <a:noFill/>
          </a:ln>
        </p:spPr>
        <p:txBody>
          <a:bodyPr spcFirstLastPara="1" wrap="square" lIns="0" tIns="0" rIns="0" bIns="0" anchor="t" anchorCtr="0">
            <a:noAutofit/>
          </a:bodyPr>
          <a:lstStyle/>
          <a:p>
            <a:pPr defTabSz="829544">
              <a:buClr>
                <a:srgbClr val="000000"/>
              </a:buClr>
            </a:pPr>
            <a:r>
              <a:rPr lang="en-IN" sz="1452" b="1" kern="0" dirty="0">
                <a:solidFill>
                  <a:srgbClr val="444444"/>
                </a:solidFill>
                <a:latin typeface="Calibri" panose="020F0502020204030204"/>
                <a:ea typeface="Calibri"/>
                <a:cs typeface="Calibri"/>
                <a:sym typeface="Calibri"/>
              </a:rPr>
              <a:t>Effective and quick </a:t>
            </a:r>
            <a:r>
              <a:rPr lang="en-IN" sz="1452" kern="0" dirty="0">
                <a:solidFill>
                  <a:srgbClr val="444444"/>
                </a:solidFill>
                <a:latin typeface="Calibri" panose="020F0502020204030204"/>
                <a:ea typeface="Calibri"/>
                <a:cs typeface="Calibri"/>
                <a:sym typeface="Calibri"/>
              </a:rPr>
              <a:t>solution</a:t>
            </a:r>
            <a:endParaRPr sz="1452" kern="0" dirty="0">
              <a:solidFill>
                <a:srgbClr val="000000"/>
              </a:solidFill>
              <a:latin typeface="Calibri" panose="020F0502020204030204"/>
              <a:ea typeface="Calibri"/>
              <a:cs typeface="Calibri"/>
              <a:sym typeface="Calibri"/>
            </a:endParaRPr>
          </a:p>
        </p:txBody>
      </p:sp>
      <p:grpSp>
        <p:nvGrpSpPr>
          <p:cNvPr id="104" name="Group 103">
            <a:extLst>
              <a:ext uri="{FF2B5EF4-FFF2-40B4-BE49-F238E27FC236}">
                <a16:creationId xmlns:a16="http://schemas.microsoft.com/office/drawing/2014/main" id="{8EE21ADA-325A-94C8-296D-3EF276C1764A}"/>
              </a:ext>
            </a:extLst>
          </p:cNvPr>
          <p:cNvGrpSpPr>
            <a:grpSpLocks noChangeAspect="1"/>
          </p:cNvGrpSpPr>
          <p:nvPr/>
        </p:nvGrpSpPr>
        <p:grpSpPr>
          <a:xfrm>
            <a:off x="729106" y="3675693"/>
            <a:ext cx="497703" cy="497703"/>
            <a:chOff x="698421" y="4398723"/>
            <a:chExt cx="503992" cy="503992"/>
          </a:xfrm>
        </p:grpSpPr>
        <p:sp>
          <p:nvSpPr>
            <p:cNvPr id="37" name="Google Shape;554;p30">
              <a:extLst>
                <a:ext uri="{FF2B5EF4-FFF2-40B4-BE49-F238E27FC236}">
                  <a16:creationId xmlns:a16="http://schemas.microsoft.com/office/drawing/2014/main" id="{FCBFFA69-84A9-CECE-97E3-28F72178A9EA}"/>
                </a:ext>
              </a:extLst>
            </p:cNvPr>
            <p:cNvSpPr/>
            <p:nvPr/>
          </p:nvSpPr>
          <p:spPr>
            <a:xfrm>
              <a:off x="698421" y="4398723"/>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52" kern="0" dirty="0">
                <a:solidFill>
                  <a:srgbClr val="FFFFFF"/>
                </a:solidFill>
                <a:latin typeface="Calibri" panose="020F0502020204030204"/>
                <a:ea typeface="Calibri"/>
                <a:cs typeface="Calibri"/>
                <a:sym typeface="Calibri"/>
              </a:endParaRPr>
            </a:p>
          </p:txBody>
        </p:sp>
        <p:pic>
          <p:nvPicPr>
            <p:cNvPr id="103" name="Graphic 102">
              <a:extLst>
                <a:ext uri="{FF2B5EF4-FFF2-40B4-BE49-F238E27FC236}">
                  <a16:creationId xmlns:a16="http://schemas.microsoft.com/office/drawing/2014/main" id="{5DA3718F-BE7E-2FEA-0CEB-B4ECCB9EC30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81269" y="4530364"/>
              <a:ext cx="338296" cy="240711"/>
            </a:xfrm>
            <a:prstGeom prst="rect">
              <a:avLst/>
            </a:prstGeom>
          </p:spPr>
        </p:pic>
      </p:grpSp>
      <p:pic>
        <p:nvPicPr>
          <p:cNvPr id="116" name="Google Shape;547;p30">
            <a:extLst>
              <a:ext uri="{FF2B5EF4-FFF2-40B4-BE49-F238E27FC236}">
                <a16:creationId xmlns:a16="http://schemas.microsoft.com/office/drawing/2014/main" id="{71BF1012-F562-90B3-126D-8CB47F3AFEF8}"/>
              </a:ext>
            </a:extLst>
          </p:cNvPr>
          <p:cNvPicPr preferRelativeResize="0"/>
          <p:nvPr/>
        </p:nvPicPr>
        <p:blipFill rotWithShape="1">
          <a:blip r:embed="rId20" cstate="print">
            <a:alphaModFix/>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p:blipFill>
        <p:spPr>
          <a:xfrm>
            <a:off x="10819711" y="615062"/>
            <a:ext cx="861050" cy="777555"/>
          </a:xfrm>
          <a:prstGeom prst="rect">
            <a:avLst/>
          </a:prstGeom>
          <a:noFill/>
          <a:ln>
            <a:noFill/>
          </a:ln>
        </p:spPr>
      </p:pic>
      <p:cxnSp>
        <p:nvCxnSpPr>
          <p:cNvPr id="14" name="Straight Connector 13">
            <a:extLst>
              <a:ext uri="{FF2B5EF4-FFF2-40B4-BE49-F238E27FC236}">
                <a16:creationId xmlns:a16="http://schemas.microsoft.com/office/drawing/2014/main" id="{DE057D48-6CA1-C67D-FD7D-651F4C6279F7}"/>
              </a:ext>
            </a:extLst>
          </p:cNvPr>
          <p:cNvCxnSpPr/>
          <p:nvPr/>
        </p:nvCxnSpPr>
        <p:spPr>
          <a:xfrm>
            <a:off x="694094" y="4366434"/>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F99A381-243E-3200-0522-B589542C5E01}"/>
              </a:ext>
            </a:extLst>
          </p:cNvPr>
          <p:cNvCxnSpPr/>
          <p:nvPr/>
        </p:nvCxnSpPr>
        <p:spPr>
          <a:xfrm>
            <a:off x="694094" y="5250215"/>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9276BC4-0214-704E-B96D-6B334494BC01}"/>
              </a:ext>
            </a:extLst>
          </p:cNvPr>
          <p:cNvCxnSpPr/>
          <p:nvPr/>
        </p:nvCxnSpPr>
        <p:spPr>
          <a:xfrm>
            <a:off x="4457167" y="5040026"/>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C3D0721-1BE2-9BD0-9FCA-E2769BDC7A9E}"/>
              </a:ext>
            </a:extLst>
          </p:cNvPr>
          <p:cNvCxnSpPr/>
          <p:nvPr/>
        </p:nvCxnSpPr>
        <p:spPr>
          <a:xfrm>
            <a:off x="4457167" y="4115339"/>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32016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D72BD3-27D1-23DF-4D1B-D34189B21689}"/>
              </a:ext>
            </a:extLst>
          </p:cNvPr>
          <p:cNvGraphicFramePr>
            <a:graphicFrameLocks noChangeAspect="1"/>
          </p:cNvGraphicFramePr>
          <p:nvPr>
            <p:custDataLst>
              <p:tags r:id="rId1"/>
            </p:custDataLst>
            <p:extLst>
              <p:ext uri="{D42A27DB-BD31-4B8C-83A1-F6EECF244321}">
                <p14:modId xmlns:p14="http://schemas.microsoft.com/office/powerpoint/2010/main" val="3483622020"/>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74D72BD3-27D1-23DF-4D1B-D34189B21689}"/>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57C5740-D9F2-529E-E633-838C218E6C10}"/>
              </a:ext>
            </a:extLst>
          </p:cNvPr>
          <p:cNvSpPr>
            <a:spLocks noGrp="1"/>
          </p:cNvSpPr>
          <p:nvPr>
            <p:ph type="title"/>
          </p:nvPr>
        </p:nvSpPr>
        <p:spPr>
          <a:xfrm>
            <a:off x="531814" y="560664"/>
            <a:ext cx="11089972" cy="332399"/>
          </a:xfrm>
        </p:spPr>
        <p:txBody>
          <a:bodyPr vert="horz"/>
          <a:lstStyle/>
          <a:p>
            <a:r>
              <a:rPr lang="en-US" sz="2400" kern="1200" dirty="0">
                <a:solidFill>
                  <a:schemeClr val="bg2"/>
                </a:solidFill>
                <a:latin typeface="Franklin Gothic Demi" panose="020B0703020102020204" pitchFamily="34" charset="0"/>
                <a:ea typeface="+mj-ea"/>
                <a:cs typeface="Calibri" panose="020F0502020204030204" pitchFamily="34" charset="0"/>
              </a:rPr>
              <a:t>A Comprehensive Dashboard of HR Key Metrics and Performance Indicators</a:t>
            </a:r>
          </a:p>
        </p:txBody>
      </p:sp>
      <p:sp>
        <p:nvSpPr>
          <p:cNvPr id="6" name="Google Shape;831;p25">
            <a:extLst>
              <a:ext uri="{FF2B5EF4-FFF2-40B4-BE49-F238E27FC236}">
                <a16:creationId xmlns:a16="http://schemas.microsoft.com/office/drawing/2014/main" id="{DF51A008-F12C-0677-55B5-051BFF4D4919}"/>
              </a:ext>
            </a:extLst>
          </p:cNvPr>
          <p:cNvSpPr>
            <a:spLocks/>
          </p:cNvSpPr>
          <p:nvPr/>
        </p:nvSpPr>
        <p:spPr>
          <a:xfrm>
            <a:off x="499720" y="2096784"/>
            <a:ext cx="4899266"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lang="en-US" sz="1270" kern="0" dirty="0">
              <a:solidFill>
                <a:srgbClr val="000000"/>
              </a:solidFill>
              <a:latin typeface="Arial"/>
              <a:cs typeface="Arial"/>
              <a:sym typeface="Arial"/>
            </a:endParaRPr>
          </a:p>
        </p:txBody>
      </p:sp>
      <p:sp>
        <p:nvSpPr>
          <p:cNvPr id="7" name="Google Shape;543;p30">
            <a:extLst>
              <a:ext uri="{FF2B5EF4-FFF2-40B4-BE49-F238E27FC236}">
                <a16:creationId xmlns:a16="http://schemas.microsoft.com/office/drawing/2014/main" id="{1AA03FB6-81D1-3F60-5047-0AAA00E63192}"/>
              </a:ext>
            </a:extLst>
          </p:cNvPr>
          <p:cNvSpPr txBox="1">
            <a:spLocks/>
          </p:cNvSpPr>
          <p:nvPr/>
        </p:nvSpPr>
        <p:spPr>
          <a:xfrm>
            <a:off x="735482" y="2519249"/>
            <a:ext cx="4422559" cy="3693319"/>
          </a:xfrm>
          <a:prstGeom prst="rect">
            <a:avLst/>
          </a:prstGeom>
          <a:noFill/>
          <a:ln>
            <a:noFill/>
          </a:ln>
        </p:spPr>
        <p:txBody>
          <a:bodyPr spcFirstLastPara="1" wrap="square" lIns="0" tIns="0" rIns="0" bIns="0" anchor="t" anchorCtr="0">
            <a:spAutoFit/>
          </a:bodyPr>
          <a:lstStyle/>
          <a:p>
            <a:pPr marL="157613" indent="-157613" defTabSz="829544">
              <a:buClr>
                <a:srgbClr val="0F47F2"/>
              </a:buClr>
              <a:buSzPts val="1800"/>
              <a:buFont typeface="Wingdings" panose="05000000000000000000" pitchFamily="2" charset="2"/>
              <a:buChar char="§"/>
            </a:pPr>
            <a:r>
              <a:rPr lang="en-US" sz="1600" b="1" kern="0" dirty="0">
                <a:solidFill>
                  <a:srgbClr val="000000"/>
                </a:solidFill>
                <a:latin typeface="Calibri" panose="020F0502020204030204"/>
                <a:ea typeface="Calibri"/>
                <a:cs typeface="Calibri"/>
                <a:sym typeface="Calibri"/>
              </a:rPr>
              <a:t>Elaborated Data Model</a:t>
            </a:r>
            <a:r>
              <a:rPr lang="en-US" sz="1600" kern="0" dirty="0">
                <a:solidFill>
                  <a:srgbClr val="000000"/>
                </a:solidFill>
                <a:latin typeface="Calibri" panose="020F0502020204030204"/>
                <a:ea typeface="Calibri"/>
                <a:cs typeface="Calibri"/>
                <a:sym typeface="Calibri"/>
              </a:rPr>
              <a:t>: Gathering and transforming data from </a:t>
            </a:r>
            <a:r>
              <a:rPr lang="en-US" sz="1600" b="1" kern="0" dirty="0">
                <a:solidFill>
                  <a:srgbClr val="000000"/>
                </a:solidFill>
                <a:latin typeface="Calibri" panose="020F0502020204030204"/>
                <a:ea typeface="Calibri"/>
                <a:cs typeface="Calibri"/>
                <a:sym typeface="Calibri"/>
              </a:rPr>
              <a:t>5 different tools</a:t>
            </a:r>
          </a:p>
          <a:p>
            <a:pPr marL="157613" indent="-157613" defTabSz="829544">
              <a:buClr>
                <a:srgbClr val="0F47F2"/>
              </a:buClr>
              <a:buSzPts val="1800"/>
              <a:buFont typeface="Wingdings" panose="05000000000000000000" pitchFamily="2" charset="2"/>
              <a:buChar char="§"/>
            </a:pPr>
            <a:endParaRPr lang="en-US" sz="1600" kern="0" dirty="0">
              <a:solidFill>
                <a:srgbClr val="000000"/>
              </a:solidFill>
              <a:latin typeface="Calibri" panose="020F0502020204030204"/>
              <a:ea typeface="Calibri"/>
              <a:cs typeface="Calibri"/>
              <a:sym typeface="Calibri"/>
            </a:endParaRPr>
          </a:p>
          <a:p>
            <a:pPr marL="157613" indent="-157613" defTabSz="829544">
              <a:buClr>
                <a:srgbClr val="0F47F2"/>
              </a:buClr>
              <a:buSzPts val="1800"/>
              <a:buFont typeface="Wingdings" panose="05000000000000000000" pitchFamily="2" charset="2"/>
              <a:buChar char="§"/>
            </a:pPr>
            <a:r>
              <a:rPr lang="en-US" sz="1600" b="1" kern="0" dirty="0">
                <a:solidFill>
                  <a:srgbClr val="000000"/>
                </a:solidFill>
                <a:latin typeface="Calibri" panose="020F0502020204030204"/>
                <a:ea typeface="Calibri"/>
                <a:cs typeface="Calibri"/>
                <a:sym typeface="Calibri"/>
              </a:rPr>
              <a:t>Automated Source Reports: </a:t>
            </a:r>
            <a:r>
              <a:rPr lang="en-US" sz="1600" kern="0" dirty="0">
                <a:solidFill>
                  <a:srgbClr val="000000"/>
                </a:solidFill>
                <a:latin typeface="Calibri" panose="020F0502020204030204"/>
                <a:ea typeface="Calibri"/>
                <a:cs typeface="Calibri"/>
                <a:sym typeface="Calibri"/>
              </a:rPr>
              <a:t>Created </a:t>
            </a:r>
            <a:r>
              <a:rPr lang="en-US" sz="1600" b="1" kern="0" dirty="0">
                <a:solidFill>
                  <a:srgbClr val="000000"/>
                </a:solidFill>
                <a:latin typeface="Calibri" panose="020F0502020204030204"/>
                <a:ea typeface="Calibri"/>
                <a:cs typeface="Calibri"/>
                <a:sym typeface="Calibri"/>
              </a:rPr>
              <a:t>14 source reports</a:t>
            </a:r>
            <a:r>
              <a:rPr lang="en-US" sz="1600" kern="0" dirty="0">
                <a:solidFill>
                  <a:srgbClr val="000000"/>
                </a:solidFill>
                <a:latin typeface="Calibri" panose="020F0502020204030204"/>
                <a:ea typeface="Calibri"/>
                <a:cs typeface="Calibri"/>
                <a:sym typeface="Calibri"/>
              </a:rPr>
              <a:t> and automated their extractions using APIs, ensuring efficient and timely data retrieval.</a:t>
            </a:r>
          </a:p>
          <a:p>
            <a:pPr marL="157613" indent="-157613" defTabSz="829544">
              <a:buClr>
                <a:srgbClr val="0F47F2"/>
              </a:buClr>
              <a:buSzPts val="1800"/>
              <a:buFont typeface="Wingdings" panose="05000000000000000000" pitchFamily="2" charset="2"/>
              <a:buChar char="§"/>
            </a:pPr>
            <a:endParaRPr lang="en-US" sz="1600" kern="0" dirty="0">
              <a:solidFill>
                <a:srgbClr val="000000"/>
              </a:solidFill>
              <a:latin typeface="Calibri" panose="020F0502020204030204"/>
              <a:ea typeface="Calibri"/>
              <a:cs typeface="Calibri"/>
              <a:sym typeface="Calibri"/>
            </a:endParaRPr>
          </a:p>
          <a:p>
            <a:pPr marL="157613" indent="-157613" defTabSz="829544">
              <a:buClr>
                <a:srgbClr val="0F47F2"/>
              </a:buClr>
              <a:buSzPts val="1800"/>
              <a:buFont typeface="Wingdings" panose="05000000000000000000" pitchFamily="2" charset="2"/>
              <a:buChar char="§"/>
            </a:pPr>
            <a:r>
              <a:rPr lang="en-US" sz="1600" b="1" kern="0" dirty="0">
                <a:solidFill>
                  <a:srgbClr val="000000"/>
                </a:solidFill>
                <a:latin typeface="Calibri" panose="020F0502020204030204"/>
                <a:ea typeface="Calibri"/>
                <a:cs typeface="Calibri"/>
                <a:sym typeface="Calibri"/>
              </a:rPr>
              <a:t>Automated Data Quality Checks: </a:t>
            </a:r>
            <a:r>
              <a:rPr lang="en-US" sz="1600" kern="0" dirty="0">
                <a:solidFill>
                  <a:srgbClr val="000000"/>
                </a:solidFill>
                <a:latin typeface="Calibri" panose="020F0502020204030204"/>
                <a:ea typeface="Calibri"/>
                <a:cs typeface="Calibri"/>
                <a:sym typeface="Calibri"/>
              </a:rPr>
              <a:t>Implemented automated data quality checks based on predefined business rules, ensuring data integrity and accuracy.</a:t>
            </a:r>
          </a:p>
          <a:p>
            <a:pPr marL="157613" indent="-157613" defTabSz="829544">
              <a:buClr>
                <a:srgbClr val="0F47F2"/>
              </a:buClr>
              <a:buSzPts val="1800"/>
              <a:buFont typeface="Wingdings" panose="05000000000000000000" pitchFamily="2" charset="2"/>
              <a:buChar char="§"/>
            </a:pPr>
            <a:endParaRPr lang="en-US" sz="1600" b="1" kern="0" dirty="0">
              <a:solidFill>
                <a:srgbClr val="000000"/>
              </a:solidFill>
              <a:latin typeface="Calibri" panose="020F0502020204030204"/>
              <a:ea typeface="Calibri"/>
              <a:cs typeface="Calibri"/>
              <a:sym typeface="Calibri"/>
            </a:endParaRPr>
          </a:p>
          <a:p>
            <a:pPr marL="157613" indent="-157613" defTabSz="829544">
              <a:buClr>
                <a:srgbClr val="0F47F2"/>
              </a:buClr>
              <a:buSzPts val="1800"/>
              <a:buFont typeface="Wingdings" panose="05000000000000000000" pitchFamily="2" charset="2"/>
              <a:buChar char="§"/>
            </a:pPr>
            <a:r>
              <a:rPr lang="en-US" sz="1600" b="1" kern="0" dirty="0">
                <a:solidFill>
                  <a:srgbClr val="000000"/>
                </a:solidFill>
                <a:latin typeface="Calibri" panose="020F0502020204030204"/>
                <a:ea typeface="Calibri"/>
                <a:cs typeface="Calibri"/>
                <a:sym typeface="Calibri"/>
              </a:rPr>
              <a:t>Extensive Dashboards: </a:t>
            </a:r>
            <a:r>
              <a:rPr lang="en-US" sz="1600" kern="0" dirty="0">
                <a:solidFill>
                  <a:srgbClr val="000000"/>
                </a:solidFill>
                <a:latin typeface="Calibri" panose="020F0502020204030204"/>
                <a:ea typeface="Calibri"/>
                <a:cs typeface="Calibri"/>
                <a:sym typeface="Calibri"/>
              </a:rPr>
              <a:t>Delivered a comprehensive report comprising </a:t>
            </a:r>
            <a:r>
              <a:rPr lang="en-US" sz="1600" b="1" kern="0" dirty="0">
                <a:solidFill>
                  <a:srgbClr val="000000"/>
                </a:solidFill>
                <a:latin typeface="Calibri" panose="020F0502020204030204"/>
                <a:ea typeface="Calibri"/>
                <a:cs typeface="Calibri"/>
                <a:sym typeface="Calibri"/>
              </a:rPr>
              <a:t>30 dashboards</a:t>
            </a:r>
            <a:r>
              <a:rPr lang="en-US" sz="1600" kern="0" dirty="0">
                <a:solidFill>
                  <a:srgbClr val="000000"/>
                </a:solidFill>
                <a:latin typeface="Calibri" panose="020F0502020204030204"/>
                <a:ea typeface="Calibri"/>
                <a:cs typeface="Calibri"/>
                <a:sym typeface="Calibri"/>
              </a:rPr>
              <a:t>, featuring </a:t>
            </a:r>
            <a:r>
              <a:rPr lang="en-US" sz="1600" b="1" kern="0" dirty="0">
                <a:solidFill>
                  <a:srgbClr val="000000"/>
                </a:solidFill>
                <a:latin typeface="Calibri" panose="020F0502020204030204"/>
                <a:ea typeface="Calibri"/>
                <a:cs typeface="Calibri"/>
                <a:sym typeface="Calibri"/>
              </a:rPr>
              <a:t>+150 graphs</a:t>
            </a:r>
            <a:r>
              <a:rPr lang="en-US" sz="1600" kern="0" dirty="0">
                <a:solidFill>
                  <a:srgbClr val="000000"/>
                </a:solidFill>
                <a:latin typeface="Calibri" panose="020F0502020204030204"/>
                <a:ea typeface="Calibri"/>
                <a:cs typeface="Calibri"/>
                <a:sym typeface="Calibri"/>
              </a:rPr>
              <a:t>, and including</a:t>
            </a:r>
            <a:r>
              <a:rPr lang="en-US" sz="1600" b="1" kern="0" dirty="0">
                <a:solidFill>
                  <a:srgbClr val="000000"/>
                </a:solidFill>
                <a:latin typeface="Calibri" panose="020F0502020204030204"/>
                <a:ea typeface="Calibri"/>
                <a:cs typeface="Calibri"/>
                <a:sym typeface="Calibri"/>
              </a:rPr>
              <a:t> +50 KPIs.</a:t>
            </a:r>
            <a:endParaRPr lang="en-US" sz="1600" kern="0" dirty="0">
              <a:solidFill>
                <a:srgbClr val="000000"/>
              </a:solidFill>
              <a:latin typeface="Calibri" panose="020F0502020204030204"/>
              <a:cs typeface="Arial"/>
              <a:sym typeface="Arial"/>
            </a:endParaRPr>
          </a:p>
        </p:txBody>
      </p:sp>
      <p:sp>
        <p:nvSpPr>
          <p:cNvPr id="8" name="Google Shape;545;p30">
            <a:extLst>
              <a:ext uri="{FF2B5EF4-FFF2-40B4-BE49-F238E27FC236}">
                <a16:creationId xmlns:a16="http://schemas.microsoft.com/office/drawing/2014/main" id="{DA30D5BD-3BC1-D6C1-5FDA-0096CD1AB3FB}"/>
              </a:ext>
            </a:extLst>
          </p:cNvPr>
          <p:cNvSpPr>
            <a:spLocks/>
          </p:cNvSpPr>
          <p:nvPr/>
        </p:nvSpPr>
        <p:spPr>
          <a:xfrm>
            <a:off x="499720" y="1685023"/>
            <a:ext cx="4899266" cy="716872"/>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400" b="1" dirty="0">
              <a:solidFill>
                <a:schemeClr val="bg1"/>
              </a:solidFill>
              <a:latin typeface="Calibri" panose="020F0502020204030204" pitchFamily="34" charset="0"/>
              <a:cs typeface="Calibri" panose="020F0502020204030204" pitchFamily="34" charset="0"/>
              <a:sym typeface="Arial"/>
            </a:endParaRPr>
          </a:p>
        </p:txBody>
      </p:sp>
      <p:sp>
        <p:nvSpPr>
          <p:cNvPr id="9" name="Google Shape;546;p30">
            <a:extLst>
              <a:ext uri="{FF2B5EF4-FFF2-40B4-BE49-F238E27FC236}">
                <a16:creationId xmlns:a16="http://schemas.microsoft.com/office/drawing/2014/main" id="{CDCBBF56-C6F3-B3F6-8FA8-F22C59E01E2A}"/>
              </a:ext>
            </a:extLst>
          </p:cNvPr>
          <p:cNvSpPr txBox="1"/>
          <p:nvPr/>
        </p:nvSpPr>
        <p:spPr>
          <a:xfrm>
            <a:off x="1840578" y="1901065"/>
            <a:ext cx="2217549"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Achievements</a:t>
            </a:r>
          </a:p>
        </p:txBody>
      </p:sp>
      <p:grpSp>
        <p:nvGrpSpPr>
          <p:cNvPr id="15" name="Group 14">
            <a:extLst>
              <a:ext uri="{FF2B5EF4-FFF2-40B4-BE49-F238E27FC236}">
                <a16:creationId xmlns:a16="http://schemas.microsoft.com/office/drawing/2014/main" id="{7D503B8E-8315-CE23-B611-C247BE394B5A}"/>
              </a:ext>
            </a:extLst>
          </p:cNvPr>
          <p:cNvGrpSpPr/>
          <p:nvPr/>
        </p:nvGrpSpPr>
        <p:grpSpPr>
          <a:xfrm>
            <a:off x="4721166" y="1746794"/>
            <a:ext cx="592190" cy="593331"/>
            <a:chOff x="3820712" y="1925467"/>
            <a:chExt cx="652797" cy="654055"/>
          </a:xfrm>
        </p:grpSpPr>
        <p:sp>
          <p:nvSpPr>
            <p:cNvPr id="11" name="Google Shape;551;p30">
              <a:extLst>
                <a:ext uri="{FF2B5EF4-FFF2-40B4-BE49-F238E27FC236}">
                  <a16:creationId xmlns:a16="http://schemas.microsoft.com/office/drawing/2014/main" id="{799A6D36-71AC-C5FB-0425-360F77A7AE38}"/>
                </a:ext>
              </a:extLst>
            </p:cNvPr>
            <p:cNvSpPr/>
            <p:nvPr/>
          </p:nvSpPr>
          <p:spPr>
            <a:xfrm>
              <a:off x="3820712" y="1925467"/>
              <a:ext cx="652797" cy="654055"/>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01" kern="0" dirty="0">
                <a:solidFill>
                  <a:srgbClr val="FFFFFF"/>
                </a:solidFill>
                <a:latin typeface="Arial"/>
                <a:cs typeface="Arial"/>
                <a:sym typeface="Arial"/>
              </a:endParaRPr>
            </a:p>
          </p:txBody>
        </p:sp>
        <p:pic>
          <p:nvPicPr>
            <p:cNvPr id="14" name="Graphic 13">
              <a:extLst>
                <a:ext uri="{FF2B5EF4-FFF2-40B4-BE49-F238E27FC236}">
                  <a16:creationId xmlns:a16="http://schemas.microsoft.com/office/drawing/2014/main" id="{8ED4122A-104A-016B-544D-64B62B6C746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51848" y="2076282"/>
              <a:ext cx="390525" cy="352425"/>
            </a:xfrm>
            <a:prstGeom prst="rect">
              <a:avLst/>
            </a:prstGeom>
          </p:spPr>
        </p:pic>
      </p:grpSp>
      <p:grpSp>
        <p:nvGrpSpPr>
          <p:cNvPr id="18" name="Group 17">
            <a:extLst>
              <a:ext uri="{FF2B5EF4-FFF2-40B4-BE49-F238E27FC236}">
                <a16:creationId xmlns:a16="http://schemas.microsoft.com/office/drawing/2014/main" id="{EB4FCECD-D037-7681-DD29-5371513E7900}"/>
              </a:ext>
            </a:extLst>
          </p:cNvPr>
          <p:cNvGrpSpPr/>
          <p:nvPr/>
        </p:nvGrpSpPr>
        <p:grpSpPr>
          <a:xfrm>
            <a:off x="7693075" y="2022997"/>
            <a:ext cx="3966657" cy="3041065"/>
            <a:chOff x="4662343" y="2693866"/>
            <a:chExt cx="4610513" cy="3534681"/>
          </a:xfrm>
        </p:grpSpPr>
        <p:sp>
          <p:nvSpPr>
            <p:cNvPr id="19" name="Freeform: Shape 18">
              <a:extLst>
                <a:ext uri="{FF2B5EF4-FFF2-40B4-BE49-F238E27FC236}">
                  <a16:creationId xmlns:a16="http://schemas.microsoft.com/office/drawing/2014/main" id="{71CA48A9-DC65-7829-9D17-DB9E5B18D641}"/>
                </a:ext>
              </a:extLst>
            </p:cNvPr>
            <p:cNvSpPr/>
            <p:nvPr/>
          </p:nvSpPr>
          <p:spPr>
            <a:xfrm>
              <a:off x="4662343" y="2693866"/>
              <a:ext cx="4610513" cy="2788869"/>
            </a:xfrm>
            <a:custGeom>
              <a:avLst/>
              <a:gdLst>
                <a:gd name="connsiteX0" fmla="*/ 129502 w 4610513"/>
                <a:gd name="connsiteY0" fmla="*/ 0 h 2788869"/>
                <a:gd name="connsiteX1" fmla="*/ 4481011 w 4610513"/>
                <a:gd name="connsiteY1" fmla="*/ 0 h 2788869"/>
                <a:gd name="connsiteX2" fmla="*/ 4610514 w 4610513"/>
                <a:gd name="connsiteY2" fmla="*/ 129502 h 2788869"/>
                <a:gd name="connsiteX3" fmla="*/ 4610514 w 4610513"/>
                <a:gd name="connsiteY3" fmla="*/ 2659367 h 2788869"/>
                <a:gd name="connsiteX4" fmla="*/ 4481011 w 4610513"/>
                <a:gd name="connsiteY4" fmla="*/ 2788870 h 2788869"/>
                <a:gd name="connsiteX5" fmla="*/ 129502 w 4610513"/>
                <a:gd name="connsiteY5" fmla="*/ 2788870 h 2788869"/>
                <a:gd name="connsiteX6" fmla="*/ 0 w 4610513"/>
                <a:gd name="connsiteY6" fmla="*/ 2659367 h 2788869"/>
                <a:gd name="connsiteX7" fmla="*/ 0 w 4610513"/>
                <a:gd name="connsiteY7" fmla="*/ 129502 h 2788869"/>
                <a:gd name="connsiteX8" fmla="*/ 129502 w 4610513"/>
                <a:gd name="connsiteY8" fmla="*/ 0 h 278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513" h="2788869">
                  <a:moveTo>
                    <a:pt x="129502" y="0"/>
                  </a:moveTo>
                  <a:lnTo>
                    <a:pt x="4481011" y="0"/>
                  </a:lnTo>
                  <a:cubicBezTo>
                    <a:pt x="4552494" y="0"/>
                    <a:pt x="4610514" y="58020"/>
                    <a:pt x="4610514" y="129502"/>
                  </a:cubicBezTo>
                  <a:lnTo>
                    <a:pt x="4610514" y="2659367"/>
                  </a:lnTo>
                  <a:cubicBezTo>
                    <a:pt x="4610514" y="2730850"/>
                    <a:pt x="4552467" y="2788870"/>
                    <a:pt x="4481011" y="2788870"/>
                  </a:cubicBezTo>
                  <a:lnTo>
                    <a:pt x="129502" y="2788870"/>
                  </a:lnTo>
                  <a:cubicBezTo>
                    <a:pt x="58020" y="2788870"/>
                    <a:pt x="0" y="2730850"/>
                    <a:pt x="0" y="2659367"/>
                  </a:cubicBezTo>
                  <a:lnTo>
                    <a:pt x="0" y="129502"/>
                  </a:lnTo>
                  <a:cubicBezTo>
                    <a:pt x="0" y="58020"/>
                    <a:pt x="58020" y="0"/>
                    <a:pt x="129502" y="0"/>
                  </a:cubicBezTo>
                  <a:close/>
                </a:path>
              </a:pathLst>
            </a:custGeom>
            <a:solidFill>
              <a:srgbClr val="00000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nvGrpSpPr>
            <p:cNvPr id="21" name="Graphic 2">
              <a:extLst>
                <a:ext uri="{FF2B5EF4-FFF2-40B4-BE49-F238E27FC236}">
                  <a16:creationId xmlns:a16="http://schemas.microsoft.com/office/drawing/2014/main" id="{E1C038F1-C6E7-341F-8B96-D47DAD7793CA}"/>
                </a:ext>
              </a:extLst>
            </p:cNvPr>
            <p:cNvGrpSpPr/>
            <p:nvPr/>
          </p:nvGrpSpPr>
          <p:grpSpPr>
            <a:xfrm>
              <a:off x="6249770" y="5482791"/>
              <a:ext cx="1435672" cy="745756"/>
              <a:chOff x="6249770" y="5482791"/>
              <a:chExt cx="1435672" cy="745756"/>
            </a:xfrm>
          </p:grpSpPr>
          <p:sp>
            <p:nvSpPr>
              <p:cNvPr id="23" name="Freeform: Shape 22">
                <a:extLst>
                  <a:ext uri="{FF2B5EF4-FFF2-40B4-BE49-F238E27FC236}">
                    <a16:creationId xmlns:a16="http://schemas.microsoft.com/office/drawing/2014/main" id="{91829ACB-BFA9-4ACE-C5AA-0ADCAE7222C0}"/>
                  </a:ext>
                </a:extLst>
              </p:cNvPr>
              <p:cNvSpPr/>
              <p:nvPr/>
            </p:nvSpPr>
            <p:spPr>
              <a:xfrm>
                <a:off x="6249770" y="5482791"/>
                <a:ext cx="1435604" cy="744495"/>
              </a:xfrm>
              <a:custGeom>
                <a:avLst/>
                <a:gdLst>
                  <a:gd name="connsiteX0" fmla="*/ 1435605 w 1435604"/>
                  <a:gd name="connsiteY0" fmla="*/ 703449 h 744495"/>
                  <a:gd name="connsiteX1" fmla="*/ 1345422 w 1435604"/>
                  <a:gd name="connsiteY1" fmla="*/ 643619 h 744495"/>
                  <a:gd name="connsiteX2" fmla="*/ 1221897 w 1435604"/>
                  <a:gd name="connsiteY2" fmla="*/ 529828 h 744495"/>
                  <a:gd name="connsiteX3" fmla="*/ 1144464 w 1435604"/>
                  <a:gd name="connsiteY3" fmla="*/ 0 h 744495"/>
                  <a:gd name="connsiteX4" fmla="*/ 291141 w 1435604"/>
                  <a:gd name="connsiteY4" fmla="*/ 0 h 744495"/>
                  <a:gd name="connsiteX5" fmla="*/ 213681 w 1435604"/>
                  <a:gd name="connsiteY5" fmla="*/ 529828 h 744495"/>
                  <a:gd name="connsiteX6" fmla="*/ 90183 w 1435604"/>
                  <a:gd name="connsiteY6" fmla="*/ 643619 h 744495"/>
                  <a:gd name="connsiteX7" fmla="*/ 0 w 1435604"/>
                  <a:gd name="connsiteY7" fmla="*/ 703449 h 744495"/>
                  <a:gd name="connsiteX8" fmla="*/ 0 w 1435604"/>
                  <a:gd name="connsiteY8" fmla="*/ 724781 h 744495"/>
                  <a:gd name="connsiteX9" fmla="*/ 224703 w 1435604"/>
                  <a:gd name="connsiteY9" fmla="*/ 744496 h 744495"/>
                  <a:gd name="connsiteX10" fmla="*/ 1210874 w 1435604"/>
                  <a:gd name="connsiteY10" fmla="*/ 744496 h 744495"/>
                  <a:gd name="connsiteX11" fmla="*/ 1435605 w 1435604"/>
                  <a:gd name="connsiteY11" fmla="*/ 724781 h 744495"/>
                  <a:gd name="connsiteX12" fmla="*/ 1435605 w 1435604"/>
                  <a:gd name="connsiteY12" fmla="*/ 703449 h 74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5604" h="744495">
                    <a:moveTo>
                      <a:pt x="1435605" y="703449"/>
                    </a:moveTo>
                    <a:cubicBezTo>
                      <a:pt x="1435605" y="703449"/>
                      <a:pt x="1425432" y="663526"/>
                      <a:pt x="1345422" y="643619"/>
                    </a:cubicBezTo>
                    <a:cubicBezTo>
                      <a:pt x="1265440" y="623712"/>
                      <a:pt x="1238376" y="600927"/>
                      <a:pt x="1221897" y="529828"/>
                    </a:cubicBezTo>
                    <a:cubicBezTo>
                      <a:pt x="1205445" y="458702"/>
                      <a:pt x="1144464" y="0"/>
                      <a:pt x="1144464" y="0"/>
                    </a:cubicBezTo>
                    <a:lnTo>
                      <a:pt x="291141" y="0"/>
                    </a:lnTo>
                    <a:cubicBezTo>
                      <a:pt x="291141" y="0"/>
                      <a:pt x="230160" y="458702"/>
                      <a:pt x="213681" y="529828"/>
                    </a:cubicBezTo>
                    <a:cubicBezTo>
                      <a:pt x="197229" y="600954"/>
                      <a:pt x="170166" y="623712"/>
                      <a:pt x="90183" y="643619"/>
                    </a:cubicBezTo>
                    <a:cubicBezTo>
                      <a:pt x="10200" y="663526"/>
                      <a:pt x="0" y="703449"/>
                      <a:pt x="0" y="703449"/>
                    </a:cubicBezTo>
                    <a:lnTo>
                      <a:pt x="0" y="724781"/>
                    </a:lnTo>
                    <a:cubicBezTo>
                      <a:pt x="0" y="724781"/>
                      <a:pt x="26542" y="744496"/>
                      <a:pt x="224703" y="744496"/>
                    </a:cubicBezTo>
                    <a:lnTo>
                      <a:pt x="1210874" y="744496"/>
                    </a:lnTo>
                    <a:cubicBezTo>
                      <a:pt x="1409036" y="744496"/>
                      <a:pt x="1435605" y="724781"/>
                      <a:pt x="1435605" y="724781"/>
                    </a:cubicBezTo>
                    <a:lnTo>
                      <a:pt x="1435605" y="703449"/>
                    </a:lnTo>
                    <a:close/>
                  </a:path>
                </a:pathLst>
              </a:custGeom>
              <a:gradFill>
                <a:gsLst>
                  <a:gs pos="0">
                    <a:srgbClr val="F3F4F4"/>
                  </a:gs>
                  <a:gs pos="11000">
                    <a:srgbClr val="CCCDCF"/>
                  </a:gs>
                  <a:gs pos="19000">
                    <a:srgbClr val="B3B5B8"/>
                  </a:gs>
                  <a:gs pos="24000">
                    <a:srgbClr val="ABADB0"/>
                  </a:gs>
                  <a:gs pos="35000">
                    <a:srgbClr val="E6E7E8"/>
                  </a:gs>
                  <a:gs pos="61000">
                    <a:srgbClr val="C7C8CA"/>
                  </a:gs>
                  <a:gs pos="99000">
                    <a:srgbClr val="8A8C8E"/>
                  </a:gs>
                </a:gsLst>
                <a:lin ang="16200000" scaled="1"/>
              </a:gra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24" name="Freeform: Shape 23">
                <a:extLst>
                  <a:ext uri="{FF2B5EF4-FFF2-40B4-BE49-F238E27FC236}">
                    <a16:creationId xmlns:a16="http://schemas.microsoft.com/office/drawing/2014/main" id="{05991557-FFE7-D700-AB52-3C082FDB2596}"/>
                  </a:ext>
                </a:extLst>
              </p:cNvPr>
              <p:cNvSpPr/>
              <p:nvPr/>
            </p:nvSpPr>
            <p:spPr>
              <a:xfrm>
                <a:off x="6249804" y="6185444"/>
                <a:ext cx="1435637" cy="43103"/>
              </a:xfrm>
              <a:custGeom>
                <a:avLst/>
                <a:gdLst>
                  <a:gd name="connsiteX0" fmla="*/ 1435269 w 1435637"/>
                  <a:gd name="connsiteY0" fmla="*/ 0 h 43103"/>
                  <a:gd name="connsiteX1" fmla="*/ 1210867 w 1435637"/>
                  <a:gd name="connsiteY1" fmla="*/ 19358 h 43103"/>
                  <a:gd name="connsiteX2" fmla="*/ 224696 w 1435637"/>
                  <a:gd name="connsiteY2" fmla="*/ 19358 h 43103"/>
                  <a:gd name="connsiteX3" fmla="*/ 322 w 1435637"/>
                  <a:gd name="connsiteY3" fmla="*/ 0 h 43103"/>
                  <a:gd name="connsiteX4" fmla="*/ 20 w 1435637"/>
                  <a:gd name="connsiteY4" fmla="*/ 2029 h 43103"/>
                  <a:gd name="connsiteX5" fmla="*/ 20 w 1435637"/>
                  <a:gd name="connsiteY5" fmla="*/ 23389 h 43103"/>
                  <a:gd name="connsiteX6" fmla="*/ 224723 w 1435637"/>
                  <a:gd name="connsiteY6" fmla="*/ 43103 h 43103"/>
                  <a:gd name="connsiteX7" fmla="*/ 1210895 w 1435637"/>
                  <a:gd name="connsiteY7" fmla="*/ 43103 h 43103"/>
                  <a:gd name="connsiteX8" fmla="*/ 1435625 w 1435637"/>
                  <a:gd name="connsiteY8" fmla="*/ 23389 h 43103"/>
                  <a:gd name="connsiteX9" fmla="*/ 1435625 w 1435637"/>
                  <a:gd name="connsiteY9" fmla="*/ 2029 h 43103"/>
                  <a:gd name="connsiteX10" fmla="*/ 1435297 w 1435637"/>
                  <a:gd name="connsiteY10" fmla="*/ 0 h 4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5637" h="43103">
                    <a:moveTo>
                      <a:pt x="1435269" y="0"/>
                    </a:moveTo>
                    <a:cubicBezTo>
                      <a:pt x="1432363" y="2660"/>
                      <a:pt x="1393235" y="19358"/>
                      <a:pt x="1210867" y="19358"/>
                    </a:cubicBezTo>
                    <a:lnTo>
                      <a:pt x="224696" y="19358"/>
                    </a:lnTo>
                    <a:cubicBezTo>
                      <a:pt x="42329" y="19358"/>
                      <a:pt x="3201" y="2660"/>
                      <a:pt x="322" y="0"/>
                    </a:cubicBezTo>
                    <a:cubicBezTo>
                      <a:pt x="-117" y="1316"/>
                      <a:pt x="20" y="2029"/>
                      <a:pt x="20" y="2029"/>
                    </a:cubicBezTo>
                    <a:lnTo>
                      <a:pt x="20" y="23389"/>
                    </a:lnTo>
                    <a:cubicBezTo>
                      <a:pt x="20" y="23389"/>
                      <a:pt x="26563" y="43103"/>
                      <a:pt x="224723" y="43103"/>
                    </a:cubicBezTo>
                    <a:lnTo>
                      <a:pt x="1210895" y="43103"/>
                    </a:lnTo>
                    <a:cubicBezTo>
                      <a:pt x="1409056" y="43103"/>
                      <a:pt x="1435625" y="23389"/>
                      <a:pt x="1435625" y="23389"/>
                    </a:cubicBezTo>
                    <a:lnTo>
                      <a:pt x="1435625" y="2029"/>
                    </a:lnTo>
                    <a:cubicBezTo>
                      <a:pt x="1435625" y="2029"/>
                      <a:pt x="1435735" y="1316"/>
                      <a:pt x="1435297" y="0"/>
                    </a:cubicBezTo>
                    <a:close/>
                  </a:path>
                </a:pathLst>
              </a:custGeom>
              <a:gradFill>
                <a:gsLst>
                  <a:gs pos="19000">
                    <a:srgbClr val="ABADB0"/>
                  </a:gs>
                  <a:gs pos="99000">
                    <a:srgbClr val="8A8C8E"/>
                  </a:gs>
                </a:gsLst>
                <a:lin ang="16799923" scaled="1"/>
              </a:gra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sp>
          <p:nvSpPr>
            <p:cNvPr id="22" name="Freeform: Shape 21">
              <a:extLst>
                <a:ext uri="{FF2B5EF4-FFF2-40B4-BE49-F238E27FC236}">
                  <a16:creationId xmlns:a16="http://schemas.microsoft.com/office/drawing/2014/main" id="{5EED0FA5-63ED-7FEB-7F27-0958ADBFD999}"/>
                </a:ext>
              </a:extLst>
            </p:cNvPr>
            <p:cNvSpPr/>
            <p:nvPr/>
          </p:nvSpPr>
          <p:spPr>
            <a:xfrm>
              <a:off x="6946363" y="2746594"/>
              <a:ext cx="42445" cy="42445"/>
            </a:xfrm>
            <a:custGeom>
              <a:avLst/>
              <a:gdLst>
                <a:gd name="connsiteX0" fmla="*/ 42445 w 42445"/>
                <a:gd name="connsiteY0" fmla="*/ 21223 h 42445"/>
                <a:gd name="connsiteX1" fmla="*/ 21250 w 42445"/>
                <a:gd name="connsiteY1" fmla="*/ 42445 h 42445"/>
                <a:gd name="connsiteX2" fmla="*/ 0 w 42445"/>
                <a:gd name="connsiteY2" fmla="*/ 21223 h 42445"/>
                <a:gd name="connsiteX3" fmla="*/ 21250 w 42445"/>
                <a:gd name="connsiteY3" fmla="*/ 0 h 42445"/>
                <a:gd name="connsiteX4" fmla="*/ 42445 w 42445"/>
                <a:gd name="connsiteY4" fmla="*/ 21223 h 4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45" h="42445">
                  <a:moveTo>
                    <a:pt x="42445" y="21223"/>
                  </a:moveTo>
                  <a:cubicBezTo>
                    <a:pt x="42445" y="32958"/>
                    <a:pt x="32958" y="42445"/>
                    <a:pt x="21250" y="42445"/>
                  </a:cubicBezTo>
                  <a:cubicBezTo>
                    <a:pt x="9542" y="42445"/>
                    <a:pt x="0" y="32958"/>
                    <a:pt x="0" y="21223"/>
                  </a:cubicBezTo>
                  <a:cubicBezTo>
                    <a:pt x="0" y="9487"/>
                    <a:pt x="9488" y="0"/>
                    <a:pt x="21250" y="0"/>
                  </a:cubicBezTo>
                  <a:cubicBezTo>
                    <a:pt x="33013" y="0"/>
                    <a:pt x="42445" y="9515"/>
                    <a:pt x="42445" y="21223"/>
                  </a:cubicBezTo>
                  <a:close/>
                </a:path>
              </a:pathLst>
            </a:custGeom>
            <a:solidFill>
              <a:srgbClr val="424143"/>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cxnSp>
        <p:nvCxnSpPr>
          <p:cNvPr id="26" name="Google Shape;526;p13">
            <a:extLst>
              <a:ext uri="{FF2B5EF4-FFF2-40B4-BE49-F238E27FC236}">
                <a16:creationId xmlns:a16="http://schemas.microsoft.com/office/drawing/2014/main" id="{EF41C1B3-E7C7-47BF-51B4-FAA904E66D34}"/>
              </a:ext>
            </a:extLst>
          </p:cNvPr>
          <p:cNvCxnSpPr>
            <a:cxnSpLocks/>
          </p:cNvCxnSpPr>
          <p:nvPr/>
        </p:nvCxnSpPr>
        <p:spPr>
          <a:xfrm>
            <a:off x="5661087" y="1685023"/>
            <a:ext cx="0" cy="4650127"/>
          </a:xfrm>
          <a:prstGeom prst="straightConnector1">
            <a:avLst/>
          </a:prstGeom>
          <a:noFill/>
          <a:ln w="19050" cap="flat" cmpd="sng">
            <a:solidFill>
              <a:schemeClr val="tx2"/>
            </a:solidFill>
            <a:prstDash val="solid"/>
            <a:miter lim="800000"/>
            <a:headEnd type="none" w="sm" len="sm"/>
            <a:tailEnd type="none" w="sm" len="sm"/>
          </a:ln>
        </p:spPr>
      </p:cxnSp>
      <p:grpSp>
        <p:nvGrpSpPr>
          <p:cNvPr id="77" name="Group 76">
            <a:extLst>
              <a:ext uri="{FF2B5EF4-FFF2-40B4-BE49-F238E27FC236}">
                <a16:creationId xmlns:a16="http://schemas.microsoft.com/office/drawing/2014/main" id="{7A72C78C-0DCC-72F3-14CC-DD3B5F61595A}"/>
              </a:ext>
            </a:extLst>
          </p:cNvPr>
          <p:cNvGrpSpPr/>
          <p:nvPr/>
        </p:nvGrpSpPr>
        <p:grpSpPr>
          <a:xfrm>
            <a:off x="5483017" y="3832016"/>
            <a:ext cx="356140" cy="356140"/>
            <a:chOff x="550863" y="2496471"/>
            <a:chExt cx="360000" cy="360000"/>
          </a:xfrm>
        </p:grpSpPr>
        <p:sp>
          <p:nvSpPr>
            <p:cNvPr id="81" name="Oval 80">
              <a:extLst>
                <a:ext uri="{FF2B5EF4-FFF2-40B4-BE49-F238E27FC236}">
                  <a16:creationId xmlns:a16="http://schemas.microsoft.com/office/drawing/2014/main" id="{C93C8EBF-2AAB-8769-6D11-83D378CCEC29}"/>
                </a:ext>
              </a:extLst>
            </p:cNvPr>
            <p:cNvSpPr/>
            <p:nvPr/>
          </p:nvSpPr>
          <p:spPr>
            <a:xfrm>
              <a:off x="564471" y="2510079"/>
              <a:ext cx="332784" cy="332784"/>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buClr>
                  <a:srgbClr val="000000"/>
                </a:buClr>
              </a:pPr>
              <a:endParaRPr lang="en-IN" sz="1270" kern="0" dirty="0">
                <a:solidFill>
                  <a:srgbClr val="FFFFFF"/>
                </a:solidFill>
                <a:latin typeface="Calibri" panose="020F0502020204030204"/>
                <a:sym typeface="Arial"/>
              </a:endParaRPr>
            </a:p>
          </p:txBody>
        </p:sp>
        <p:pic>
          <p:nvPicPr>
            <p:cNvPr id="82" name="Graphic 81">
              <a:extLst>
                <a:ext uri="{FF2B5EF4-FFF2-40B4-BE49-F238E27FC236}">
                  <a16:creationId xmlns:a16="http://schemas.microsoft.com/office/drawing/2014/main" id="{6E697729-A8ED-4D2F-F5BC-39F7E09A0D4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0863" y="2496471"/>
              <a:ext cx="360000" cy="360000"/>
            </a:xfrm>
            <a:prstGeom prst="rect">
              <a:avLst/>
            </a:prstGeom>
          </p:spPr>
        </p:pic>
      </p:grpSp>
      <p:pic>
        <p:nvPicPr>
          <p:cNvPr id="12" name="Picture 11">
            <a:extLst>
              <a:ext uri="{FF2B5EF4-FFF2-40B4-BE49-F238E27FC236}">
                <a16:creationId xmlns:a16="http://schemas.microsoft.com/office/drawing/2014/main" id="{7C83297E-0D61-BE01-6BA4-80EBA2846B97}"/>
              </a:ext>
            </a:extLst>
          </p:cNvPr>
          <p:cNvPicPr>
            <a:picLocks noChangeAspect="1"/>
          </p:cNvPicPr>
          <p:nvPr/>
        </p:nvPicPr>
        <p:blipFill>
          <a:blip r:embed="rId9"/>
          <a:stretch>
            <a:fillRect/>
          </a:stretch>
        </p:blipFill>
        <p:spPr>
          <a:xfrm>
            <a:off x="7828039" y="2154374"/>
            <a:ext cx="3696729" cy="2134419"/>
          </a:xfrm>
          <a:prstGeom prst="rect">
            <a:avLst/>
          </a:prstGeom>
        </p:spPr>
      </p:pic>
      <p:grpSp>
        <p:nvGrpSpPr>
          <p:cNvPr id="31" name="Group 30">
            <a:extLst>
              <a:ext uri="{FF2B5EF4-FFF2-40B4-BE49-F238E27FC236}">
                <a16:creationId xmlns:a16="http://schemas.microsoft.com/office/drawing/2014/main" id="{339D089C-2031-8B3E-B73B-E50E8C9FAE88}"/>
              </a:ext>
            </a:extLst>
          </p:cNvPr>
          <p:cNvGrpSpPr/>
          <p:nvPr/>
        </p:nvGrpSpPr>
        <p:grpSpPr>
          <a:xfrm>
            <a:off x="6121002" y="4174890"/>
            <a:ext cx="3701902" cy="2232105"/>
            <a:chOff x="1329003" y="3864105"/>
            <a:chExt cx="4080768" cy="2460547"/>
          </a:xfrm>
        </p:grpSpPr>
        <p:sp>
          <p:nvSpPr>
            <p:cNvPr id="32" name="Freeform: Shape 31">
              <a:extLst>
                <a:ext uri="{FF2B5EF4-FFF2-40B4-BE49-F238E27FC236}">
                  <a16:creationId xmlns:a16="http://schemas.microsoft.com/office/drawing/2014/main" id="{311E184B-2CA7-C252-B889-3355CA794405}"/>
                </a:ext>
              </a:extLst>
            </p:cNvPr>
            <p:cNvSpPr/>
            <p:nvPr/>
          </p:nvSpPr>
          <p:spPr>
            <a:xfrm>
              <a:off x="1650498" y="3935972"/>
              <a:ext cx="3437725" cy="2259434"/>
            </a:xfrm>
            <a:custGeom>
              <a:avLst/>
              <a:gdLst>
                <a:gd name="connsiteX0" fmla="*/ 123909 w 3437725"/>
                <a:gd name="connsiteY0" fmla="*/ 2259371 h 2259434"/>
                <a:gd name="connsiteX1" fmla="*/ 0 w 3437725"/>
                <a:gd name="connsiteY1" fmla="*/ 2195620 h 2259434"/>
                <a:gd name="connsiteX2" fmla="*/ 0 w 3437725"/>
                <a:gd name="connsiteY2" fmla="*/ 123909 h 2259434"/>
                <a:gd name="connsiteX3" fmla="*/ 123909 w 3437725"/>
                <a:gd name="connsiteY3" fmla="*/ 0 h 2259434"/>
                <a:gd name="connsiteX4" fmla="*/ 3313817 w 3437725"/>
                <a:gd name="connsiteY4" fmla="*/ 0 h 2259434"/>
                <a:gd name="connsiteX5" fmla="*/ 3437725 w 3437725"/>
                <a:gd name="connsiteY5" fmla="*/ 123909 h 2259434"/>
                <a:gd name="connsiteX6" fmla="*/ 3437725 w 3437725"/>
                <a:gd name="connsiteY6" fmla="*/ 2195620 h 2259434"/>
                <a:gd name="connsiteX7" fmla="*/ 3313817 w 3437725"/>
                <a:gd name="connsiteY7" fmla="*/ 2259371 h 2259434"/>
                <a:gd name="connsiteX8" fmla="*/ 123909 w 3437725"/>
                <a:gd name="connsiteY8" fmla="*/ 2259371 h 2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7725" h="2259434">
                  <a:moveTo>
                    <a:pt x="123909" y="2259371"/>
                  </a:moveTo>
                  <a:cubicBezTo>
                    <a:pt x="55579" y="2259371"/>
                    <a:pt x="0" y="2263950"/>
                    <a:pt x="0" y="2195620"/>
                  </a:cubicBezTo>
                  <a:lnTo>
                    <a:pt x="0" y="123909"/>
                  </a:lnTo>
                  <a:cubicBezTo>
                    <a:pt x="0" y="55579"/>
                    <a:pt x="55579" y="0"/>
                    <a:pt x="123909" y="0"/>
                  </a:cubicBezTo>
                  <a:lnTo>
                    <a:pt x="3313817" y="0"/>
                  </a:lnTo>
                  <a:cubicBezTo>
                    <a:pt x="3382146" y="0"/>
                    <a:pt x="3437725" y="55579"/>
                    <a:pt x="3437725" y="123909"/>
                  </a:cubicBezTo>
                  <a:lnTo>
                    <a:pt x="3437725" y="2195620"/>
                  </a:lnTo>
                  <a:cubicBezTo>
                    <a:pt x="3437725" y="2263950"/>
                    <a:pt x="3382146" y="2259371"/>
                    <a:pt x="3313817" y="2259371"/>
                  </a:cubicBezTo>
                  <a:lnTo>
                    <a:pt x="123909" y="2259371"/>
                  </a:lnTo>
                  <a:close/>
                </a:path>
              </a:pathLst>
            </a:custGeom>
            <a:gradFill>
              <a:gsLst>
                <a:gs pos="0">
                  <a:srgbClr val="E6E6E6"/>
                </a:gs>
                <a:gs pos="36000">
                  <a:srgbClr val="4D4D4D"/>
                </a:gs>
                <a:gs pos="56000">
                  <a:srgbClr val="CCCCCC"/>
                </a:gs>
                <a:gs pos="76000">
                  <a:srgbClr val="575757"/>
                </a:gs>
                <a:gs pos="100000">
                  <a:srgbClr val="919191"/>
                </a:gs>
              </a:gsLst>
              <a:lin ang="0" scaled="1"/>
            </a:gra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33" name="Freeform: Shape 32">
              <a:extLst>
                <a:ext uri="{FF2B5EF4-FFF2-40B4-BE49-F238E27FC236}">
                  <a16:creationId xmlns:a16="http://schemas.microsoft.com/office/drawing/2014/main" id="{7E20A7A5-7BE5-F3F1-340E-A38B1000EB9C}"/>
                </a:ext>
              </a:extLst>
            </p:cNvPr>
            <p:cNvSpPr/>
            <p:nvPr/>
          </p:nvSpPr>
          <p:spPr>
            <a:xfrm>
              <a:off x="1650498" y="3935972"/>
              <a:ext cx="3437725" cy="2259434"/>
            </a:xfrm>
            <a:custGeom>
              <a:avLst/>
              <a:gdLst>
                <a:gd name="connsiteX0" fmla="*/ 123909 w 3437725"/>
                <a:gd name="connsiteY0" fmla="*/ 2259371 h 2259434"/>
                <a:gd name="connsiteX1" fmla="*/ 0 w 3437725"/>
                <a:gd name="connsiteY1" fmla="*/ 2195620 h 2259434"/>
                <a:gd name="connsiteX2" fmla="*/ 0 w 3437725"/>
                <a:gd name="connsiteY2" fmla="*/ 123909 h 2259434"/>
                <a:gd name="connsiteX3" fmla="*/ 123909 w 3437725"/>
                <a:gd name="connsiteY3" fmla="*/ 0 h 2259434"/>
                <a:gd name="connsiteX4" fmla="*/ 3313817 w 3437725"/>
                <a:gd name="connsiteY4" fmla="*/ 0 h 2259434"/>
                <a:gd name="connsiteX5" fmla="*/ 3437725 w 3437725"/>
                <a:gd name="connsiteY5" fmla="*/ 123909 h 2259434"/>
                <a:gd name="connsiteX6" fmla="*/ 3437725 w 3437725"/>
                <a:gd name="connsiteY6" fmla="*/ 2195620 h 2259434"/>
                <a:gd name="connsiteX7" fmla="*/ 3313817 w 3437725"/>
                <a:gd name="connsiteY7" fmla="*/ 2259371 h 2259434"/>
                <a:gd name="connsiteX8" fmla="*/ 123909 w 3437725"/>
                <a:gd name="connsiteY8" fmla="*/ 2259371 h 2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7725" h="2259434">
                  <a:moveTo>
                    <a:pt x="123909" y="2259371"/>
                  </a:moveTo>
                  <a:cubicBezTo>
                    <a:pt x="55579" y="2259371"/>
                    <a:pt x="0" y="2263950"/>
                    <a:pt x="0" y="2195620"/>
                  </a:cubicBezTo>
                  <a:lnTo>
                    <a:pt x="0" y="123909"/>
                  </a:lnTo>
                  <a:cubicBezTo>
                    <a:pt x="0" y="55579"/>
                    <a:pt x="55579" y="0"/>
                    <a:pt x="123909" y="0"/>
                  </a:cubicBezTo>
                  <a:lnTo>
                    <a:pt x="3313817" y="0"/>
                  </a:lnTo>
                  <a:cubicBezTo>
                    <a:pt x="3382146" y="0"/>
                    <a:pt x="3437725" y="55579"/>
                    <a:pt x="3437725" y="123909"/>
                  </a:cubicBezTo>
                  <a:lnTo>
                    <a:pt x="3437725" y="2195620"/>
                  </a:lnTo>
                  <a:cubicBezTo>
                    <a:pt x="3437725" y="2263950"/>
                    <a:pt x="3382146" y="2259371"/>
                    <a:pt x="3313817" y="2259371"/>
                  </a:cubicBezTo>
                  <a:lnTo>
                    <a:pt x="123909" y="2259371"/>
                  </a:lnTo>
                  <a:close/>
                </a:path>
              </a:pathLst>
            </a:custGeom>
            <a:solidFill>
              <a:srgbClr val="00000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nvGrpSpPr>
            <p:cNvPr id="34" name="Graphic 2">
              <a:extLst>
                <a:ext uri="{FF2B5EF4-FFF2-40B4-BE49-F238E27FC236}">
                  <a16:creationId xmlns:a16="http://schemas.microsoft.com/office/drawing/2014/main" id="{41DD724B-9678-85C8-9189-DB7C7C91B8E9}"/>
                </a:ext>
              </a:extLst>
            </p:cNvPr>
            <p:cNvGrpSpPr/>
            <p:nvPr/>
          </p:nvGrpSpPr>
          <p:grpSpPr>
            <a:xfrm>
              <a:off x="1655461" y="3940304"/>
              <a:ext cx="3426565" cy="2251885"/>
              <a:chOff x="1655461" y="3940304"/>
              <a:chExt cx="3426565" cy="2251885"/>
            </a:xfrm>
          </p:grpSpPr>
          <p:sp>
            <p:nvSpPr>
              <p:cNvPr id="67" name="Freeform: Shape 66">
                <a:extLst>
                  <a:ext uri="{FF2B5EF4-FFF2-40B4-BE49-F238E27FC236}">
                    <a16:creationId xmlns:a16="http://schemas.microsoft.com/office/drawing/2014/main" id="{49BC0CFC-40F6-7539-A7EE-0BD3A5188422}"/>
                  </a:ext>
                </a:extLst>
              </p:cNvPr>
              <p:cNvSpPr/>
              <p:nvPr/>
            </p:nvSpPr>
            <p:spPr>
              <a:xfrm>
                <a:off x="1678740" y="3940304"/>
                <a:ext cx="3403286" cy="2228359"/>
              </a:xfrm>
              <a:custGeom>
                <a:avLst/>
                <a:gdLst>
                  <a:gd name="connsiteX0" fmla="*/ 3403286 w 3403286"/>
                  <a:gd name="connsiteY0" fmla="*/ 112749 h 2228359"/>
                  <a:gd name="connsiteX1" fmla="*/ 3290565 w 3403286"/>
                  <a:gd name="connsiteY1" fmla="*/ 0 h 2228359"/>
                  <a:gd name="connsiteX2" fmla="*/ 97723 w 3403286"/>
                  <a:gd name="connsiteY2" fmla="*/ 0 h 2228359"/>
                  <a:gd name="connsiteX3" fmla="*/ 0 w 3403286"/>
                  <a:gd name="connsiteY3" fmla="*/ 56567 h 2228359"/>
                  <a:gd name="connsiteX4" fmla="*/ 89497 w 3403286"/>
                  <a:gd name="connsiteY4" fmla="*/ 12366 h 2228359"/>
                  <a:gd name="connsiteX5" fmla="*/ 3282284 w 3403286"/>
                  <a:gd name="connsiteY5" fmla="*/ 12366 h 2228359"/>
                  <a:gd name="connsiteX6" fmla="*/ 3395033 w 3403286"/>
                  <a:gd name="connsiteY6" fmla="*/ 125115 h 2228359"/>
                  <a:gd name="connsiteX7" fmla="*/ 3395033 w 3403286"/>
                  <a:gd name="connsiteY7" fmla="*/ 2198774 h 2228359"/>
                  <a:gd name="connsiteX8" fmla="*/ 3384312 w 3403286"/>
                  <a:gd name="connsiteY8" fmla="*/ 2228359 h 2228359"/>
                  <a:gd name="connsiteX9" fmla="*/ 3403259 w 3403286"/>
                  <a:gd name="connsiteY9" fmla="*/ 2186407 h 2228359"/>
                  <a:gd name="connsiteX10" fmla="*/ 3403259 w 3403286"/>
                  <a:gd name="connsiteY10" fmla="*/ 112749 h 222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3286" h="2228359">
                    <a:moveTo>
                      <a:pt x="3403286" y="112749"/>
                    </a:moveTo>
                    <a:cubicBezTo>
                      <a:pt x="3403286" y="50479"/>
                      <a:pt x="3352807" y="0"/>
                      <a:pt x="3290565" y="0"/>
                    </a:cubicBezTo>
                    <a:lnTo>
                      <a:pt x="97723" y="0"/>
                    </a:lnTo>
                    <a:cubicBezTo>
                      <a:pt x="55908" y="0"/>
                      <a:pt x="19468" y="22786"/>
                      <a:pt x="0" y="56567"/>
                    </a:cubicBezTo>
                    <a:cubicBezTo>
                      <a:pt x="20620" y="29695"/>
                      <a:pt x="53029" y="12366"/>
                      <a:pt x="89497" y="12366"/>
                    </a:cubicBezTo>
                    <a:lnTo>
                      <a:pt x="3282284" y="12366"/>
                    </a:lnTo>
                    <a:cubicBezTo>
                      <a:pt x="3344554" y="12366"/>
                      <a:pt x="3395033" y="62846"/>
                      <a:pt x="3395033" y="125115"/>
                    </a:cubicBezTo>
                    <a:lnTo>
                      <a:pt x="3395033" y="2198774"/>
                    </a:lnTo>
                    <a:cubicBezTo>
                      <a:pt x="3395033" y="2219256"/>
                      <a:pt x="3393854" y="2211825"/>
                      <a:pt x="3384312" y="2228359"/>
                    </a:cubicBezTo>
                    <a:cubicBezTo>
                      <a:pt x="3398872" y="2209357"/>
                      <a:pt x="3403259" y="2212182"/>
                      <a:pt x="3403259" y="2186407"/>
                    </a:cubicBezTo>
                    <a:lnTo>
                      <a:pt x="3403259" y="112749"/>
                    </a:lnTo>
                    <a:close/>
                  </a:path>
                </a:pathLst>
              </a:custGeom>
              <a:gradFill>
                <a:gsLst>
                  <a:gs pos="0">
                    <a:srgbClr val="919191"/>
                  </a:gs>
                  <a:gs pos="17000">
                    <a:srgbClr val="979797"/>
                  </a:gs>
                  <a:gs pos="40000">
                    <a:srgbClr val="A9A9A9"/>
                  </a:gs>
                  <a:gs pos="67000">
                    <a:srgbClr val="C7C7C7"/>
                  </a:gs>
                  <a:gs pos="97000">
                    <a:srgbClr val="EFEFEF"/>
                  </a:gs>
                  <a:gs pos="100000">
                    <a:srgbClr val="F5F5F5"/>
                  </a:gs>
                </a:gsLst>
                <a:lin ang="14099989" scaled="1"/>
              </a:gra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68" name="Freeform: Shape 67">
                <a:extLst>
                  <a:ext uri="{FF2B5EF4-FFF2-40B4-BE49-F238E27FC236}">
                    <a16:creationId xmlns:a16="http://schemas.microsoft.com/office/drawing/2014/main" id="{3A7EFFAD-ECA3-7C53-1CA6-E7E155D600E1}"/>
                  </a:ext>
                </a:extLst>
              </p:cNvPr>
              <p:cNvSpPr/>
              <p:nvPr/>
            </p:nvSpPr>
            <p:spPr>
              <a:xfrm>
                <a:off x="1655461" y="3996871"/>
                <a:ext cx="3415487" cy="2195318"/>
              </a:xfrm>
              <a:custGeom>
                <a:avLst/>
                <a:gdLst>
                  <a:gd name="connsiteX0" fmla="*/ 3313816 w 3415487"/>
                  <a:gd name="connsiteY0" fmla="*/ 2182404 h 2195318"/>
                  <a:gd name="connsiteX1" fmla="*/ 121002 w 3415487"/>
                  <a:gd name="connsiteY1" fmla="*/ 2182404 h 2195318"/>
                  <a:gd name="connsiteX2" fmla="*/ 8253 w 3415487"/>
                  <a:gd name="connsiteY2" fmla="*/ 2129841 h 2195318"/>
                  <a:gd name="connsiteX3" fmla="*/ 8253 w 3415487"/>
                  <a:gd name="connsiteY3" fmla="*/ 56183 h 2195318"/>
                  <a:gd name="connsiteX4" fmla="*/ 23252 w 3415487"/>
                  <a:gd name="connsiteY4" fmla="*/ 0 h 2195318"/>
                  <a:gd name="connsiteX5" fmla="*/ 0 w 3415487"/>
                  <a:gd name="connsiteY5" fmla="*/ 68549 h 2195318"/>
                  <a:gd name="connsiteX6" fmla="*/ 0 w 3415487"/>
                  <a:gd name="connsiteY6" fmla="*/ 2142207 h 2195318"/>
                  <a:gd name="connsiteX7" fmla="*/ 112749 w 3415487"/>
                  <a:gd name="connsiteY7" fmla="*/ 2194770 h 2195318"/>
                  <a:gd name="connsiteX8" fmla="*/ 3305536 w 3415487"/>
                  <a:gd name="connsiteY8" fmla="*/ 2194770 h 2195318"/>
                  <a:gd name="connsiteX9" fmla="*/ 3415488 w 3415487"/>
                  <a:gd name="connsiteY9" fmla="*/ 2151502 h 2195318"/>
                  <a:gd name="connsiteX10" fmla="*/ 3313789 w 3415487"/>
                  <a:gd name="connsiteY10" fmla="*/ 2182432 h 219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5487" h="2195318">
                    <a:moveTo>
                      <a:pt x="3313816" y="2182404"/>
                    </a:moveTo>
                    <a:lnTo>
                      <a:pt x="121002" y="2182404"/>
                    </a:lnTo>
                    <a:cubicBezTo>
                      <a:pt x="58733" y="2182404"/>
                      <a:pt x="8253" y="2192111"/>
                      <a:pt x="8253" y="2129841"/>
                    </a:cubicBezTo>
                    <a:lnTo>
                      <a:pt x="8253" y="56183"/>
                    </a:lnTo>
                    <a:cubicBezTo>
                      <a:pt x="8253" y="35728"/>
                      <a:pt x="13737" y="16534"/>
                      <a:pt x="23252" y="0"/>
                    </a:cubicBezTo>
                    <a:cubicBezTo>
                      <a:pt x="8665" y="19002"/>
                      <a:pt x="0" y="42747"/>
                      <a:pt x="0" y="68549"/>
                    </a:cubicBezTo>
                    <a:lnTo>
                      <a:pt x="0" y="2142207"/>
                    </a:lnTo>
                    <a:cubicBezTo>
                      <a:pt x="0" y="2204477"/>
                      <a:pt x="50479" y="2194770"/>
                      <a:pt x="112749" y="2194770"/>
                    </a:cubicBezTo>
                    <a:lnTo>
                      <a:pt x="3305536" y="2194770"/>
                    </a:lnTo>
                    <a:cubicBezTo>
                      <a:pt x="3347350" y="2194770"/>
                      <a:pt x="3396020" y="2185283"/>
                      <a:pt x="3415488" y="2151502"/>
                    </a:cubicBezTo>
                    <a:cubicBezTo>
                      <a:pt x="3394869" y="2178346"/>
                      <a:pt x="3350230" y="2182432"/>
                      <a:pt x="3313789" y="2182432"/>
                    </a:cubicBezTo>
                    <a:close/>
                  </a:path>
                </a:pathLst>
              </a:custGeom>
              <a:gradFill>
                <a:gsLst>
                  <a:gs pos="0">
                    <a:srgbClr val="E6E6E6"/>
                  </a:gs>
                  <a:gs pos="36000">
                    <a:srgbClr val="4D4D4D"/>
                  </a:gs>
                  <a:gs pos="56000">
                    <a:srgbClr val="CCCCCC"/>
                  </a:gs>
                  <a:gs pos="100000">
                    <a:srgbClr val="919191"/>
                  </a:gs>
                </a:gsLst>
                <a:lin ang="14099993" scaled="1"/>
              </a:gra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grpSp>
          <p:nvGrpSpPr>
            <p:cNvPr id="35" name="Graphic 2">
              <a:extLst>
                <a:ext uri="{FF2B5EF4-FFF2-40B4-BE49-F238E27FC236}">
                  <a16:creationId xmlns:a16="http://schemas.microsoft.com/office/drawing/2014/main" id="{9DA31C6B-87CD-E777-EAB4-8EC1B6E7D60C}"/>
                </a:ext>
              </a:extLst>
            </p:cNvPr>
            <p:cNvGrpSpPr/>
            <p:nvPr/>
          </p:nvGrpSpPr>
          <p:grpSpPr>
            <a:xfrm>
              <a:off x="1672735" y="3864105"/>
              <a:ext cx="3496677" cy="2460547"/>
              <a:chOff x="1672735" y="3864105"/>
              <a:chExt cx="3496677" cy="2460547"/>
            </a:xfrm>
          </p:grpSpPr>
          <p:sp>
            <p:nvSpPr>
              <p:cNvPr id="65" name="Freeform: Shape 64">
                <a:extLst>
                  <a:ext uri="{FF2B5EF4-FFF2-40B4-BE49-F238E27FC236}">
                    <a16:creationId xmlns:a16="http://schemas.microsoft.com/office/drawing/2014/main" id="{1AC99F5F-8725-EA24-43A2-D5E3E01358F1}"/>
                  </a:ext>
                </a:extLst>
              </p:cNvPr>
              <p:cNvSpPr/>
              <p:nvPr/>
            </p:nvSpPr>
            <p:spPr>
              <a:xfrm>
                <a:off x="1672735" y="3961801"/>
                <a:ext cx="3393278" cy="2216967"/>
              </a:xfrm>
              <a:custGeom>
                <a:avLst/>
                <a:gdLst>
                  <a:gd name="connsiteX0" fmla="*/ 90759 w 3393278"/>
                  <a:gd name="connsiteY0" fmla="*/ 2207767 h 2216967"/>
                  <a:gd name="connsiteX1" fmla="*/ 0 w 3393278"/>
                  <a:gd name="connsiteY1" fmla="*/ 2177195 h 2216967"/>
                  <a:gd name="connsiteX2" fmla="*/ 0 w 3393278"/>
                  <a:gd name="connsiteY2" fmla="*/ 90759 h 2216967"/>
                  <a:gd name="connsiteX3" fmla="*/ 90759 w 3393278"/>
                  <a:gd name="connsiteY3" fmla="*/ 0 h 2216967"/>
                  <a:gd name="connsiteX4" fmla="*/ 3302520 w 3393278"/>
                  <a:gd name="connsiteY4" fmla="*/ 0 h 2216967"/>
                  <a:gd name="connsiteX5" fmla="*/ 3393278 w 3393278"/>
                  <a:gd name="connsiteY5" fmla="*/ 90759 h 2216967"/>
                  <a:gd name="connsiteX6" fmla="*/ 3393278 w 3393278"/>
                  <a:gd name="connsiteY6" fmla="*/ 2177195 h 2216967"/>
                  <a:gd name="connsiteX7" fmla="*/ 3302931 w 3393278"/>
                  <a:gd name="connsiteY7" fmla="*/ 2215856 h 2216967"/>
                  <a:gd name="connsiteX8" fmla="*/ 90786 w 3393278"/>
                  <a:gd name="connsiteY8" fmla="*/ 2207794 h 2216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278" h="2216967">
                    <a:moveTo>
                      <a:pt x="90759" y="2207767"/>
                    </a:moveTo>
                    <a:cubicBezTo>
                      <a:pt x="40718" y="2207767"/>
                      <a:pt x="0" y="2227235"/>
                      <a:pt x="0" y="2177195"/>
                    </a:cubicBezTo>
                    <a:lnTo>
                      <a:pt x="0" y="90759"/>
                    </a:lnTo>
                    <a:cubicBezTo>
                      <a:pt x="0" y="40718"/>
                      <a:pt x="40718" y="0"/>
                      <a:pt x="90759" y="0"/>
                    </a:cubicBezTo>
                    <a:lnTo>
                      <a:pt x="3302520" y="0"/>
                    </a:lnTo>
                    <a:cubicBezTo>
                      <a:pt x="3352560" y="0"/>
                      <a:pt x="3393278" y="40718"/>
                      <a:pt x="3393278" y="90759"/>
                    </a:cubicBezTo>
                    <a:lnTo>
                      <a:pt x="3393278" y="2177195"/>
                    </a:lnTo>
                    <a:cubicBezTo>
                      <a:pt x="3393278" y="2227235"/>
                      <a:pt x="3352971" y="2215856"/>
                      <a:pt x="3302931" y="2215856"/>
                    </a:cubicBezTo>
                    <a:lnTo>
                      <a:pt x="90786" y="2207794"/>
                    </a:lnTo>
                    <a:close/>
                  </a:path>
                </a:pathLst>
              </a:custGeom>
              <a:solidFill>
                <a:srgbClr val="00000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66" name="Freeform: Shape 65">
                <a:extLst>
                  <a:ext uri="{FF2B5EF4-FFF2-40B4-BE49-F238E27FC236}">
                    <a16:creationId xmlns:a16="http://schemas.microsoft.com/office/drawing/2014/main" id="{AEF3E72F-2010-3417-5E0A-56196962FA28}"/>
                  </a:ext>
                </a:extLst>
              </p:cNvPr>
              <p:cNvSpPr/>
              <p:nvPr/>
            </p:nvSpPr>
            <p:spPr>
              <a:xfrm>
                <a:off x="3175134" y="3864105"/>
                <a:ext cx="1994278" cy="2460547"/>
              </a:xfrm>
              <a:custGeom>
                <a:avLst/>
                <a:gdLst>
                  <a:gd name="connsiteX0" fmla="*/ 1809608 w 1994278"/>
                  <a:gd name="connsiteY0" fmla="*/ 0 h 2460547"/>
                  <a:gd name="connsiteX1" fmla="*/ 0 w 1994278"/>
                  <a:gd name="connsiteY1" fmla="*/ 274 h 2460547"/>
                  <a:gd name="connsiteX2" fmla="*/ 701447 w 1994278"/>
                  <a:gd name="connsiteY2" fmla="*/ 2460548 h 2460547"/>
                  <a:gd name="connsiteX3" fmla="*/ 1809608 w 1994278"/>
                  <a:gd name="connsiteY3" fmla="*/ 2460274 h 2460547"/>
                  <a:gd name="connsiteX4" fmla="*/ 1994278 w 1994278"/>
                  <a:gd name="connsiteY4" fmla="*/ 2303105 h 2460547"/>
                  <a:gd name="connsiteX5" fmla="*/ 1994278 w 1994278"/>
                  <a:gd name="connsiteY5" fmla="*/ 157169 h 2460547"/>
                  <a:gd name="connsiteX6" fmla="*/ 1809608 w 1994278"/>
                  <a:gd name="connsiteY6" fmla="*/ 0 h 246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4278" h="2460547">
                    <a:moveTo>
                      <a:pt x="1809608" y="0"/>
                    </a:moveTo>
                    <a:lnTo>
                      <a:pt x="0" y="274"/>
                    </a:lnTo>
                    <a:lnTo>
                      <a:pt x="701447" y="2460548"/>
                    </a:lnTo>
                    <a:lnTo>
                      <a:pt x="1809608" y="2460274"/>
                    </a:lnTo>
                    <a:cubicBezTo>
                      <a:pt x="1911581" y="2460274"/>
                      <a:pt x="1994278" y="2389888"/>
                      <a:pt x="1994278" y="2303105"/>
                    </a:cubicBezTo>
                    <a:lnTo>
                      <a:pt x="1994278" y="157169"/>
                    </a:lnTo>
                    <a:cubicBezTo>
                      <a:pt x="1994278" y="70358"/>
                      <a:pt x="1911608" y="0"/>
                      <a:pt x="1809608" y="0"/>
                    </a:cubicBezTo>
                    <a:close/>
                  </a:path>
                </a:pathLst>
              </a:custGeom>
              <a:solidFill>
                <a:srgbClr val="FFFFFF">
                  <a:alpha val="5000"/>
                </a:srgbClr>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sp>
          <p:nvSpPr>
            <p:cNvPr id="37" name="Freeform: Shape 36">
              <a:extLst>
                <a:ext uri="{FF2B5EF4-FFF2-40B4-BE49-F238E27FC236}">
                  <a16:creationId xmlns:a16="http://schemas.microsoft.com/office/drawing/2014/main" id="{F8176E43-CC77-D0D4-EF32-58FA8854FFB6}"/>
                </a:ext>
              </a:extLst>
            </p:cNvPr>
            <p:cNvSpPr/>
            <p:nvPr/>
          </p:nvSpPr>
          <p:spPr>
            <a:xfrm>
              <a:off x="1672735" y="6067732"/>
              <a:ext cx="3393250" cy="7732"/>
            </a:xfrm>
            <a:custGeom>
              <a:avLst/>
              <a:gdLst>
                <a:gd name="connsiteX0" fmla="*/ 0 w 3393250"/>
                <a:gd name="connsiteY0" fmla="*/ 0 h 7732"/>
                <a:gd name="connsiteX1" fmla="*/ 3393251 w 3393250"/>
                <a:gd name="connsiteY1" fmla="*/ 0 h 7732"/>
                <a:gd name="connsiteX2" fmla="*/ 3393251 w 3393250"/>
                <a:gd name="connsiteY2" fmla="*/ 7732 h 7732"/>
                <a:gd name="connsiteX3" fmla="*/ 0 w 3393250"/>
                <a:gd name="connsiteY3" fmla="*/ 7732 h 7732"/>
              </a:gdLst>
              <a:ahLst/>
              <a:cxnLst>
                <a:cxn ang="0">
                  <a:pos x="connsiteX0" y="connsiteY0"/>
                </a:cxn>
                <a:cxn ang="0">
                  <a:pos x="connsiteX1" y="connsiteY1"/>
                </a:cxn>
                <a:cxn ang="0">
                  <a:pos x="connsiteX2" y="connsiteY2"/>
                </a:cxn>
                <a:cxn ang="0">
                  <a:pos x="connsiteX3" y="connsiteY3"/>
                </a:cxn>
              </a:cxnLst>
              <a:rect l="l" t="t" r="r" b="b"/>
              <a:pathLst>
                <a:path w="3393250" h="7732">
                  <a:moveTo>
                    <a:pt x="0" y="0"/>
                  </a:moveTo>
                  <a:lnTo>
                    <a:pt x="3393251" y="0"/>
                  </a:lnTo>
                  <a:lnTo>
                    <a:pt x="3393251" y="7732"/>
                  </a:lnTo>
                  <a:lnTo>
                    <a:pt x="0" y="7732"/>
                  </a:lnTo>
                  <a:close/>
                </a:path>
              </a:pathLst>
            </a:custGeom>
            <a:solidFill>
              <a:srgbClr val="404041"/>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nvGrpSpPr>
            <p:cNvPr id="38" name="Graphic 2">
              <a:extLst>
                <a:ext uri="{FF2B5EF4-FFF2-40B4-BE49-F238E27FC236}">
                  <a16:creationId xmlns:a16="http://schemas.microsoft.com/office/drawing/2014/main" id="{FC314D20-0003-1153-5603-87B8B10E4E5A}"/>
                </a:ext>
              </a:extLst>
            </p:cNvPr>
            <p:cNvGrpSpPr/>
            <p:nvPr/>
          </p:nvGrpSpPr>
          <p:grpSpPr>
            <a:xfrm>
              <a:off x="3355034" y="3982421"/>
              <a:ext cx="28680" cy="28872"/>
              <a:chOff x="3355034" y="3982421"/>
              <a:chExt cx="28680" cy="28872"/>
            </a:xfrm>
          </p:grpSpPr>
          <p:sp>
            <p:nvSpPr>
              <p:cNvPr id="60" name="Freeform: Shape 59">
                <a:extLst>
                  <a:ext uri="{FF2B5EF4-FFF2-40B4-BE49-F238E27FC236}">
                    <a16:creationId xmlns:a16="http://schemas.microsoft.com/office/drawing/2014/main" id="{F1F08CAB-4A43-DB37-04EE-C4BAB5D46800}"/>
                  </a:ext>
                </a:extLst>
              </p:cNvPr>
              <p:cNvSpPr/>
              <p:nvPr/>
            </p:nvSpPr>
            <p:spPr>
              <a:xfrm>
                <a:off x="3355746" y="3983325"/>
                <a:ext cx="27967" cy="27967"/>
              </a:xfrm>
              <a:custGeom>
                <a:avLst/>
                <a:gdLst>
                  <a:gd name="connsiteX0" fmla="*/ 27968 w 27967"/>
                  <a:gd name="connsiteY0" fmla="*/ 13984 h 27967"/>
                  <a:gd name="connsiteX1" fmla="*/ 13984 w 27967"/>
                  <a:gd name="connsiteY1" fmla="*/ 0 h 27967"/>
                  <a:gd name="connsiteX2" fmla="*/ 0 w 27967"/>
                  <a:gd name="connsiteY2" fmla="*/ 13984 h 27967"/>
                  <a:gd name="connsiteX3" fmla="*/ 13984 w 27967"/>
                  <a:gd name="connsiteY3" fmla="*/ 27968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6252"/>
                      <a:pt x="21689" y="0"/>
                      <a:pt x="13984" y="0"/>
                    </a:cubicBezTo>
                    <a:cubicBezTo>
                      <a:pt x="6279" y="0"/>
                      <a:pt x="0" y="6279"/>
                      <a:pt x="0" y="13984"/>
                    </a:cubicBezTo>
                    <a:cubicBezTo>
                      <a:pt x="0" y="21689"/>
                      <a:pt x="6252" y="27968"/>
                      <a:pt x="13984" y="27968"/>
                    </a:cubicBezTo>
                    <a:cubicBezTo>
                      <a:pt x="21716" y="27968"/>
                      <a:pt x="27968" y="21689"/>
                      <a:pt x="27968" y="13984"/>
                    </a:cubicBezTo>
                    <a:close/>
                  </a:path>
                </a:pathLst>
              </a:custGeom>
              <a:solidFill>
                <a:srgbClr val="58595B"/>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61" name="Freeform: Shape 60">
                <a:extLst>
                  <a:ext uri="{FF2B5EF4-FFF2-40B4-BE49-F238E27FC236}">
                    <a16:creationId xmlns:a16="http://schemas.microsoft.com/office/drawing/2014/main" id="{A294E142-418B-F895-D319-E06C526E4936}"/>
                  </a:ext>
                </a:extLst>
              </p:cNvPr>
              <p:cNvSpPr/>
              <p:nvPr/>
            </p:nvSpPr>
            <p:spPr>
              <a:xfrm>
                <a:off x="3355034" y="3982421"/>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8F8F8F"/>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62" name="Freeform: Shape 61">
                <a:extLst>
                  <a:ext uri="{FF2B5EF4-FFF2-40B4-BE49-F238E27FC236}">
                    <a16:creationId xmlns:a16="http://schemas.microsoft.com/office/drawing/2014/main" id="{FB5A8FB7-4613-84A2-FA22-16CAF3034AEA}"/>
                  </a:ext>
                </a:extLst>
              </p:cNvPr>
              <p:cNvSpPr/>
              <p:nvPr/>
            </p:nvSpPr>
            <p:spPr>
              <a:xfrm>
                <a:off x="3357035" y="3984422"/>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231F2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63" name="Freeform: Shape 62">
                <a:extLst>
                  <a:ext uri="{FF2B5EF4-FFF2-40B4-BE49-F238E27FC236}">
                    <a16:creationId xmlns:a16="http://schemas.microsoft.com/office/drawing/2014/main" id="{5AF11FFA-584E-154C-35D7-E63B2F5FF438}"/>
                  </a:ext>
                </a:extLst>
              </p:cNvPr>
              <p:cNvSpPr/>
              <p:nvPr/>
            </p:nvSpPr>
            <p:spPr>
              <a:xfrm>
                <a:off x="3360874" y="3988261"/>
                <a:ext cx="16287" cy="16287"/>
              </a:xfrm>
              <a:custGeom>
                <a:avLst/>
                <a:gdLst>
                  <a:gd name="connsiteX0" fmla="*/ 16287 w 16287"/>
                  <a:gd name="connsiteY0" fmla="*/ 8144 h 16287"/>
                  <a:gd name="connsiteX1" fmla="*/ 8144 w 16287"/>
                  <a:gd name="connsiteY1" fmla="*/ 16287 h 16287"/>
                  <a:gd name="connsiteX2" fmla="*/ 0 w 16287"/>
                  <a:gd name="connsiteY2" fmla="*/ 8144 h 16287"/>
                  <a:gd name="connsiteX3" fmla="*/ 8144 w 16287"/>
                  <a:gd name="connsiteY3" fmla="*/ 0 h 16287"/>
                  <a:gd name="connsiteX4" fmla="*/ 16287 w 16287"/>
                  <a:gd name="connsiteY4" fmla="*/ 8144 h 1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7" h="16287">
                    <a:moveTo>
                      <a:pt x="16287" y="8144"/>
                    </a:moveTo>
                    <a:cubicBezTo>
                      <a:pt x="16287" y="12641"/>
                      <a:pt x="12641" y="16287"/>
                      <a:pt x="8144" y="16287"/>
                    </a:cubicBezTo>
                    <a:cubicBezTo>
                      <a:pt x="3646" y="16287"/>
                      <a:pt x="0" y="12641"/>
                      <a:pt x="0" y="8144"/>
                    </a:cubicBezTo>
                    <a:cubicBezTo>
                      <a:pt x="0" y="3646"/>
                      <a:pt x="3646" y="0"/>
                      <a:pt x="8144" y="0"/>
                    </a:cubicBezTo>
                    <a:cubicBezTo>
                      <a:pt x="12641" y="0"/>
                      <a:pt x="16287" y="3646"/>
                      <a:pt x="16287" y="8144"/>
                    </a:cubicBezTo>
                    <a:close/>
                  </a:path>
                </a:pathLst>
              </a:custGeom>
              <a:solidFill>
                <a:srgbClr val="454545"/>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64" name="Freeform: Shape 63">
                <a:extLst>
                  <a:ext uri="{FF2B5EF4-FFF2-40B4-BE49-F238E27FC236}">
                    <a16:creationId xmlns:a16="http://schemas.microsoft.com/office/drawing/2014/main" id="{10F3A871-72D6-11CA-B74D-0B111EE2F821}"/>
                  </a:ext>
                </a:extLst>
              </p:cNvPr>
              <p:cNvSpPr/>
              <p:nvPr/>
            </p:nvSpPr>
            <p:spPr>
              <a:xfrm>
                <a:off x="3366742" y="3994129"/>
                <a:ext cx="4551" cy="4551"/>
              </a:xfrm>
              <a:custGeom>
                <a:avLst/>
                <a:gdLst>
                  <a:gd name="connsiteX0" fmla="*/ 4552 w 4551"/>
                  <a:gd name="connsiteY0" fmla="*/ 2276 h 4551"/>
                  <a:gd name="connsiteX1" fmla="*/ 2276 w 4551"/>
                  <a:gd name="connsiteY1" fmla="*/ 4552 h 4551"/>
                  <a:gd name="connsiteX2" fmla="*/ 0 w 4551"/>
                  <a:gd name="connsiteY2" fmla="*/ 2276 h 4551"/>
                  <a:gd name="connsiteX3" fmla="*/ 2276 w 4551"/>
                  <a:gd name="connsiteY3" fmla="*/ 0 h 4551"/>
                  <a:gd name="connsiteX4" fmla="*/ 4552 w 4551"/>
                  <a:gd name="connsiteY4" fmla="*/ 2276 h 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 h="4551">
                    <a:moveTo>
                      <a:pt x="4552" y="2276"/>
                    </a:moveTo>
                    <a:cubicBezTo>
                      <a:pt x="4552" y="3533"/>
                      <a:pt x="3533" y="4552"/>
                      <a:pt x="2276" y="4552"/>
                    </a:cubicBezTo>
                    <a:cubicBezTo>
                      <a:pt x="1019" y="4552"/>
                      <a:pt x="0" y="3533"/>
                      <a:pt x="0" y="2276"/>
                    </a:cubicBezTo>
                    <a:cubicBezTo>
                      <a:pt x="0" y="1019"/>
                      <a:pt x="1019" y="0"/>
                      <a:pt x="2276" y="0"/>
                    </a:cubicBezTo>
                    <a:cubicBezTo>
                      <a:pt x="3533" y="0"/>
                      <a:pt x="4552" y="1019"/>
                      <a:pt x="4552" y="2276"/>
                    </a:cubicBezTo>
                    <a:close/>
                  </a:path>
                </a:pathLst>
              </a:custGeom>
              <a:solidFill>
                <a:srgbClr val="00000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grpSp>
          <p:nvGrpSpPr>
            <p:cNvPr id="39" name="Graphic 2">
              <a:extLst>
                <a:ext uri="{FF2B5EF4-FFF2-40B4-BE49-F238E27FC236}">
                  <a16:creationId xmlns:a16="http://schemas.microsoft.com/office/drawing/2014/main" id="{B0335CC3-6E90-9358-DEE2-D09F0E5B224A}"/>
                </a:ext>
              </a:extLst>
            </p:cNvPr>
            <p:cNvGrpSpPr/>
            <p:nvPr/>
          </p:nvGrpSpPr>
          <p:grpSpPr>
            <a:xfrm>
              <a:off x="1329003" y="6140915"/>
              <a:ext cx="4080768" cy="99615"/>
              <a:chOff x="1329003" y="6140915"/>
              <a:chExt cx="4080768" cy="99615"/>
            </a:xfrm>
          </p:grpSpPr>
          <p:sp>
            <p:nvSpPr>
              <p:cNvPr id="40" name="Freeform: Shape 39">
                <a:extLst>
                  <a:ext uri="{FF2B5EF4-FFF2-40B4-BE49-F238E27FC236}">
                    <a16:creationId xmlns:a16="http://schemas.microsoft.com/office/drawing/2014/main" id="{0D9B8A62-742D-F47A-F5D0-C09F4A72930F}"/>
                  </a:ext>
                </a:extLst>
              </p:cNvPr>
              <p:cNvSpPr/>
              <p:nvPr/>
            </p:nvSpPr>
            <p:spPr>
              <a:xfrm>
                <a:off x="1329003" y="6140915"/>
                <a:ext cx="4080740" cy="48559"/>
              </a:xfrm>
              <a:custGeom>
                <a:avLst/>
                <a:gdLst>
                  <a:gd name="connsiteX0" fmla="*/ 4080741 w 4080740"/>
                  <a:gd name="connsiteY0" fmla="*/ 0 h 48559"/>
                  <a:gd name="connsiteX1" fmla="*/ 2040371 w 4080740"/>
                  <a:gd name="connsiteY1" fmla="*/ 0 h 48559"/>
                  <a:gd name="connsiteX2" fmla="*/ 0 w 4080740"/>
                  <a:gd name="connsiteY2" fmla="*/ 0 h 48559"/>
                  <a:gd name="connsiteX3" fmla="*/ 0 w 4080740"/>
                  <a:gd name="connsiteY3" fmla="*/ 48560 h 48559"/>
                  <a:gd name="connsiteX4" fmla="*/ 4080741 w 4080740"/>
                  <a:gd name="connsiteY4" fmla="*/ 48560 h 48559"/>
                  <a:gd name="connsiteX5" fmla="*/ 4080741 w 4080740"/>
                  <a:gd name="connsiteY5" fmla="*/ 0 h 48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0740" h="48559">
                    <a:moveTo>
                      <a:pt x="4080741" y="0"/>
                    </a:moveTo>
                    <a:lnTo>
                      <a:pt x="2040371" y="0"/>
                    </a:lnTo>
                    <a:lnTo>
                      <a:pt x="0" y="0"/>
                    </a:lnTo>
                    <a:lnTo>
                      <a:pt x="0" y="48560"/>
                    </a:lnTo>
                    <a:lnTo>
                      <a:pt x="4080741" y="48560"/>
                    </a:lnTo>
                    <a:lnTo>
                      <a:pt x="4080741" y="0"/>
                    </a:lnTo>
                    <a:close/>
                  </a:path>
                </a:pathLst>
              </a:custGeom>
              <a:solidFill>
                <a:srgbClr val="00000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41" name="Freeform: Shape 40">
                <a:extLst>
                  <a:ext uri="{FF2B5EF4-FFF2-40B4-BE49-F238E27FC236}">
                    <a16:creationId xmlns:a16="http://schemas.microsoft.com/office/drawing/2014/main" id="{AD5ABEDA-1917-4DE0-5AD9-CCEF8BE89BD1}"/>
                  </a:ext>
                </a:extLst>
              </p:cNvPr>
              <p:cNvSpPr/>
              <p:nvPr/>
            </p:nvSpPr>
            <p:spPr>
              <a:xfrm>
                <a:off x="1329003" y="6189475"/>
                <a:ext cx="4080768" cy="51055"/>
              </a:xfrm>
              <a:custGeom>
                <a:avLst/>
                <a:gdLst>
                  <a:gd name="connsiteX0" fmla="*/ 0 w 4080768"/>
                  <a:gd name="connsiteY0" fmla="*/ 0 h 51055"/>
                  <a:gd name="connsiteX1" fmla="*/ 0 w 4080768"/>
                  <a:gd name="connsiteY1" fmla="*/ 0 h 51055"/>
                  <a:gd name="connsiteX2" fmla="*/ 221385 w 4080768"/>
                  <a:gd name="connsiteY2" fmla="*/ 51001 h 51055"/>
                  <a:gd name="connsiteX3" fmla="*/ 2040398 w 4080768"/>
                  <a:gd name="connsiteY3" fmla="*/ 51055 h 51055"/>
                  <a:gd name="connsiteX4" fmla="*/ 3859383 w 4080768"/>
                  <a:gd name="connsiteY4" fmla="*/ 51001 h 51055"/>
                  <a:gd name="connsiteX5" fmla="*/ 4080769 w 4080768"/>
                  <a:gd name="connsiteY5" fmla="*/ 55 h 51055"/>
                  <a:gd name="connsiteX6" fmla="*/ 4080769 w 4080768"/>
                  <a:gd name="connsiteY6" fmla="*/ 55 h 51055"/>
                  <a:gd name="connsiteX7" fmla="*/ 0 w 4080768"/>
                  <a:gd name="connsiteY7" fmla="*/ 27 h 5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0768" h="51055">
                    <a:moveTo>
                      <a:pt x="0" y="0"/>
                    </a:moveTo>
                    <a:lnTo>
                      <a:pt x="0" y="0"/>
                    </a:lnTo>
                    <a:cubicBezTo>
                      <a:pt x="0" y="0"/>
                      <a:pt x="128269" y="52755"/>
                      <a:pt x="221385" y="51001"/>
                    </a:cubicBezTo>
                    <a:lnTo>
                      <a:pt x="2040398" y="51055"/>
                    </a:lnTo>
                    <a:lnTo>
                      <a:pt x="3859383" y="51001"/>
                    </a:lnTo>
                    <a:cubicBezTo>
                      <a:pt x="3952527" y="52755"/>
                      <a:pt x="4080769" y="55"/>
                      <a:pt x="4080769" y="55"/>
                    </a:cubicBezTo>
                    <a:lnTo>
                      <a:pt x="4080769" y="55"/>
                    </a:lnTo>
                    <a:cubicBezTo>
                      <a:pt x="4080769" y="55"/>
                      <a:pt x="0" y="27"/>
                      <a:pt x="0" y="27"/>
                    </a:cubicBezTo>
                    <a:close/>
                  </a:path>
                </a:pathLst>
              </a:custGeom>
              <a:solidFill>
                <a:srgbClr val="00000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42" name="Freeform: Shape 41">
                <a:extLst>
                  <a:ext uri="{FF2B5EF4-FFF2-40B4-BE49-F238E27FC236}">
                    <a16:creationId xmlns:a16="http://schemas.microsoft.com/office/drawing/2014/main" id="{369E1334-74E6-C256-D737-8B23AC47AB1D}"/>
                  </a:ext>
                </a:extLst>
              </p:cNvPr>
              <p:cNvSpPr/>
              <p:nvPr/>
            </p:nvSpPr>
            <p:spPr>
              <a:xfrm>
                <a:off x="5398886" y="6140915"/>
                <a:ext cx="10858" cy="48560"/>
              </a:xfrm>
              <a:custGeom>
                <a:avLst/>
                <a:gdLst>
                  <a:gd name="connsiteX0" fmla="*/ 0 w 10858"/>
                  <a:gd name="connsiteY0" fmla="*/ 0 h 48560"/>
                  <a:gd name="connsiteX1" fmla="*/ 10858 w 10858"/>
                  <a:gd name="connsiteY1" fmla="*/ 0 h 48560"/>
                  <a:gd name="connsiteX2" fmla="*/ 10858 w 10858"/>
                  <a:gd name="connsiteY2" fmla="*/ 48560 h 48560"/>
                  <a:gd name="connsiteX3" fmla="*/ 0 w 10858"/>
                  <a:gd name="connsiteY3" fmla="*/ 48560 h 48560"/>
                </a:gdLst>
                <a:ahLst/>
                <a:cxnLst>
                  <a:cxn ang="0">
                    <a:pos x="connsiteX0" y="connsiteY0"/>
                  </a:cxn>
                  <a:cxn ang="0">
                    <a:pos x="connsiteX1" y="connsiteY1"/>
                  </a:cxn>
                  <a:cxn ang="0">
                    <a:pos x="connsiteX2" y="connsiteY2"/>
                  </a:cxn>
                  <a:cxn ang="0">
                    <a:pos x="connsiteX3" y="connsiteY3"/>
                  </a:cxn>
                </a:cxnLst>
                <a:rect l="l" t="t" r="r" b="b"/>
                <a:pathLst>
                  <a:path w="10858" h="48560">
                    <a:moveTo>
                      <a:pt x="0" y="0"/>
                    </a:moveTo>
                    <a:lnTo>
                      <a:pt x="10858" y="0"/>
                    </a:lnTo>
                    <a:lnTo>
                      <a:pt x="10858" y="48560"/>
                    </a:lnTo>
                    <a:lnTo>
                      <a:pt x="0" y="48560"/>
                    </a:lnTo>
                    <a:close/>
                  </a:path>
                </a:pathLst>
              </a:custGeom>
              <a:solidFill>
                <a:srgbClr val="E6E7E8"/>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43" name="Freeform: Shape 42">
                <a:extLst>
                  <a:ext uri="{FF2B5EF4-FFF2-40B4-BE49-F238E27FC236}">
                    <a16:creationId xmlns:a16="http://schemas.microsoft.com/office/drawing/2014/main" id="{1A1F23B2-E2C2-CD87-9A26-52E636ED63D5}"/>
                  </a:ext>
                </a:extLst>
              </p:cNvPr>
              <p:cNvSpPr/>
              <p:nvPr/>
            </p:nvSpPr>
            <p:spPr>
              <a:xfrm>
                <a:off x="1329278" y="6140915"/>
                <a:ext cx="10858" cy="48560"/>
              </a:xfrm>
              <a:custGeom>
                <a:avLst/>
                <a:gdLst>
                  <a:gd name="connsiteX0" fmla="*/ 0 w 10858"/>
                  <a:gd name="connsiteY0" fmla="*/ 0 h 48560"/>
                  <a:gd name="connsiteX1" fmla="*/ 10858 w 10858"/>
                  <a:gd name="connsiteY1" fmla="*/ 0 h 48560"/>
                  <a:gd name="connsiteX2" fmla="*/ 10858 w 10858"/>
                  <a:gd name="connsiteY2" fmla="*/ 48560 h 48560"/>
                  <a:gd name="connsiteX3" fmla="*/ 0 w 10858"/>
                  <a:gd name="connsiteY3" fmla="*/ 48560 h 48560"/>
                </a:gdLst>
                <a:ahLst/>
                <a:cxnLst>
                  <a:cxn ang="0">
                    <a:pos x="connsiteX0" y="connsiteY0"/>
                  </a:cxn>
                  <a:cxn ang="0">
                    <a:pos x="connsiteX1" y="connsiteY1"/>
                  </a:cxn>
                  <a:cxn ang="0">
                    <a:pos x="connsiteX2" y="connsiteY2"/>
                  </a:cxn>
                  <a:cxn ang="0">
                    <a:pos x="connsiteX3" y="connsiteY3"/>
                  </a:cxn>
                </a:cxnLst>
                <a:rect l="l" t="t" r="r" b="b"/>
                <a:pathLst>
                  <a:path w="10858" h="48560">
                    <a:moveTo>
                      <a:pt x="0" y="0"/>
                    </a:moveTo>
                    <a:lnTo>
                      <a:pt x="10858" y="0"/>
                    </a:lnTo>
                    <a:lnTo>
                      <a:pt x="10858" y="48560"/>
                    </a:lnTo>
                    <a:lnTo>
                      <a:pt x="0" y="48560"/>
                    </a:lnTo>
                    <a:close/>
                  </a:path>
                </a:pathLst>
              </a:custGeom>
              <a:solidFill>
                <a:srgbClr val="E6E7E8"/>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nvGrpSpPr>
              <p:cNvPr id="44" name="Graphic 2">
                <a:extLst>
                  <a:ext uri="{FF2B5EF4-FFF2-40B4-BE49-F238E27FC236}">
                    <a16:creationId xmlns:a16="http://schemas.microsoft.com/office/drawing/2014/main" id="{D283A666-D1C0-C55D-7595-C2C282744EB1}"/>
                  </a:ext>
                </a:extLst>
              </p:cNvPr>
              <p:cNvGrpSpPr/>
              <p:nvPr/>
            </p:nvGrpSpPr>
            <p:grpSpPr>
              <a:xfrm>
                <a:off x="5069961" y="6151663"/>
                <a:ext cx="106223" cy="28872"/>
                <a:chOff x="5069961" y="6151663"/>
                <a:chExt cx="106223" cy="28872"/>
              </a:xfrm>
            </p:grpSpPr>
            <p:grpSp>
              <p:nvGrpSpPr>
                <p:cNvPr id="48" name="Graphic 2">
                  <a:extLst>
                    <a:ext uri="{FF2B5EF4-FFF2-40B4-BE49-F238E27FC236}">
                      <a16:creationId xmlns:a16="http://schemas.microsoft.com/office/drawing/2014/main" id="{070EE18D-2C11-E4D2-5711-71579EDAF2A1}"/>
                    </a:ext>
                  </a:extLst>
                </p:cNvPr>
                <p:cNvGrpSpPr/>
                <p:nvPr/>
              </p:nvGrpSpPr>
              <p:grpSpPr>
                <a:xfrm>
                  <a:off x="5069961" y="6158765"/>
                  <a:ext cx="14559" cy="14669"/>
                  <a:chOff x="5069961" y="6158765"/>
                  <a:chExt cx="14559" cy="14669"/>
                </a:xfrm>
              </p:grpSpPr>
              <p:sp>
                <p:nvSpPr>
                  <p:cNvPr id="57" name="Freeform: Shape 56">
                    <a:extLst>
                      <a:ext uri="{FF2B5EF4-FFF2-40B4-BE49-F238E27FC236}">
                        <a16:creationId xmlns:a16="http://schemas.microsoft.com/office/drawing/2014/main" id="{81043764-437B-0BF4-F79B-5414CA203541}"/>
                      </a:ext>
                    </a:extLst>
                  </p:cNvPr>
                  <p:cNvSpPr/>
                  <p:nvPr/>
                </p:nvSpPr>
                <p:spPr>
                  <a:xfrm>
                    <a:off x="5070318" y="6159231"/>
                    <a:ext cx="14203" cy="14203"/>
                  </a:xfrm>
                  <a:custGeom>
                    <a:avLst/>
                    <a:gdLst>
                      <a:gd name="connsiteX0" fmla="*/ 14203 w 14203"/>
                      <a:gd name="connsiteY0" fmla="*/ 7102 h 14203"/>
                      <a:gd name="connsiteX1" fmla="*/ 7102 w 14203"/>
                      <a:gd name="connsiteY1" fmla="*/ 0 h 14203"/>
                      <a:gd name="connsiteX2" fmla="*/ 0 w 14203"/>
                      <a:gd name="connsiteY2" fmla="*/ 7102 h 14203"/>
                      <a:gd name="connsiteX3" fmla="*/ 7102 w 14203"/>
                      <a:gd name="connsiteY3" fmla="*/ 14203 h 14203"/>
                      <a:gd name="connsiteX4" fmla="*/ 14203 w 14203"/>
                      <a:gd name="connsiteY4" fmla="*/ 7102 h 1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 h="14203">
                        <a:moveTo>
                          <a:pt x="14203" y="7102"/>
                        </a:moveTo>
                        <a:cubicBezTo>
                          <a:pt x="14203" y="3180"/>
                          <a:pt x="11023" y="0"/>
                          <a:pt x="7102" y="0"/>
                        </a:cubicBezTo>
                        <a:cubicBezTo>
                          <a:pt x="3181" y="0"/>
                          <a:pt x="0" y="3180"/>
                          <a:pt x="0" y="7102"/>
                        </a:cubicBezTo>
                        <a:cubicBezTo>
                          <a:pt x="0" y="11022"/>
                          <a:pt x="3181" y="14203"/>
                          <a:pt x="7102" y="14203"/>
                        </a:cubicBezTo>
                        <a:cubicBezTo>
                          <a:pt x="11023" y="14203"/>
                          <a:pt x="14203" y="11022"/>
                          <a:pt x="14203" y="7102"/>
                        </a:cubicBezTo>
                        <a:close/>
                      </a:path>
                    </a:pathLst>
                  </a:custGeom>
                  <a:solidFill>
                    <a:srgbClr val="58595B"/>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58" name="Freeform: Shape 57">
                    <a:extLst>
                      <a:ext uri="{FF2B5EF4-FFF2-40B4-BE49-F238E27FC236}">
                        <a16:creationId xmlns:a16="http://schemas.microsoft.com/office/drawing/2014/main" id="{C8FC3EDE-475A-031A-1778-8D40431C88CA}"/>
                      </a:ext>
                    </a:extLst>
                  </p:cNvPr>
                  <p:cNvSpPr/>
                  <p:nvPr/>
                </p:nvSpPr>
                <p:spPr>
                  <a:xfrm>
                    <a:off x="5069961" y="6158765"/>
                    <a:ext cx="14203" cy="14203"/>
                  </a:xfrm>
                  <a:custGeom>
                    <a:avLst/>
                    <a:gdLst>
                      <a:gd name="connsiteX0" fmla="*/ 14203 w 14203"/>
                      <a:gd name="connsiteY0" fmla="*/ 7102 h 14203"/>
                      <a:gd name="connsiteX1" fmla="*/ 7102 w 14203"/>
                      <a:gd name="connsiteY1" fmla="*/ 0 h 14203"/>
                      <a:gd name="connsiteX2" fmla="*/ 0 w 14203"/>
                      <a:gd name="connsiteY2" fmla="*/ 7102 h 14203"/>
                      <a:gd name="connsiteX3" fmla="*/ 7102 w 14203"/>
                      <a:gd name="connsiteY3" fmla="*/ 14203 h 14203"/>
                      <a:gd name="connsiteX4" fmla="*/ 14203 w 14203"/>
                      <a:gd name="connsiteY4" fmla="*/ 7102 h 1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 h="14203">
                        <a:moveTo>
                          <a:pt x="14203" y="7102"/>
                        </a:moveTo>
                        <a:cubicBezTo>
                          <a:pt x="14203" y="3181"/>
                          <a:pt x="11023" y="0"/>
                          <a:pt x="7102" y="0"/>
                        </a:cubicBezTo>
                        <a:cubicBezTo>
                          <a:pt x="3181" y="0"/>
                          <a:pt x="0" y="3181"/>
                          <a:pt x="0" y="7102"/>
                        </a:cubicBezTo>
                        <a:cubicBezTo>
                          <a:pt x="0" y="11023"/>
                          <a:pt x="3181" y="14203"/>
                          <a:pt x="7102" y="14203"/>
                        </a:cubicBezTo>
                        <a:cubicBezTo>
                          <a:pt x="11023" y="14203"/>
                          <a:pt x="14203" y="11023"/>
                          <a:pt x="14203" y="7102"/>
                        </a:cubicBezTo>
                        <a:close/>
                      </a:path>
                    </a:pathLst>
                  </a:custGeom>
                  <a:solidFill>
                    <a:srgbClr val="BCBEC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59" name="Freeform: Shape 58">
                    <a:extLst>
                      <a:ext uri="{FF2B5EF4-FFF2-40B4-BE49-F238E27FC236}">
                        <a16:creationId xmlns:a16="http://schemas.microsoft.com/office/drawing/2014/main" id="{644903A2-8852-A49E-A2EF-91AA2390A165}"/>
                      </a:ext>
                    </a:extLst>
                  </p:cNvPr>
                  <p:cNvSpPr/>
                  <p:nvPr/>
                </p:nvSpPr>
                <p:spPr>
                  <a:xfrm>
                    <a:off x="5070976" y="6159779"/>
                    <a:ext cx="12174" cy="12174"/>
                  </a:xfrm>
                  <a:custGeom>
                    <a:avLst/>
                    <a:gdLst>
                      <a:gd name="connsiteX0" fmla="*/ 12174 w 12174"/>
                      <a:gd name="connsiteY0" fmla="*/ 6087 h 12174"/>
                      <a:gd name="connsiteX1" fmla="*/ 6087 w 12174"/>
                      <a:gd name="connsiteY1" fmla="*/ 0 h 12174"/>
                      <a:gd name="connsiteX2" fmla="*/ 0 w 12174"/>
                      <a:gd name="connsiteY2" fmla="*/ 6087 h 12174"/>
                      <a:gd name="connsiteX3" fmla="*/ 6087 w 12174"/>
                      <a:gd name="connsiteY3" fmla="*/ 12174 h 12174"/>
                      <a:gd name="connsiteX4" fmla="*/ 12174 w 12174"/>
                      <a:gd name="connsiteY4" fmla="*/ 6087 h 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4" h="12174">
                        <a:moveTo>
                          <a:pt x="12174" y="6087"/>
                        </a:moveTo>
                        <a:cubicBezTo>
                          <a:pt x="12174" y="2742"/>
                          <a:pt x="9460" y="0"/>
                          <a:pt x="6087" y="0"/>
                        </a:cubicBezTo>
                        <a:cubicBezTo>
                          <a:pt x="2715" y="0"/>
                          <a:pt x="0" y="2715"/>
                          <a:pt x="0" y="6087"/>
                        </a:cubicBezTo>
                        <a:cubicBezTo>
                          <a:pt x="0" y="9460"/>
                          <a:pt x="2715" y="12174"/>
                          <a:pt x="6087" y="12174"/>
                        </a:cubicBezTo>
                        <a:cubicBezTo>
                          <a:pt x="9460" y="12174"/>
                          <a:pt x="12174" y="9460"/>
                          <a:pt x="12174" y="6087"/>
                        </a:cubicBezTo>
                        <a:close/>
                      </a:path>
                    </a:pathLst>
                  </a:custGeom>
                  <a:solidFill>
                    <a:srgbClr val="333333"/>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grpSp>
              <p:nvGrpSpPr>
                <p:cNvPr id="49" name="Graphic 2">
                  <a:extLst>
                    <a:ext uri="{FF2B5EF4-FFF2-40B4-BE49-F238E27FC236}">
                      <a16:creationId xmlns:a16="http://schemas.microsoft.com/office/drawing/2014/main" id="{1A0DF5EF-AFE6-FF42-AC2D-702C030364DC}"/>
                    </a:ext>
                  </a:extLst>
                </p:cNvPr>
                <p:cNvGrpSpPr/>
                <p:nvPr/>
              </p:nvGrpSpPr>
              <p:grpSpPr>
                <a:xfrm>
                  <a:off x="5105196" y="6151663"/>
                  <a:ext cx="28708" cy="28872"/>
                  <a:chOff x="5105196" y="6151663"/>
                  <a:chExt cx="28708" cy="28872"/>
                </a:xfrm>
              </p:grpSpPr>
              <p:sp>
                <p:nvSpPr>
                  <p:cNvPr id="54" name="Freeform: Shape 53">
                    <a:extLst>
                      <a:ext uri="{FF2B5EF4-FFF2-40B4-BE49-F238E27FC236}">
                        <a16:creationId xmlns:a16="http://schemas.microsoft.com/office/drawing/2014/main" id="{BBD88E40-B91F-C148-9AD0-7A500F56C4EF}"/>
                      </a:ext>
                    </a:extLst>
                  </p:cNvPr>
                  <p:cNvSpPr/>
                  <p:nvPr/>
                </p:nvSpPr>
                <p:spPr>
                  <a:xfrm>
                    <a:off x="5105936" y="6152568"/>
                    <a:ext cx="27968" cy="27967"/>
                  </a:xfrm>
                  <a:custGeom>
                    <a:avLst/>
                    <a:gdLst>
                      <a:gd name="connsiteX0" fmla="*/ 27968 w 27968"/>
                      <a:gd name="connsiteY0" fmla="*/ 13984 h 27967"/>
                      <a:gd name="connsiteX1" fmla="*/ 13984 w 27968"/>
                      <a:gd name="connsiteY1" fmla="*/ 0 h 27967"/>
                      <a:gd name="connsiteX2" fmla="*/ 0 w 27968"/>
                      <a:gd name="connsiteY2" fmla="*/ 13984 h 27967"/>
                      <a:gd name="connsiteX3" fmla="*/ 13984 w 27968"/>
                      <a:gd name="connsiteY3" fmla="*/ 27968 h 27967"/>
                      <a:gd name="connsiteX4" fmla="*/ 27968 w 27968"/>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8" h="27967">
                        <a:moveTo>
                          <a:pt x="27968" y="13984"/>
                        </a:moveTo>
                        <a:cubicBezTo>
                          <a:pt x="27968" y="6252"/>
                          <a:pt x="21716" y="0"/>
                          <a:pt x="13984" y="0"/>
                        </a:cubicBezTo>
                        <a:cubicBezTo>
                          <a:pt x="6252" y="0"/>
                          <a:pt x="0" y="6279"/>
                          <a:pt x="0" y="13984"/>
                        </a:cubicBezTo>
                        <a:cubicBezTo>
                          <a:pt x="0" y="21689"/>
                          <a:pt x="6279" y="27968"/>
                          <a:pt x="13984" y="27968"/>
                        </a:cubicBezTo>
                        <a:cubicBezTo>
                          <a:pt x="21689" y="27968"/>
                          <a:pt x="27968" y="21689"/>
                          <a:pt x="27968" y="13984"/>
                        </a:cubicBezTo>
                        <a:close/>
                      </a:path>
                    </a:pathLst>
                  </a:custGeom>
                  <a:solidFill>
                    <a:srgbClr val="58595B"/>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55" name="Freeform: Shape 54">
                    <a:extLst>
                      <a:ext uri="{FF2B5EF4-FFF2-40B4-BE49-F238E27FC236}">
                        <a16:creationId xmlns:a16="http://schemas.microsoft.com/office/drawing/2014/main" id="{D5329BC7-B9DE-6CE4-5398-4E62953C94F6}"/>
                      </a:ext>
                    </a:extLst>
                  </p:cNvPr>
                  <p:cNvSpPr/>
                  <p:nvPr/>
                </p:nvSpPr>
                <p:spPr>
                  <a:xfrm>
                    <a:off x="5105196" y="6151663"/>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BCBEC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56" name="Freeform: Shape 55">
                    <a:extLst>
                      <a:ext uri="{FF2B5EF4-FFF2-40B4-BE49-F238E27FC236}">
                        <a16:creationId xmlns:a16="http://schemas.microsoft.com/office/drawing/2014/main" id="{E1E5618D-7D80-983E-BB84-996E124E2E2D}"/>
                      </a:ext>
                    </a:extLst>
                  </p:cNvPr>
                  <p:cNvSpPr/>
                  <p:nvPr/>
                </p:nvSpPr>
                <p:spPr>
                  <a:xfrm>
                    <a:off x="5107197" y="6153665"/>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4D4D4D"/>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grpSp>
              <p:nvGrpSpPr>
                <p:cNvPr id="50" name="Graphic 2">
                  <a:extLst>
                    <a:ext uri="{FF2B5EF4-FFF2-40B4-BE49-F238E27FC236}">
                      <a16:creationId xmlns:a16="http://schemas.microsoft.com/office/drawing/2014/main" id="{BD187A83-CABC-5858-DA38-83D91BA85E12}"/>
                    </a:ext>
                  </a:extLst>
                </p:cNvPr>
                <p:cNvGrpSpPr/>
                <p:nvPr/>
              </p:nvGrpSpPr>
              <p:grpSpPr>
                <a:xfrm>
                  <a:off x="5147504" y="6151663"/>
                  <a:ext cx="28680" cy="28872"/>
                  <a:chOff x="5147504" y="6151663"/>
                  <a:chExt cx="28680" cy="28872"/>
                </a:xfrm>
              </p:grpSpPr>
              <p:sp>
                <p:nvSpPr>
                  <p:cNvPr id="51" name="Freeform: Shape 50">
                    <a:extLst>
                      <a:ext uri="{FF2B5EF4-FFF2-40B4-BE49-F238E27FC236}">
                        <a16:creationId xmlns:a16="http://schemas.microsoft.com/office/drawing/2014/main" id="{FD8608A1-A8B2-DC72-5A59-800F69E1B637}"/>
                      </a:ext>
                    </a:extLst>
                  </p:cNvPr>
                  <p:cNvSpPr/>
                  <p:nvPr/>
                </p:nvSpPr>
                <p:spPr>
                  <a:xfrm>
                    <a:off x="5148217" y="6152568"/>
                    <a:ext cx="27967" cy="27967"/>
                  </a:xfrm>
                  <a:custGeom>
                    <a:avLst/>
                    <a:gdLst>
                      <a:gd name="connsiteX0" fmla="*/ 27968 w 27967"/>
                      <a:gd name="connsiteY0" fmla="*/ 13984 h 27967"/>
                      <a:gd name="connsiteX1" fmla="*/ 13984 w 27967"/>
                      <a:gd name="connsiteY1" fmla="*/ 0 h 27967"/>
                      <a:gd name="connsiteX2" fmla="*/ 0 w 27967"/>
                      <a:gd name="connsiteY2" fmla="*/ 13984 h 27967"/>
                      <a:gd name="connsiteX3" fmla="*/ 13984 w 27967"/>
                      <a:gd name="connsiteY3" fmla="*/ 27968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6252"/>
                          <a:pt x="21689" y="0"/>
                          <a:pt x="13984" y="0"/>
                        </a:cubicBezTo>
                        <a:cubicBezTo>
                          <a:pt x="6279" y="0"/>
                          <a:pt x="0" y="6279"/>
                          <a:pt x="0" y="13984"/>
                        </a:cubicBezTo>
                        <a:cubicBezTo>
                          <a:pt x="0" y="21689"/>
                          <a:pt x="6279" y="27968"/>
                          <a:pt x="13984" y="27968"/>
                        </a:cubicBezTo>
                        <a:cubicBezTo>
                          <a:pt x="21689" y="27968"/>
                          <a:pt x="27968" y="21689"/>
                          <a:pt x="27968" y="13984"/>
                        </a:cubicBezTo>
                        <a:close/>
                      </a:path>
                    </a:pathLst>
                  </a:custGeom>
                  <a:solidFill>
                    <a:srgbClr val="58595B"/>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52" name="Freeform: Shape 51">
                    <a:extLst>
                      <a:ext uri="{FF2B5EF4-FFF2-40B4-BE49-F238E27FC236}">
                        <a16:creationId xmlns:a16="http://schemas.microsoft.com/office/drawing/2014/main" id="{8E681630-F22B-1C33-1989-762E84C2E50C}"/>
                      </a:ext>
                    </a:extLst>
                  </p:cNvPr>
                  <p:cNvSpPr/>
                  <p:nvPr/>
                </p:nvSpPr>
                <p:spPr>
                  <a:xfrm>
                    <a:off x="5147504" y="6151663"/>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BCBEC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53" name="Freeform: Shape 52">
                    <a:extLst>
                      <a:ext uri="{FF2B5EF4-FFF2-40B4-BE49-F238E27FC236}">
                        <a16:creationId xmlns:a16="http://schemas.microsoft.com/office/drawing/2014/main" id="{2A656729-73AF-57DC-02CB-E2F443B63609}"/>
                      </a:ext>
                    </a:extLst>
                  </p:cNvPr>
                  <p:cNvSpPr/>
                  <p:nvPr/>
                </p:nvSpPr>
                <p:spPr>
                  <a:xfrm>
                    <a:off x="5149506" y="6153665"/>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4D4D4D"/>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grpSp>
          <p:grpSp>
            <p:nvGrpSpPr>
              <p:cNvPr id="45" name="Graphic 2">
                <a:extLst>
                  <a:ext uri="{FF2B5EF4-FFF2-40B4-BE49-F238E27FC236}">
                    <a16:creationId xmlns:a16="http://schemas.microsoft.com/office/drawing/2014/main" id="{05F15418-2F8C-3D55-FDF4-086BFB3D99D7}"/>
                  </a:ext>
                </a:extLst>
              </p:cNvPr>
              <p:cNvGrpSpPr/>
              <p:nvPr/>
            </p:nvGrpSpPr>
            <p:grpSpPr>
              <a:xfrm>
                <a:off x="3103267" y="6140915"/>
                <a:ext cx="532268" cy="27748"/>
                <a:chOff x="3103267" y="6140915"/>
                <a:chExt cx="532268" cy="27748"/>
              </a:xfrm>
            </p:grpSpPr>
            <p:sp>
              <p:nvSpPr>
                <p:cNvPr id="46" name="Freeform: Shape 45">
                  <a:extLst>
                    <a:ext uri="{FF2B5EF4-FFF2-40B4-BE49-F238E27FC236}">
                      <a16:creationId xmlns:a16="http://schemas.microsoft.com/office/drawing/2014/main" id="{D97E3A34-7E8C-7621-0B0C-C35570B88CC0}"/>
                    </a:ext>
                  </a:extLst>
                </p:cNvPr>
                <p:cNvSpPr/>
                <p:nvPr/>
              </p:nvSpPr>
              <p:spPr>
                <a:xfrm>
                  <a:off x="3103267" y="6140915"/>
                  <a:ext cx="532240" cy="27748"/>
                </a:xfrm>
                <a:custGeom>
                  <a:avLst/>
                  <a:gdLst>
                    <a:gd name="connsiteX0" fmla="*/ 266381 w 532240"/>
                    <a:gd name="connsiteY0" fmla="*/ 0 h 27748"/>
                    <a:gd name="connsiteX1" fmla="*/ 0 w 532240"/>
                    <a:gd name="connsiteY1" fmla="*/ 0 h 27748"/>
                    <a:gd name="connsiteX2" fmla="*/ 63010 w 532240"/>
                    <a:gd name="connsiteY2" fmla="*/ 27749 h 27748"/>
                    <a:gd name="connsiteX3" fmla="*/ 469231 w 532240"/>
                    <a:gd name="connsiteY3" fmla="*/ 27749 h 27748"/>
                    <a:gd name="connsiteX4" fmla="*/ 532241 w 532240"/>
                    <a:gd name="connsiteY4" fmla="*/ 0 h 27748"/>
                    <a:gd name="connsiteX5" fmla="*/ 266381 w 532240"/>
                    <a:gd name="connsiteY5" fmla="*/ 0 h 2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40" h="27748">
                      <a:moveTo>
                        <a:pt x="266381" y="0"/>
                      </a:moveTo>
                      <a:lnTo>
                        <a:pt x="0" y="0"/>
                      </a:lnTo>
                      <a:cubicBezTo>
                        <a:pt x="0" y="0"/>
                        <a:pt x="5868" y="27749"/>
                        <a:pt x="63010" y="27749"/>
                      </a:cubicBezTo>
                      <a:lnTo>
                        <a:pt x="469231" y="27749"/>
                      </a:lnTo>
                      <a:cubicBezTo>
                        <a:pt x="526373" y="27749"/>
                        <a:pt x="532241" y="0"/>
                        <a:pt x="532241" y="0"/>
                      </a:cubicBezTo>
                      <a:lnTo>
                        <a:pt x="266381" y="0"/>
                      </a:lnTo>
                      <a:close/>
                    </a:path>
                  </a:pathLst>
                </a:custGeom>
                <a:solidFill>
                  <a:srgbClr val="000000"/>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sp>
              <p:nvSpPr>
                <p:cNvPr id="47" name="Freeform: Shape 46">
                  <a:extLst>
                    <a:ext uri="{FF2B5EF4-FFF2-40B4-BE49-F238E27FC236}">
                      <a16:creationId xmlns:a16="http://schemas.microsoft.com/office/drawing/2014/main" id="{2527B7CF-B7B4-7177-D90D-0FEA1248F46E}"/>
                    </a:ext>
                  </a:extLst>
                </p:cNvPr>
                <p:cNvSpPr/>
                <p:nvPr/>
              </p:nvSpPr>
              <p:spPr>
                <a:xfrm>
                  <a:off x="3123338" y="6140915"/>
                  <a:ext cx="512197" cy="27748"/>
                </a:xfrm>
                <a:custGeom>
                  <a:avLst/>
                  <a:gdLst>
                    <a:gd name="connsiteX0" fmla="*/ 502299 w 512197"/>
                    <a:gd name="connsiteY0" fmla="*/ 0 h 27748"/>
                    <a:gd name="connsiteX1" fmla="*/ 440056 w 512197"/>
                    <a:gd name="connsiteY1" fmla="*/ 24349 h 27748"/>
                    <a:gd name="connsiteX2" fmla="*/ 36166 w 512197"/>
                    <a:gd name="connsiteY2" fmla="*/ 24349 h 27748"/>
                    <a:gd name="connsiteX3" fmla="*/ 0 w 512197"/>
                    <a:gd name="connsiteY3" fmla="*/ 19989 h 27748"/>
                    <a:gd name="connsiteX4" fmla="*/ 45187 w 512197"/>
                    <a:gd name="connsiteY4" fmla="*/ 27749 h 27748"/>
                    <a:gd name="connsiteX5" fmla="*/ 449077 w 512197"/>
                    <a:gd name="connsiteY5" fmla="*/ 27749 h 27748"/>
                    <a:gd name="connsiteX6" fmla="*/ 512197 w 512197"/>
                    <a:gd name="connsiteY6" fmla="*/ 0 h 27748"/>
                    <a:gd name="connsiteX7" fmla="*/ 502326 w 512197"/>
                    <a:gd name="connsiteY7" fmla="*/ 0 h 2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197" h="27748">
                      <a:moveTo>
                        <a:pt x="502299" y="0"/>
                      </a:moveTo>
                      <a:cubicBezTo>
                        <a:pt x="499392" y="9295"/>
                        <a:pt x="483544" y="24349"/>
                        <a:pt x="440056" y="24349"/>
                      </a:cubicBezTo>
                      <a:lnTo>
                        <a:pt x="36166" y="24349"/>
                      </a:lnTo>
                      <a:cubicBezTo>
                        <a:pt x="20565" y="24349"/>
                        <a:pt x="8829" y="22649"/>
                        <a:pt x="0" y="19989"/>
                      </a:cubicBezTo>
                      <a:cubicBezTo>
                        <a:pt x="9350" y="24349"/>
                        <a:pt x="23553" y="27749"/>
                        <a:pt x="45187" y="27749"/>
                      </a:cubicBezTo>
                      <a:lnTo>
                        <a:pt x="449077" y="27749"/>
                      </a:lnTo>
                      <a:cubicBezTo>
                        <a:pt x="505891" y="27749"/>
                        <a:pt x="512197" y="0"/>
                        <a:pt x="512197" y="0"/>
                      </a:cubicBezTo>
                      <a:lnTo>
                        <a:pt x="502326" y="0"/>
                      </a:lnTo>
                      <a:close/>
                    </a:path>
                  </a:pathLst>
                </a:custGeom>
                <a:solidFill>
                  <a:srgbClr val="D1D3D4"/>
                </a:solidFill>
                <a:ln w="2742" cap="flat">
                  <a:noFill/>
                  <a:prstDash val="solid"/>
                  <a:miter/>
                </a:ln>
              </p:spPr>
              <p:txBody>
                <a:bodyPr rtlCol="0" anchor="ctr"/>
                <a:lstStyle/>
                <a:p>
                  <a:pPr defTabSz="829544">
                    <a:buClr>
                      <a:srgbClr val="000000"/>
                    </a:buClr>
                  </a:pPr>
                  <a:endParaRPr lang="en-US" sz="1270" kern="0" dirty="0">
                    <a:solidFill>
                      <a:srgbClr val="000000"/>
                    </a:solidFill>
                    <a:latin typeface="Arial"/>
                    <a:cs typeface="Arial"/>
                    <a:sym typeface="Arial"/>
                  </a:endParaRPr>
                </a:p>
              </p:txBody>
            </p:sp>
          </p:grpSp>
        </p:grpSp>
      </p:grpSp>
      <p:pic>
        <p:nvPicPr>
          <p:cNvPr id="17" name="Picture 16">
            <a:extLst>
              <a:ext uri="{FF2B5EF4-FFF2-40B4-BE49-F238E27FC236}">
                <a16:creationId xmlns:a16="http://schemas.microsoft.com/office/drawing/2014/main" id="{E233136B-0D1B-314F-3523-4ECAE6236731}"/>
              </a:ext>
            </a:extLst>
          </p:cNvPr>
          <p:cNvPicPr>
            <a:picLocks noChangeAspect="1"/>
          </p:cNvPicPr>
          <p:nvPr/>
        </p:nvPicPr>
        <p:blipFill>
          <a:blip r:embed="rId10"/>
          <a:stretch>
            <a:fillRect/>
          </a:stretch>
        </p:blipFill>
        <p:spPr>
          <a:xfrm>
            <a:off x="6476387" y="4370971"/>
            <a:ext cx="2991133" cy="1734417"/>
          </a:xfrm>
          <a:prstGeom prst="rect">
            <a:avLst/>
          </a:prstGeom>
        </p:spPr>
      </p:pic>
      <p:grpSp>
        <p:nvGrpSpPr>
          <p:cNvPr id="78" name="Group 77">
            <a:extLst>
              <a:ext uri="{FF2B5EF4-FFF2-40B4-BE49-F238E27FC236}">
                <a16:creationId xmlns:a16="http://schemas.microsoft.com/office/drawing/2014/main" id="{A3DD6CEB-897C-9F38-42E2-7F5F3AF57B28}"/>
              </a:ext>
            </a:extLst>
          </p:cNvPr>
          <p:cNvGrpSpPr>
            <a:grpSpLocks/>
          </p:cNvGrpSpPr>
          <p:nvPr/>
        </p:nvGrpSpPr>
        <p:grpSpPr>
          <a:xfrm>
            <a:off x="6086446" y="3990337"/>
            <a:ext cx="703197" cy="703197"/>
            <a:chOff x="4887648" y="5202916"/>
            <a:chExt cx="503992" cy="503992"/>
          </a:xfrm>
        </p:grpSpPr>
        <p:sp>
          <p:nvSpPr>
            <p:cNvPr id="79" name="Google Shape;557;p30">
              <a:extLst>
                <a:ext uri="{FF2B5EF4-FFF2-40B4-BE49-F238E27FC236}">
                  <a16:creationId xmlns:a16="http://schemas.microsoft.com/office/drawing/2014/main" id="{D8D0F656-88CC-70C4-37CB-5A8075747795}"/>
                </a:ext>
              </a:extLst>
            </p:cNvPr>
            <p:cNvSpPr/>
            <p:nvPr/>
          </p:nvSpPr>
          <p:spPr>
            <a:xfrm>
              <a:off x="4887648" y="5202916"/>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52" kern="0" dirty="0">
                <a:solidFill>
                  <a:srgbClr val="FFFFFF"/>
                </a:solidFill>
                <a:latin typeface="Calibri" panose="020F0502020204030204"/>
                <a:ea typeface="Calibri"/>
                <a:cs typeface="Calibri"/>
                <a:sym typeface="Calibri"/>
              </a:endParaRPr>
            </a:p>
          </p:txBody>
        </p:sp>
        <p:pic>
          <p:nvPicPr>
            <p:cNvPr id="80" name="Graphic 79">
              <a:extLst>
                <a:ext uri="{FF2B5EF4-FFF2-40B4-BE49-F238E27FC236}">
                  <a16:creationId xmlns:a16="http://schemas.microsoft.com/office/drawing/2014/main" id="{C0F9C85C-055E-690C-3F54-613038F2B69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99772" y="5321545"/>
              <a:ext cx="279745" cy="266734"/>
            </a:xfrm>
            <a:prstGeom prst="rect">
              <a:avLst/>
            </a:prstGeom>
          </p:spPr>
        </p:pic>
      </p:grpSp>
      <p:grpSp>
        <p:nvGrpSpPr>
          <p:cNvPr id="29" name="Group 28">
            <a:extLst>
              <a:ext uri="{FF2B5EF4-FFF2-40B4-BE49-F238E27FC236}">
                <a16:creationId xmlns:a16="http://schemas.microsoft.com/office/drawing/2014/main" id="{70917193-F61A-B148-D49C-798467F088AA}"/>
              </a:ext>
            </a:extLst>
          </p:cNvPr>
          <p:cNvGrpSpPr>
            <a:grpSpLocks/>
          </p:cNvGrpSpPr>
          <p:nvPr/>
        </p:nvGrpSpPr>
        <p:grpSpPr>
          <a:xfrm>
            <a:off x="7397149" y="1685024"/>
            <a:ext cx="703197" cy="703197"/>
            <a:chOff x="4887648" y="5202916"/>
            <a:chExt cx="503992" cy="503992"/>
          </a:xfrm>
        </p:grpSpPr>
        <p:sp>
          <p:nvSpPr>
            <p:cNvPr id="69" name="Google Shape;557;p30">
              <a:extLst>
                <a:ext uri="{FF2B5EF4-FFF2-40B4-BE49-F238E27FC236}">
                  <a16:creationId xmlns:a16="http://schemas.microsoft.com/office/drawing/2014/main" id="{C3C61E8F-B61E-43CE-6C9D-B7CAD5908DA2}"/>
                </a:ext>
              </a:extLst>
            </p:cNvPr>
            <p:cNvSpPr/>
            <p:nvPr/>
          </p:nvSpPr>
          <p:spPr>
            <a:xfrm>
              <a:off x="4887648" y="5202916"/>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52" kern="0" dirty="0">
                <a:solidFill>
                  <a:srgbClr val="FFFFFF"/>
                </a:solidFill>
                <a:latin typeface="Calibri" panose="020F0502020204030204"/>
                <a:ea typeface="Calibri"/>
                <a:cs typeface="Calibri"/>
                <a:sym typeface="Calibri"/>
              </a:endParaRPr>
            </a:p>
          </p:txBody>
        </p:sp>
        <p:pic>
          <p:nvPicPr>
            <p:cNvPr id="70" name="Graphic 69">
              <a:extLst>
                <a:ext uri="{FF2B5EF4-FFF2-40B4-BE49-F238E27FC236}">
                  <a16:creationId xmlns:a16="http://schemas.microsoft.com/office/drawing/2014/main" id="{D29E85DB-8BB2-BFB6-AEA8-32F6E710DD6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99772" y="5321545"/>
              <a:ext cx="279745" cy="266734"/>
            </a:xfrm>
            <a:prstGeom prst="rect">
              <a:avLst/>
            </a:prstGeom>
          </p:spPr>
        </p:pic>
      </p:grpSp>
    </p:spTree>
    <p:extLst>
      <p:ext uri="{BB962C8B-B14F-4D97-AF65-F5344CB8AC3E}">
        <p14:creationId xmlns:p14="http://schemas.microsoft.com/office/powerpoint/2010/main" val="24869176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C3D5D9-A4E4-2A8B-3312-A86545505D4B}"/>
              </a:ext>
            </a:extLst>
          </p:cNvPr>
          <p:cNvGraphicFramePr>
            <a:graphicFrameLocks noChangeAspect="1"/>
          </p:cNvGraphicFramePr>
          <p:nvPr>
            <p:custDataLst>
              <p:tags r:id="rId1"/>
            </p:custDataLst>
            <p:extLst>
              <p:ext uri="{D42A27DB-BD31-4B8C-83A1-F6EECF244321}">
                <p14:modId xmlns:p14="http://schemas.microsoft.com/office/powerpoint/2010/main" val="3736895080"/>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ABC3D5D9-A4E4-2A8B-3312-A86545505D4B}"/>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4049970-A4FC-E703-56F8-F87E8EC94E43}"/>
              </a:ext>
            </a:extLst>
          </p:cNvPr>
          <p:cNvSpPr>
            <a:spLocks noGrp="1"/>
          </p:cNvSpPr>
          <p:nvPr>
            <p:ph type="title"/>
          </p:nvPr>
        </p:nvSpPr>
        <p:spPr>
          <a:xfrm>
            <a:off x="531814" y="560664"/>
            <a:ext cx="11089972" cy="332399"/>
          </a:xfrm>
        </p:spPr>
        <p:txBody>
          <a:bodyPr vert="horz"/>
          <a:lstStyle/>
          <a:p>
            <a:r>
              <a:rPr lang="en-US" sz="2400" kern="1200" dirty="0">
                <a:solidFill>
                  <a:schemeClr val="bg2"/>
                </a:solidFill>
                <a:latin typeface="Franklin Gothic Demi" panose="020B0703020102020204" pitchFamily="34" charset="0"/>
                <a:ea typeface="+mj-ea"/>
                <a:cs typeface="Calibri" panose="020F0502020204030204" pitchFamily="34" charset="0"/>
              </a:rPr>
              <a:t>Web Scraping Tool for Second-Hand Car Sales</a:t>
            </a:r>
          </a:p>
        </p:txBody>
      </p:sp>
      <p:sp>
        <p:nvSpPr>
          <p:cNvPr id="6" name="Arrow: Pentagon 5">
            <a:extLst>
              <a:ext uri="{FF2B5EF4-FFF2-40B4-BE49-F238E27FC236}">
                <a16:creationId xmlns:a16="http://schemas.microsoft.com/office/drawing/2014/main" id="{AA060237-E879-E368-4A4F-459E8A7B34E1}"/>
              </a:ext>
            </a:extLst>
          </p:cNvPr>
          <p:cNvSpPr>
            <a:spLocks/>
          </p:cNvSpPr>
          <p:nvPr/>
        </p:nvSpPr>
        <p:spPr>
          <a:xfrm flipH="1">
            <a:off x="10346988" y="560664"/>
            <a:ext cx="1845013" cy="886350"/>
          </a:xfrm>
          <a:prstGeom prst="homePlate">
            <a:avLst>
              <a:gd name="adj" fmla="val 1507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buClr>
                <a:srgbClr val="000000"/>
              </a:buClr>
            </a:pPr>
            <a:endParaRPr lang="en-US" sz="1270" kern="0">
              <a:solidFill>
                <a:srgbClr val="FFFFFF"/>
              </a:solidFill>
              <a:latin typeface="Calibri" panose="020F0502020204030204"/>
              <a:sym typeface="Arial"/>
            </a:endParaRPr>
          </a:p>
        </p:txBody>
      </p:sp>
      <p:pic>
        <p:nvPicPr>
          <p:cNvPr id="7" name="Google Shape;547;p30">
            <a:extLst>
              <a:ext uri="{FF2B5EF4-FFF2-40B4-BE49-F238E27FC236}">
                <a16:creationId xmlns:a16="http://schemas.microsoft.com/office/drawing/2014/main" id="{14EEBC35-7C75-CC36-C151-1C15D60622D3}"/>
              </a:ext>
            </a:extLst>
          </p:cNvPr>
          <p:cNvPicPr preferRelativeResize="0"/>
          <p:nvPr/>
        </p:nvPicPr>
        <p:blipFill rotWithShape="1">
          <a:blip r:embed="rId5" cstate="print">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10819711" y="615062"/>
            <a:ext cx="861050" cy="777555"/>
          </a:xfrm>
          <a:prstGeom prst="rect">
            <a:avLst/>
          </a:prstGeom>
          <a:noFill/>
          <a:ln>
            <a:noFill/>
          </a:ln>
        </p:spPr>
      </p:pic>
      <p:sp>
        <p:nvSpPr>
          <p:cNvPr id="8" name="Google Shape;831;p25">
            <a:extLst>
              <a:ext uri="{FF2B5EF4-FFF2-40B4-BE49-F238E27FC236}">
                <a16:creationId xmlns:a16="http://schemas.microsoft.com/office/drawing/2014/main" id="{437CDCD2-62E1-68A0-3BC4-ABE11E06E204}"/>
              </a:ext>
            </a:extLst>
          </p:cNvPr>
          <p:cNvSpPr>
            <a:spLocks/>
          </p:cNvSpPr>
          <p:nvPr/>
        </p:nvSpPr>
        <p:spPr>
          <a:xfrm>
            <a:off x="499720"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lang="en-US" sz="1270" kern="0" dirty="0">
              <a:solidFill>
                <a:srgbClr val="000000"/>
              </a:solidFill>
              <a:latin typeface="Arial"/>
              <a:cs typeface="Arial"/>
              <a:sym typeface="Arial"/>
            </a:endParaRPr>
          </a:p>
        </p:txBody>
      </p:sp>
      <p:sp>
        <p:nvSpPr>
          <p:cNvPr id="9" name="Google Shape;831;p25">
            <a:extLst>
              <a:ext uri="{FF2B5EF4-FFF2-40B4-BE49-F238E27FC236}">
                <a16:creationId xmlns:a16="http://schemas.microsoft.com/office/drawing/2014/main" id="{4BAA93C5-308E-A007-113A-B5C8467384B7}"/>
              </a:ext>
            </a:extLst>
          </p:cNvPr>
          <p:cNvSpPr>
            <a:spLocks/>
          </p:cNvSpPr>
          <p:nvPr/>
        </p:nvSpPr>
        <p:spPr>
          <a:xfrm>
            <a:off x="8035681"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sz="1270" kern="0" dirty="0">
              <a:solidFill>
                <a:srgbClr val="000000"/>
              </a:solidFill>
              <a:latin typeface="Arial"/>
              <a:cs typeface="Arial"/>
              <a:sym typeface="Arial"/>
            </a:endParaRPr>
          </a:p>
        </p:txBody>
      </p:sp>
      <p:sp>
        <p:nvSpPr>
          <p:cNvPr id="10" name="Google Shape;831;p25">
            <a:extLst>
              <a:ext uri="{FF2B5EF4-FFF2-40B4-BE49-F238E27FC236}">
                <a16:creationId xmlns:a16="http://schemas.microsoft.com/office/drawing/2014/main" id="{A0F3F831-A8B3-37F3-2E13-D75807978594}"/>
              </a:ext>
            </a:extLst>
          </p:cNvPr>
          <p:cNvSpPr>
            <a:spLocks/>
          </p:cNvSpPr>
          <p:nvPr/>
        </p:nvSpPr>
        <p:spPr>
          <a:xfrm>
            <a:off x="4267701"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sz="1270" kern="0" dirty="0">
              <a:solidFill>
                <a:srgbClr val="000000"/>
              </a:solidFill>
              <a:latin typeface="Arial"/>
              <a:cs typeface="Arial"/>
              <a:sym typeface="Arial"/>
            </a:endParaRPr>
          </a:p>
        </p:txBody>
      </p:sp>
      <p:sp>
        <p:nvSpPr>
          <p:cNvPr id="11" name="Google Shape;563;p30">
            <a:extLst>
              <a:ext uri="{FF2B5EF4-FFF2-40B4-BE49-F238E27FC236}">
                <a16:creationId xmlns:a16="http://schemas.microsoft.com/office/drawing/2014/main" id="{774AD125-EE4E-CA2E-479B-E3DEF47E72E6}"/>
              </a:ext>
            </a:extLst>
          </p:cNvPr>
          <p:cNvSpPr txBox="1">
            <a:spLocks/>
          </p:cNvSpPr>
          <p:nvPr/>
        </p:nvSpPr>
        <p:spPr>
          <a:xfrm>
            <a:off x="8177188" y="2479633"/>
            <a:ext cx="3412738" cy="3655270"/>
          </a:xfrm>
          <a:prstGeom prst="rect">
            <a:avLst/>
          </a:prstGeom>
          <a:noFill/>
          <a:ln>
            <a:noFill/>
          </a:ln>
        </p:spPr>
        <p:txBody>
          <a:bodyPr spcFirstLastPara="1" wrap="square" lIns="0" tIns="0" rIns="0" bIns="0" anchor="t" anchorCtr="0">
            <a:noAutofit/>
          </a:bodyPr>
          <a:lstStyle/>
          <a:p>
            <a:pPr defTabSz="829544">
              <a:lnSpc>
                <a:spcPts val="1633"/>
              </a:lnSpc>
              <a:buClr>
                <a:srgbClr val="00B9FF"/>
              </a:buClr>
              <a:buSzPct val="100000"/>
            </a:pPr>
            <a:r>
              <a:rPr lang="en-US" sz="1452" kern="0" dirty="0">
                <a:solidFill>
                  <a:srgbClr val="444444"/>
                </a:solidFill>
                <a:latin typeface="Calibri" panose="020F0502020204030204"/>
                <a:ea typeface="Calibri"/>
                <a:cs typeface="Calibri"/>
                <a:sym typeface="Calibri"/>
              </a:rPr>
              <a:t>The client benefited from Infomineo Data Analytics service on multiple fronts: </a:t>
            </a:r>
          </a:p>
          <a:p>
            <a:pPr marL="259232" lvl="3" indent="-259232" defTabSz="829544">
              <a:lnSpc>
                <a:spcPts val="1814"/>
              </a:lnSpc>
              <a:buClr>
                <a:schemeClr val="bg2"/>
              </a:buClr>
              <a:buSzPct val="100000"/>
              <a:buFont typeface="Wingdings" panose="05000000000000000000" pitchFamily="2" charset="2"/>
              <a:buChar char="§"/>
            </a:pPr>
            <a:endParaRPr lang="en-US" sz="1452" b="1" kern="0" dirty="0">
              <a:solidFill>
                <a:schemeClr val="bg2"/>
              </a:solidFill>
              <a:latin typeface="Calibri" panose="020F0502020204030204"/>
              <a:ea typeface="Calibri"/>
              <a:cs typeface="Calibri"/>
              <a:sym typeface="Calibri"/>
            </a:endParaRPr>
          </a:p>
          <a:p>
            <a:pPr marL="259232" lvl="3" indent="-259232" defTabSz="829544">
              <a:lnSpc>
                <a:spcPts val="1814"/>
              </a:lnSpc>
              <a:buClr>
                <a:schemeClr val="bg2"/>
              </a:buClr>
              <a:buSzPct val="100000"/>
              <a:buFont typeface="Wingdings" panose="05000000000000000000" pitchFamily="2" charset="2"/>
              <a:buChar char="§"/>
            </a:pPr>
            <a:r>
              <a:rPr lang="en-US" sz="1452" b="1" kern="0" dirty="0">
                <a:solidFill>
                  <a:schemeClr val="bg2"/>
                </a:solidFill>
                <a:latin typeface="Calibri" panose="020F0502020204030204"/>
                <a:ea typeface="Calibri"/>
                <a:cs typeface="Calibri"/>
                <a:sym typeface="Calibri"/>
              </a:rPr>
              <a:t>Comprehensive Web Scraping Tool</a:t>
            </a: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The client received a user-friendly web scraping tool equipped with a user interface, enabling tailored requesting.</a:t>
            </a:r>
          </a:p>
          <a:p>
            <a:pPr marL="259232" lvl="3" indent="-259232" defTabSz="829544">
              <a:lnSpc>
                <a:spcPts val="1814"/>
              </a:lnSpc>
              <a:spcBef>
                <a:spcPts val="544"/>
              </a:spcBef>
              <a:buClr>
                <a:schemeClr val="bg2"/>
              </a:buClr>
              <a:buSzPct val="100000"/>
              <a:buFont typeface="Wingdings" panose="05000000000000000000" pitchFamily="2" charset="2"/>
              <a:buChar char="§"/>
            </a:pPr>
            <a:r>
              <a:rPr lang="en-US" sz="1452" b="1" kern="0" dirty="0">
                <a:solidFill>
                  <a:schemeClr val="bg2"/>
                </a:solidFill>
                <a:latin typeface="Calibri" panose="020F0502020204030204"/>
                <a:ea typeface="Calibri"/>
                <a:cs typeface="Calibri"/>
                <a:sym typeface="Calibri"/>
              </a:rPr>
              <a:t>Expanded Data Extraction Capabilities</a:t>
            </a: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Datasets were created from the e-commerce platform across various cities and categories, enhancing data extraction capabilities.</a:t>
            </a:r>
          </a:p>
          <a:p>
            <a:pPr marL="259232" lvl="3" indent="-259232" defTabSz="829544">
              <a:lnSpc>
                <a:spcPts val="1814"/>
              </a:lnSpc>
              <a:spcBef>
                <a:spcPts val="544"/>
              </a:spcBef>
              <a:buClr>
                <a:schemeClr val="bg2"/>
              </a:buClr>
              <a:buSzPct val="100000"/>
              <a:buFont typeface="Wingdings" panose="05000000000000000000" pitchFamily="2" charset="2"/>
              <a:buChar char="§"/>
            </a:pPr>
            <a:r>
              <a:rPr lang="en-US" sz="1452" b="1" kern="0" dirty="0">
                <a:solidFill>
                  <a:schemeClr val="bg2"/>
                </a:solidFill>
                <a:latin typeface="Calibri" panose="020F0502020204030204"/>
                <a:ea typeface="Calibri"/>
                <a:cs typeface="Calibri"/>
                <a:sym typeface="Calibri"/>
              </a:rPr>
              <a:t>Time and Resource Savings</a:t>
            </a: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The client achieved significant time efficiency in the data collection process, resulting in resource savings.</a:t>
            </a:r>
          </a:p>
          <a:p>
            <a:pPr marL="157613" indent="-157613" defTabSz="829544">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a:p>
            <a:pPr marL="157613" indent="-157613" defTabSz="829544">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a:p>
            <a:pPr marL="157613" indent="-157613" defTabSz="829544">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a:p>
            <a:pPr marL="157613" indent="-157613" defTabSz="829544">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a:p>
            <a:pPr marL="157613" indent="-157613" defTabSz="829544">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p:txBody>
      </p:sp>
      <p:sp>
        <p:nvSpPr>
          <p:cNvPr id="12" name="Google Shape;543;p30">
            <a:extLst>
              <a:ext uri="{FF2B5EF4-FFF2-40B4-BE49-F238E27FC236}">
                <a16:creationId xmlns:a16="http://schemas.microsoft.com/office/drawing/2014/main" id="{623E9CDE-389C-AC3E-0413-2E079F26F6B7}"/>
              </a:ext>
            </a:extLst>
          </p:cNvPr>
          <p:cNvSpPr txBox="1">
            <a:spLocks/>
          </p:cNvSpPr>
          <p:nvPr/>
        </p:nvSpPr>
        <p:spPr>
          <a:xfrm>
            <a:off x="726905" y="2479633"/>
            <a:ext cx="3331275" cy="1641475"/>
          </a:xfrm>
          <a:prstGeom prst="rect">
            <a:avLst/>
          </a:prstGeom>
          <a:noFill/>
          <a:ln>
            <a:noFill/>
          </a:ln>
        </p:spPr>
        <p:txBody>
          <a:bodyPr spcFirstLastPara="1" wrap="square" lIns="0" tIns="0" rIns="0" bIns="0" anchor="t" anchorCtr="0">
            <a:spAutoFit/>
          </a:bodyPr>
          <a:lstStyle/>
          <a:p>
            <a:pPr defTabSz="829544">
              <a:lnSpc>
                <a:spcPts val="1633"/>
              </a:lnSpc>
              <a:buClr>
                <a:srgbClr val="000000"/>
              </a:buClr>
            </a:pPr>
            <a:r>
              <a:rPr lang="en-US" sz="1452" kern="0" dirty="0">
                <a:solidFill>
                  <a:srgbClr val="444444"/>
                </a:solidFill>
                <a:latin typeface="Calibri" panose="020F0502020204030204"/>
                <a:ea typeface="Calibri"/>
                <a:cs typeface="Calibri"/>
                <a:sym typeface="Calibri"/>
              </a:rPr>
              <a:t>To analyze the secondhand automobile market in Morocco the client needed access to relevant and accurate data. </a:t>
            </a:r>
          </a:p>
          <a:p>
            <a:pPr defTabSz="829544">
              <a:lnSpc>
                <a:spcPts val="1633"/>
              </a:lnSpc>
              <a:buClr>
                <a:srgbClr val="000000"/>
              </a:buClr>
            </a:pPr>
            <a:endParaRPr lang="en-US" sz="1452" kern="0" dirty="0">
              <a:solidFill>
                <a:srgbClr val="444444"/>
              </a:solidFill>
              <a:latin typeface="Calibri" panose="020F0502020204030204"/>
              <a:ea typeface="Calibri"/>
              <a:cs typeface="Calibri"/>
              <a:sym typeface="Calibri"/>
            </a:endParaRPr>
          </a:p>
          <a:p>
            <a:pPr defTabSz="829544">
              <a:lnSpc>
                <a:spcPts val="1633"/>
              </a:lnSpc>
              <a:buClr>
                <a:srgbClr val="000000"/>
              </a:buClr>
            </a:pPr>
            <a:r>
              <a:rPr lang="en-US" sz="1452" kern="0" dirty="0">
                <a:solidFill>
                  <a:srgbClr val="444444"/>
                </a:solidFill>
                <a:latin typeface="Calibri" panose="020F0502020204030204"/>
                <a:ea typeface="Calibri"/>
                <a:cs typeface="Calibri"/>
                <a:sym typeface="Calibri"/>
              </a:rPr>
              <a:t>The client chose to use data of the country’s leading </a:t>
            </a:r>
            <a:r>
              <a:rPr lang="en-US" sz="1452" kern="0" dirty="0" err="1">
                <a:solidFill>
                  <a:srgbClr val="444444"/>
                </a:solidFill>
                <a:latin typeface="Calibri" panose="020F0502020204030204"/>
                <a:ea typeface="Calibri"/>
                <a:cs typeface="Calibri"/>
                <a:sym typeface="Calibri"/>
              </a:rPr>
              <a:t>C2C</a:t>
            </a:r>
            <a:r>
              <a:rPr lang="en-US" sz="1452" kern="0" dirty="0">
                <a:solidFill>
                  <a:srgbClr val="444444"/>
                </a:solidFill>
                <a:latin typeface="Calibri" panose="020F0502020204030204"/>
                <a:ea typeface="Calibri"/>
                <a:cs typeface="Calibri"/>
                <a:sym typeface="Calibri"/>
              </a:rPr>
              <a:t> e-commerce platform.</a:t>
            </a:r>
          </a:p>
          <a:p>
            <a:pPr defTabSz="829544">
              <a:lnSpc>
                <a:spcPts val="1633"/>
              </a:lnSpc>
              <a:buClr>
                <a:srgbClr val="000000"/>
              </a:buClr>
            </a:pPr>
            <a:endParaRPr lang="en-US" sz="1452" kern="0" dirty="0">
              <a:solidFill>
                <a:srgbClr val="444444"/>
              </a:solidFill>
              <a:latin typeface="Calibri" panose="020F0502020204030204"/>
              <a:ea typeface="Calibri"/>
              <a:cs typeface="Calibri"/>
              <a:sym typeface="Calibri"/>
            </a:endParaRPr>
          </a:p>
          <a:p>
            <a:pPr defTabSz="829544">
              <a:lnSpc>
                <a:spcPts val="1633"/>
              </a:lnSpc>
              <a:buClr>
                <a:srgbClr val="000000"/>
              </a:buClr>
            </a:pPr>
            <a:r>
              <a:rPr lang="en-US" sz="1452" kern="0" dirty="0">
                <a:solidFill>
                  <a:srgbClr val="000000"/>
                </a:solidFill>
                <a:latin typeface="Calibri" panose="020F0502020204030204"/>
                <a:ea typeface="Calibri"/>
                <a:cs typeface="Calibri"/>
                <a:sym typeface="Calibri"/>
              </a:rPr>
              <a:t>The firm was looking for: </a:t>
            </a:r>
            <a:endParaRPr lang="en-US" sz="1452" kern="0" dirty="0">
              <a:solidFill>
                <a:srgbClr val="444444"/>
              </a:solidFill>
              <a:latin typeface="Calibri" panose="020F0502020204030204"/>
              <a:ea typeface="Calibri"/>
              <a:cs typeface="Calibri"/>
              <a:sym typeface="Calibri"/>
            </a:endParaRPr>
          </a:p>
        </p:txBody>
      </p:sp>
      <p:sp>
        <p:nvSpPr>
          <p:cNvPr id="13" name="Google Shape;565;p30">
            <a:extLst>
              <a:ext uri="{FF2B5EF4-FFF2-40B4-BE49-F238E27FC236}">
                <a16:creationId xmlns:a16="http://schemas.microsoft.com/office/drawing/2014/main" id="{7A6AC40E-0552-398A-D202-6FAF5E960267}"/>
              </a:ext>
            </a:extLst>
          </p:cNvPr>
          <p:cNvSpPr txBox="1">
            <a:spLocks/>
          </p:cNvSpPr>
          <p:nvPr/>
        </p:nvSpPr>
        <p:spPr>
          <a:xfrm>
            <a:off x="4393025" y="2479633"/>
            <a:ext cx="3427709" cy="654652"/>
          </a:xfrm>
          <a:prstGeom prst="rect">
            <a:avLst/>
          </a:prstGeom>
          <a:noFill/>
          <a:ln>
            <a:noFill/>
          </a:ln>
        </p:spPr>
        <p:txBody>
          <a:bodyPr spcFirstLastPara="1" wrap="square" lIns="0" tIns="0" rIns="0" bIns="0" anchor="t" anchorCtr="0">
            <a:noAutofit/>
          </a:bodyPr>
          <a:lstStyle/>
          <a:p>
            <a:pPr defTabSz="829544">
              <a:lnSpc>
                <a:spcPts val="1633"/>
              </a:lnSpc>
              <a:buClr>
                <a:srgbClr val="000000"/>
              </a:buClr>
            </a:pPr>
            <a:r>
              <a:rPr lang="en-US" sz="1452" kern="0" dirty="0">
                <a:solidFill>
                  <a:srgbClr val="222222"/>
                </a:solidFill>
                <a:latin typeface="Calibri" panose="020F0502020204030204"/>
                <a:ea typeface="Calibri"/>
                <a:cs typeface="Calibri"/>
                <a:sym typeface="Calibri"/>
              </a:rPr>
              <a:t>Infomineo’ s Data Analytics team addressed the client’s challenges by developing :</a:t>
            </a:r>
          </a:p>
        </p:txBody>
      </p:sp>
      <p:sp>
        <p:nvSpPr>
          <p:cNvPr id="14" name="Google Shape;540;p30">
            <a:extLst>
              <a:ext uri="{FF2B5EF4-FFF2-40B4-BE49-F238E27FC236}">
                <a16:creationId xmlns:a16="http://schemas.microsoft.com/office/drawing/2014/main" id="{B2AE7E99-5152-2E43-E2A1-5244A380D08C}"/>
              </a:ext>
            </a:extLst>
          </p:cNvPr>
          <p:cNvSpPr>
            <a:spLocks/>
          </p:cNvSpPr>
          <p:nvPr/>
        </p:nvSpPr>
        <p:spPr>
          <a:xfrm>
            <a:off x="8025868" y="1687935"/>
            <a:ext cx="3654893" cy="713863"/>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400" b="1">
              <a:solidFill>
                <a:schemeClr val="bg1"/>
              </a:solidFill>
              <a:latin typeface="Calibri" panose="020F0502020204030204" pitchFamily="34" charset="0"/>
              <a:cs typeface="Calibri" panose="020F0502020204030204" pitchFamily="34" charset="0"/>
              <a:sym typeface="Arial"/>
            </a:endParaRPr>
          </a:p>
        </p:txBody>
      </p:sp>
      <p:sp>
        <p:nvSpPr>
          <p:cNvPr id="16" name="Google Shape;545;p30">
            <a:extLst>
              <a:ext uri="{FF2B5EF4-FFF2-40B4-BE49-F238E27FC236}">
                <a16:creationId xmlns:a16="http://schemas.microsoft.com/office/drawing/2014/main" id="{DE14FC74-4454-A0A2-3631-8F1ABE5F08E4}"/>
              </a:ext>
            </a:extLst>
          </p:cNvPr>
          <p:cNvSpPr>
            <a:spLocks/>
          </p:cNvSpPr>
          <p:nvPr/>
        </p:nvSpPr>
        <p:spPr>
          <a:xfrm>
            <a:off x="499720" y="1685023"/>
            <a:ext cx="3654893" cy="716872"/>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400" b="1">
              <a:solidFill>
                <a:schemeClr val="bg1"/>
              </a:solidFill>
              <a:latin typeface="Calibri" panose="020F0502020204030204" pitchFamily="34" charset="0"/>
              <a:cs typeface="Calibri" panose="020F0502020204030204" pitchFamily="34" charset="0"/>
              <a:sym typeface="Arial"/>
            </a:endParaRPr>
          </a:p>
        </p:txBody>
      </p:sp>
      <p:grpSp>
        <p:nvGrpSpPr>
          <p:cNvPr id="18" name="Group 17">
            <a:extLst>
              <a:ext uri="{FF2B5EF4-FFF2-40B4-BE49-F238E27FC236}">
                <a16:creationId xmlns:a16="http://schemas.microsoft.com/office/drawing/2014/main" id="{00DE3B1A-0309-7790-11AB-E1A2BDE6DD4B}"/>
              </a:ext>
            </a:extLst>
          </p:cNvPr>
          <p:cNvGrpSpPr/>
          <p:nvPr/>
        </p:nvGrpSpPr>
        <p:grpSpPr>
          <a:xfrm>
            <a:off x="3465991" y="1746794"/>
            <a:ext cx="592190" cy="593331"/>
            <a:chOff x="3416568" y="1395569"/>
            <a:chExt cx="955760" cy="957600"/>
          </a:xfrm>
        </p:grpSpPr>
        <p:sp>
          <p:nvSpPr>
            <p:cNvPr id="19" name="Google Shape;551;p30">
              <a:extLst>
                <a:ext uri="{FF2B5EF4-FFF2-40B4-BE49-F238E27FC236}">
                  <a16:creationId xmlns:a16="http://schemas.microsoft.com/office/drawing/2014/main" id="{09DAD9EB-FACD-11F1-81A0-91BECBBB7ABE}"/>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01" kern="0">
                <a:solidFill>
                  <a:srgbClr val="FFFFFF"/>
                </a:solidFill>
                <a:latin typeface="Arial"/>
                <a:cs typeface="Arial"/>
                <a:sym typeface="Arial"/>
              </a:endParaRPr>
            </a:p>
          </p:txBody>
        </p:sp>
        <p:pic>
          <p:nvPicPr>
            <p:cNvPr id="20" name="Google Shape;552;p30">
              <a:extLst>
                <a:ext uri="{FF2B5EF4-FFF2-40B4-BE49-F238E27FC236}">
                  <a16:creationId xmlns:a16="http://schemas.microsoft.com/office/drawing/2014/main" id="{2ADA25A6-55BB-375C-3FBC-0D3A1967BAA7}"/>
                </a:ext>
              </a:extLst>
            </p:cNvPr>
            <p:cNvPicPr preferRelativeResize="0"/>
            <p:nvPr/>
          </p:nvPicPr>
          <p:blipFill rotWithShape="1">
            <a:blip r:embed="rId7"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sp>
        <p:nvSpPr>
          <p:cNvPr id="21" name="Google Shape;566;p30">
            <a:extLst>
              <a:ext uri="{FF2B5EF4-FFF2-40B4-BE49-F238E27FC236}">
                <a16:creationId xmlns:a16="http://schemas.microsoft.com/office/drawing/2014/main" id="{CFF90EF1-108A-552A-987E-AAB081B8A93D}"/>
              </a:ext>
            </a:extLst>
          </p:cNvPr>
          <p:cNvSpPr>
            <a:spLocks/>
          </p:cNvSpPr>
          <p:nvPr/>
        </p:nvSpPr>
        <p:spPr>
          <a:xfrm>
            <a:off x="4262794" y="1685023"/>
            <a:ext cx="3654893" cy="716872"/>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400" b="1">
              <a:solidFill>
                <a:schemeClr val="bg1"/>
              </a:solidFill>
              <a:latin typeface="Calibri" panose="020F0502020204030204" pitchFamily="34" charset="0"/>
              <a:cs typeface="Calibri" panose="020F0502020204030204" pitchFamily="34" charset="0"/>
              <a:sym typeface="Arial"/>
            </a:endParaRPr>
          </a:p>
        </p:txBody>
      </p:sp>
      <p:grpSp>
        <p:nvGrpSpPr>
          <p:cNvPr id="23" name="Group 22">
            <a:extLst>
              <a:ext uri="{FF2B5EF4-FFF2-40B4-BE49-F238E27FC236}">
                <a16:creationId xmlns:a16="http://schemas.microsoft.com/office/drawing/2014/main" id="{F58CF39B-A9E8-096B-A98F-6B8BDC120665}"/>
              </a:ext>
            </a:extLst>
          </p:cNvPr>
          <p:cNvGrpSpPr/>
          <p:nvPr/>
        </p:nvGrpSpPr>
        <p:grpSpPr>
          <a:xfrm>
            <a:off x="7222958" y="1746794"/>
            <a:ext cx="592190" cy="593331"/>
            <a:chOff x="7762572" y="1395569"/>
            <a:chExt cx="955760" cy="957600"/>
          </a:xfrm>
        </p:grpSpPr>
        <p:sp>
          <p:nvSpPr>
            <p:cNvPr id="24" name="Google Shape;568;p30">
              <a:extLst>
                <a:ext uri="{FF2B5EF4-FFF2-40B4-BE49-F238E27FC236}">
                  <a16:creationId xmlns:a16="http://schemas.microsoft.com/office/drawing/2014/main" id="{B888F0DF-C8E7-C5C4-4B74-B13C37E69855}"/>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597" kern="0">
                <a:solidFill>
                  <a:srgbClr val="FFFFFF"/>
                </a:solidFill>
                <a:latin typeface="Arial"/>
                <a:cs typeface="Arial"/>
                <a:sym typeface="Arial"/>
              </a:endParaRPr>
            </a:p>
          </p:txBody>
        </p:sp>
        <p:pic>
          <p:nvPicPr>
            <p:cNvPr id="25" name="Google Shape;569;p30">
              <a:extLst>
                <a:ext uri="{FF2B5EF4-FFF2-40B4-BE49-F238E27FC236}">
                  <a16:creationId xmlns:a16="http://schemas.microsoft.com/office/drawing/2014/main" id="{A1410139-8304-D436-8B99-717601F526CA}"/>
                </a:ext>
              </a:extLst>
            </p:cNvPr>
            <p:cNvPicPr preferRelativeResize="0"/>
            <p:nvPr/>
          </p:nvPicPr>
          <p:blipFill rotWithShape="1">
            <a:blip r:embed="rId8"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26" name="Group 25">
            <a:extLst>
              <a:ext uri="{FF2B5EF4-FFF2-40B4-BE49-F238E27FC236}">
                <a16:creationId xmlns:a16="http://schemas.microsoft.com/office/drawing/2014/main" id="{EFB3134A-BF84-6564-36D8-3F0E0D1E8998}"/>
              </a:ext>
            </a:extLst>
          </p:cNvPr>
          <p:cNvGrpSpPr/>
          <p:nvPr/>
        </p:nvGrpSpPr>
        <p:grpSpPr>
          <a:xfrm>
            <a:off x="10997736" y="1746794"/>
            <a:ext cx="592190" cy="593331"/>
            <a:chOff x="12019931" y="1366765"/>
            <a:chExt cx="955760" cy="957600"/>
          </a:xfrm>
        </p:grpSpPr>
        <p:sp>
          <p:nvSpPr>
            <p:cNvPr id="27" name="Google Shape;583;p30">
              <a:extLst>
                <a:ext uri="{FF2B5EF4-FFF2-40B4-BE49-F238E27FC236}">
                  <a16:creationId xmlns:a16="http://schemas.microsoft.com/office/drawing/2014/main" id="{D3CC03A4-60C0-F0F8-DFCA-32F9B9F64F55}"/>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01" kern="0">
                <a:solidFill>
                  <a:srgbClr val="FFFFFF"/>
                </a:solidFill>
                <a:highlight>
                  <a:srgbClr val="FFFF00"/>
                </a:highlight>
                <a:latin typeface="Arial"/>
                <a:cs typeface="Arial"/>
                <a:sym typeface="Arial"/>
              </a:endParaRPr>
            </a:p>
          </p:txBody>
        </p:sp>
        <p:grpSp>
          <p:nvGrpSpPr>
            <p:cNvPr id="28" name="Google Shape;584;p30">
              <a:extLst>
                <a:ext uri="{FF2B5EF4-FFF2-40B4-BE49-F238E27FC236}">
                  <a16:creationId xmlns:a16="http://schemas.microsoft.com/office/drawing/2014/main" id="{4DDEBE46-120B-C78E-737B-72E758847E55}"/>
                </a:ext>
              </a:extLst>
            </p:cNvPr>
            <p:cNvGrpSpPr/>
            <p:nvPr/>
          </p:nvGrpSpPr>
          <p:grpSpPr>
            <a:xfrm>
              <a:off x="12226115" y="1593618"/>
              <a:ext cx="543392" cy="503895"/>
              <a:chOff x="10915170" y="2075424"/>
              <a:chExt cx="432288" cy="400866"/>
            </a:xfrm>
          </p:grpSpPr>
          <p:sp>
            <p:nvSpPr>
              <p:cNvPr id="29" name="Google Shape;585;p30">
                <a:extLst>
                  <a:ext uri="{FF2B5EF4-FFF2-40B4-BE49-F238E27FC236}">
                    <a16:creationId xmlns:a16="http://schemas.microsoft.com/office/drawing/2014/main" id="{37CF0385-F04F-6170-5C0E-9A692BB40773}"/>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buClr>
                    <a:srgbClr val="000000"/>
                  </a:buClr>
                </a:pPr>
                <a:endParaRPr sz="1801" kern="0">
                  <a:solidFill>
                    <a:srgbClr val="444444"/>
                  </a:solidFill>
                  <a:highlight>
                    <a:srgbClr val="FFFF00"/>
                  </a:highlight>
                  <a:latin typeface="Calibri"/>
                  <a:ea typeface="Calibri"/>
                  <a:cs typeface="Calibri"/>
                  <a:sym typeface="Calibri"/>
                </a:endParaRPr>
              </a:p>
            </p:txBody>
          </p:sp>
          <p:sp>
            <p:nvSpPr>
              <p:cNvPr id="30" name="Google Shape;586;p30">
                <a:extLst>
                  <a:ext uri="{FF2B5EF4-FFF2-40B4-BE49-F238E27FC236}">
                    <a16:creationId xmlns:a16="http://schemas.microsoft.com/office/drawing/2014/main" id="{CC271DE2-2D86-0B4A-591F-DD3BD6AE75F1}"/>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buClr>
                    <a:srgbClr val="000000"/>
                  </a:buClr>
                </a:pPr>
                <a:endParaRPr sz="1801" kern="0">
                  <a:solidFill>
                    <a:srgbClr val="444444"/>
                  </a:solidFill>
                  <a:highlight>
                    <a:srgbClr val="FFFF00"/>
                  </a:highlight>
                  <a:latin typeface="Calibri"/>
                  <a:ea typeface="Calibri"/>
                  <a:cs typeface="Calibri"/>
                  <a:sym typeface="Calibri"/>
                </a:endParaRPr>
              </a:p>
            </p:txBody>
          </p:sp>
        </p:grpSp>
      </p:grpSp>
      <p:sp>
        <p:nvSpPr>
          <p:cNvPr id="47" name="Google Shape;574;p30">
            <a:extLst>
              <a:ext uri="{FF2B5EF4-FFF2-40B4-BE49-F238E27FC236}">
                <a16:creationId xmlns:a16="http://schemas.microsoft.com/office/drawing/2014/main" id="{288B7B49-D940-EE65-AFD5-45D2FC972FEC}"/>
              </a:ext>
            </a:extLst>
          </p:cNvPr>
          <p:cNvSpPr txBox="1">
            <a:spLocks/>
          </p:cNvSpPr>
          <p:nvPr/>
        </p:nvSpPr>
        <p:spPr>
          <a:xfrm>
            <a:off x="4523833" y="3083079"/>
            <a:ext cx="3319182" cy="3171953"/>
          </a:xfrm>
          <a:prstGeom prst="rect">
            <a:avLst/>
          </a:prstGeom>
          <a:noFill/>
          <a:ln>
            <a:noFill/>
          </a:ln>
        </p:spPr>
        <p:txBody>
          <a:bodyPr spcFirstLastPara="1" wrap="square" lIns="0" tIns="0" rIns="0" bIns="0" anchor="t" anchorCtr="0">
            <a:noAutofit/>
          </a:bodyPr>
          <a:lstStyle/>
          <a:p>
            <a:pPr marL="157613" indent="-157613" defTabSz="829544">
              <a:lnSpc>
                <a:spcPts val="1633"/>
              </a:lnSpc>
              <a:buSzPct val="100000"/>
              <a:buFont typeface="Wingdings" panose="05000000000000000000" pitchFamily="2" charset="2"/>
              <a:buChar char="§"/>
            </a:pPr>
            <a:r>
              <a:rPr lang="en-US" sz="1452" b="1" kern="0" dirty="0">
                <a:solidFill>
                  <a:srgbClr val="444444"/>
                </a:solidFill>
                <a:latin typeface="Calibri" panose="020F0502020204030204"/>
                <a:ea typeface="Calibri"/>
                <a:cs typeface="Calibri"/>
                <a:sym typeface="Calibri"/>
              </a:rPr>
              <a:t>Comprehensive Data Collection Strategy</a:t>
            </a:r>
            <a:endParaRPr lang="en-US" sz="1270" b="1" kern="0" dirty="0">
              <a:solidFill>
                <a:srgbClr val="444444"/>
              </a:solidFill>
              <a:latin typeface="Calibri" panose="020F0502020204030204"/>
              <a:ea typeface="Calibri"/>
              <a:cs typeface="Calibri"/>
              <a:sym typeface="Calibri"/>
            </a:endParaRP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Establishing a robust data collection framework and implementing efficient methodologies to gather the required data.</a:t>
            </a:r>
          </a:p>
          <a:p>
            <a:pPr marL="157613" indent="-157613" defTabSz="829544">
              <a:lnSpc>
                <a:spcPts val="1633"/>
              </a:lnSpc>
              <a:buClr>
                <a:srgbClr val="0F47F2"/>
              </a:buClr>
              <a:buSzPct val="100000"/>
              <a:buFont typeface="Wingdings" panose="05000000000000000000" pitchFamily="2" charset="2"/>
              <a:buChar char="§"/>
            </a:pPr>
            <a:endParaRPr lang="en-US" sz="1270" kern="0" dirty="0">
              <a:solidFill>
                <a:srgbClr val="000000"/>
              </a:solidFill>
              <a:latin typeface="Calibri" panose="020F0502020204030204"/>
              <a:ea typeface="Calibri"/>
              <a:cs typeface="Calibri"/>
              <a:sym typeface="Calibri"/>
            </a:endParaRPr>
          </a:p>
          <a:p>
            <a:pPr marL="157613" indent="-157613" defTabSz="829544">
              <a:lnSpc>
                <a:spcPts val="1633"/>
              </a:lnSpc>
              <a:buSzPct val="100000"/>
              <a:buFont typeface="Wingdings" panose="05000000000000000000" pitchFamily="2" charset="2"/>
              <a:buChar char="§"/>
            </a:pPr>
            <a:r>
              <a:rPr lang="en-US" sz="1452" b="1" kern="0" dirty="0">
                <a:solidFill>
                  <a:srgbClr val="444444"/>
                </a:solidFill>
                <a:latin typeface="Calibri" panose="020F0502020204030204"/>
                <a:ea typeface="Calibri"/>
                <a:cs typeface="Calibri"/>
                <a:sym typeface="Calibri"/>
              </a:rPr>
              <a:t>User-Centric Interface Design</a:t>
            </a: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Crafting a user-friendly graphical user interface (GUI) that simplified the data collection process for the client</a:t>
            </a:r>
          </a:p>
          <a:p>
            <a:pPr marL="157613" indent="-157613" defTabSz="829544">
              <a:lnSpc>
                <a:spcPts val="1633"/>
              </a:lnSpc>
              <a:buClr>
                <a:srgbClr val="0F47F2"/>
              </a:buClr>
              <a:buSzPct val="100000"/>
              <a:buFont typeface="Wingdings" panose="05000000000000000000" pitchFamily="2" charset="2"/>
              <a:buChar char="§"/>
            </a:pPr>
            <a:endParaRPr lang="en-US" sz="1452" kern="0" dirty="0">
              <a:solidFill>
                <a:srgbClr val="000000"/>
              </a:solidFill>
              <a:latin typeface="Calibri" panose="020F0502020204030204"/>
              <a:ea typeface="Calibri"/>
              <a:cs typeface="Calibri"/>
              <a:sym typeface="Calibri"/>
            </a:endParaRPr>
          </a:p>
          <a:p>
            <a:pPr marL="157613" indent="-157613" defTabSz="829544">
              <a:lnSpc>
                <a:spcPts val="1633"/>
              </a:lnSpc>
              <a:buSzPct val="100000"/>
              <a:buFont typeface="Wingdings" panose="05000000000000000000" pitchFamily="2" charset="2"/>
              <a:buChar char="§"/>
            </a:pPr>
            <a:r>
              <a:rPr lang="en-US" sz="1452" b="1" kern="0" dirty="0">
                <a:solidFill>
                  <a:srgbClr val="444444"/>
                </a:solidFill>
                <a:latin typeface="Calibri" panose="020F0502020204030204"/>
                <a:ea typeface="Calibri"/>
                <a:cs typeface="Calibri"/>
                <a:sym typeface="Calibri"/>
              </a:rPr>
              <a:t>Data Quality Assurance</a:t>
            </a: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Implementing rigorous cleaning and preprocessing techniques to ensure the integrity and reliability of the collected data. </a:t>
            </a:r>
          </a:p>
        </p:txBody>
      </p:sp>
      <p:grpSp>
        <p:nvGrpSpPr>
          <p:cNvPr id="33" name="Group 32">
            <a:extLst>
              <a:ext uri="{FF2B5EF4-FFF2-40B4-BE49-F238E27FC236}">
                <a16:creationId xmlns:a16="http://schemas.microsoft.com/office/drawing/2014/main" id="{BA11EE3D-44AE-4AA2-06D3-819C5D978E6F}"/>
              </a:ext>
            </a:extLst>
          </p:cNvPr>
          <p:cNvGrpSpPr/>
          <p:nvPr/>
        </p:nvGrpSpPr>
        <p:grpSpPr>
          <a:xfrm>
            <a:off x="778405" y="4455263"/>
            <a:ext cx="3097524" cy="787319"/>
            <a:chOff x="803725" y="4920772"/>
            <a:chExt cx="3414536" cy="867896"/>
          </a:xfrm>
        </p:grpSpPr>
        <p:sp>
          <p:nvSpPr>
            <p:cNvPr id="34" name="Google Shape;561;p30">
              <a:extLst>
                <a:ext uri="{FF2B5EF4-FFF2-40B4-BE49-F238E27FC236}">
                  <a16:creationId xmlns:a16="http://schemas.microsoft.com/office/drawing/2014/main" id="{1CD9C9B4-265E-2982-A1E5-282D4D7CD76F}"/>
                </a:ext>
              </a:extLst>
            </p:cNvPr>
            <p:cNvSpPr txBox="1">
              <a:spLocks/>
            </p:cNvSpPr>
            <p:nvPr/>
          </p:nvSpPr>
          <p:spPr>
            <a:xfrm>
              <a:off x="1437182" y="4920772"/>
              <a:ext cx="2781079" cy="867896"/>
            </a:xfrm>
            <a:prstGeom prst="rect">
              <a:avLst/>
            </a:prstGeom>
            <a:noFill/>
            <a:ln>
              <a:noFill/>
            </a:ln>
          </p:spPr>
          <p:txBody>
            <a:bodyPr spcFirstLastPara="1" wrap="square" lIns="0" tIns="0" rIns="0" bIns="0" anchor="t" anchorCtr="0">
              <a:noAutofit/>
            </a:bodyPr>
            <a:lstStyle/>
            <a:p>
              <a:pPr defTabSz="829544">
                <a:lnSpc>
                  <a:spcPts val="1633"/>
                </a:lnSpc>
                <a:buClr>
                  <a:srgbClr val="000000"/>
                </a:buClr>
              </a:pPr>
              <a:r>
                <a:rPr lang="en-US" sz="1452" kern="0" dirty="0">
                  <a:solidFill>
                    <a:srgbClr val="444444"/>
                  </a:solidFill>
                  <a:latin typeface="Calibri" panose="020F0502020204030204"/>
                  <a:ea typeface="Calibri"/>
                  <a:cs typeface="Calibri"/>
                  <a:sym typeface="Calibri"/>
                </a:rPr>
                <a:t>An efficient and consistent way to regularly collect data from an e-commerce website</a:t>
              </a:r>
              <a:endParaRPr lang="en-US" sz="1452" kern="0" dirty="0">
                <a:solidFill>
                  <a:srgbClr val="000000"/>
                </a:solidFill>
                <a:latin typeface="Calibri" panose="020F0502020204030204"/>
                <a:ea typeface="Calibri"/>
                <a:cs typeface="Calibri"/>
                <a:sym typeface="Calibri"/>
              </a:endParaRPr>
            </a:p>
          </p:txBody>
        </p:sp>
        <p:grpSp>
          <p:nvGrpSpPr>
            <p:cNvPr id="180" name="Group 179">
              <a:extLst>
                <a:ext uri="{FF2B5EF4-FFF2-40B4-BE49-F238E27FC236}">
                  <a16:creationId xmlns:a16="http://schemas.microsoft.com/office/drawing/2014/main" id="{7D721D98-2F3D-BE39-4A33-AF7458DDA7DA}"/>
                </a:ext>
              </a:extLst>
            </p:cNvPr>
            <p:cNvGrpSpPr/>
            <p:nvPr/>
          </p:nvGrpSpPr>
          <p:grpSpPr>
            <a:xfrm>
              <a:off x="803725" y="4920772"/>
              <a:ext cx="503992" cy="503992"/>
              <a:chOff x="803725" y="4811208"/>
              <a:chExt cx="503992" cy="503992"/>
            </a:xfrm>
          </p:grpSpPr>
          <p:sp>
            <p:nvSpPr>
              <p:cNvPr id="36" name="Google Shape;554;p30">
                <a:extLst>
                  <a:ext uri="{FF2B5EF4-FFF2-40B4-BE49-F238E27FC236}">
                    <a16:creationId xmlns:a16="http://schemas.microsoft.com/office/drawing/2014/main" id="{AE1A80AB-92C3-FEBF-8029-F670F717BF21}"/>
                  </a:ext>
                </a:extLst>
              </p:cNvPr>
              <p:cNvSpPr/>
              <p:nvPr/>
            </p:nvSpPr>
            <p:spPr>
              <a:xfrm>
                <a:off x="803725" y="4811208"/>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lnSpc>
                    <a:spcPts val="1633"/>
                  </a:lnSpc>
                  <a:buClr>
                    <a:srgbClr val="000000"/>
                  </a:buClr>
                </a:pPr>
                <a:endParaRPr sz="1452" kern="0" dirty="0">
                  <a:solidFill>
                    <a:srgbClr val="FFFFFF"/>
                  </a:solidFill>
                  <a:latin typeface="Calibri" panose="020F0502020204030204"/>
                  <a:ea typeface="Calibri"/>
                  <a:cs typeface="Calibri"/>
                  <a:sym typeface="Calibri"/>
                </a:endParaRPr>
              </a:p>
            </p:txBody>
          </p:sp>
          <p:sp>
            <p:nvSpPr>
              <p:cNvPr id="176" name="Freeform 8">
                <a:extLst>
                  <a:ext uri="{FF2B5EF4-FFF2-40B4-BE49-F238E27FC236}">
                    <a16:creationId xmlns:a16="http://schemas.microsoft.com/office/drawing/2014/main" id="{83AA069D-3D80-73AB-0884-9E5A8379FED1}"/>
                  </a:ext>
                </a:extLst>
              </p:cNvPr>
              <p:cNvSpPr>
                <a:spLocks/>
              </p:cNvSpPr>
              <p:nvPr/>
            </p:nvSpPr>
            <p:spPr bwMode="auto">
              <a:xfrm>
                <a:off x="867482" y="4933493"/>
                <a:ext cx="376479" cy="259422"/>
              </a:xfrm>
              <a:custGeom>
                <a:avLst/>
                <a:gdLst/>
                <a:ahLst/>
                <a:cxnLst>
                  <a:cxn ang="0">
                    <a:pos x="12" y="486"/>
                  </a:cxn>
                  <a:cxn ang="0">
                    <a:pos x="36" y="474"/>
                  </a:cxn>
                  <a:cxn ang="0">
                    <a:pos x="78" y="462"/>
                  </a:cxn>
                  <a:cxn ang="0">
                    <a:pos x="114" y="444"/>
                  </a:cxn>
                  <a:cxn ang="0">
                    <a:pos x="180" y="396"/>
                  </a:cxn>
                  <a:cxn ang="0">
                    <a:pos x="204" y="354"/>
                  </a:cxn>
                  <a:cxn ang="0">
                    <a:pos x="210" y="324"/>
                  </a:cxn>
                  <a:cxn ang="0">
                    <a:pos x="198" y="312"/>
                  </a:cxn>
                  <a:cxn ang="0">
                    <a:pos x="204" y="276"/>
                  </a:cxn>
                  <a:cxn ang="0">
                    <a:pos x="210" y="258"/>
                  </a:cxn>
                  <a:cxn ang="0">
                    <a:pos x="234" y="222"/>
                  </a:cxn>
                  <a:cxn ang="0">
                    <a:pos x="240" y="204"/>
                  </a:cxn>
                  <a:cxn ang="0">
                    <a:pos x="252" y="186"/>
                  </a:cxn>
                  <a:cxn ang="0">
                    <a:pos x="270" y="174"/>
                  </a:cxn>
                  <a:cxn ang="0">
                    <a:pos x="282" y="162"/>
                  </a:cxn>
                  <a:cxn ang="0">
                    <a:pos x="312" y="144"/>
                  </a:cxn>
                  <a:cxn ang="0">
                    <a:pos x="342" y="132"/>
                  </a:cxn>
                  <a:cxn ang="0">
                    <a:pos x="360" y="126"/>
                  </a:cxn>
                  <a:cxn ang="0">
                    <a:pos x="384" y="108"/>
                  </a:cxn>
                  <a:cxn ang="0">
                    <a:pos x="396" y="90"/>
                  </a:cxn>
                  <a:cxn ang="0">
                    <a:pos x="414" y="48"/>
                  </a:cxn>
                  <a:cxn ang="0">
                    <a:pos x="438" y="6"/>
                  </a:cxn>
                  <a:cxn ang="0">
                    <a:pos x="456" y="0"/>
                  </a:cxn>
                  <a:cxn ang="0">
                    <a:pos x="468" y="12"/>
                  </a:cxn>
                  <a:cxn ang="0">
                    <a:pos x="480" y="30"/>
                  </a:cxn>
                  <a:cxn ang="0">
                    <a:pos x="504" y="42"/>
                  </a:cxn>
                  <a:cxn ang="0">
                    <a:pos x="546" y="42"/>
                  </a:cxn>
                  <a:cxn ang="0">
                    <a:pos x="570" y="42"/>
                  </a:cxn>
                  <a:cxn ang="0">
                    <a:pos x="594" y="36"/>
                  </a:cxn>
                  <a:cxn ang="0">
                    <a:pos x="606" y="36"/>
                  </a:cxn>
                  <a:cxn ang="0">
                    <a:pos x="618" y="48"/>
                  </a:cxn>
                  <a:cxn ang="0">
                    <a:pos x="642" y="48"/>
                  </a:cxn>
                  <a:cxn ang="0">
                    <a:pos x="660" y="60"/>
                  </a:cxn>
                  <a:cxn ang="0">
                    <a:pos x="672" y="72"/>
                  </a:cxn>
                  <a:cxn ang="0">
                    <a:pos x="666" y="90"/>
                  </a:cxn>
                  <a:cxn ang="0">
                    <a:pos x="672" y="132"/>
                  </a:cxn>
                  <a:cxn ang="0">
                    <a:pos x="678" y="156"/>
                  </a:cxn>
                  <a:cxn ang="0">
                    <a:pos x="684" y="180"/>
                  </a:cxn>
                  <a:cxn ang="0">
                    <a:pos x="708" y="210"/>
                  </a:cxn>
                  <a:cxn ang="0">
                    <a:pos x="702" y="216"/>
                  </a:cxn>
                  <a:cxn ang="0">
                    <a:pos x="702" y="228"/>
                  </a:cxn>
                  <a:cxn ang="0">
                    <a:pos x="666" y="228"/>
                  </a:cxn>
                  <a:cxn ang="0">
                    <a:pos x="606" y="228"/>
                  </a:cxn>
                  <a:cxn ang="0">
                    <a:pos x="606" y="246"/>
                  </a:cxn>
                  <a:cxn ang="0">
                    <a:pos x="558" y="264"/>
                  </a:cxn>
                  <a:cxn ang="0">
                    <a:pos x="552" y="282"/>
                  </a:cxn>
                  <a:cxn ang="0">
                    <a:pos x="564" y="294"/>
                  </a:cxn>
                  <a:cxn ang="0">
                    <a:pos x="552" y="300"/>
                  </a:cxn>
                  <a:cxn ang="0">
                    <a:pos x="528" y="312"/>
                  </a:cxn>
                  <a:cxn ang="0">
                    <a:pos x="492" y="318"/>
                  </a:cxn>
                  <a:cxn ang="0">
                    <a:pos x="474" y="354"/>
                  </a:cxn>
                  <a:cxn ang="0">
                    <a:pos x="432" y="366"/>
                  </a:cxn>
                  <a:cxn ang="0">
                    <a:pos x="396" y="372"/>
                  </a:cxn>
                  <a:cxn ang="0">
                    <a:pos x="378" y="378"/>
                  </a:cxn>
                  <a:cxn ang="0">
                    <a:pos x="348" y="378"/>
                  </a:cxn>
                  <a:cxn ang="0">
                    <a:pos x="324" y="396"/>
                  </a:cxn>
                  <a:cxn ang="0">
                    <a:pos x="300" y="414"/>
                  </a:cxn>
                  <a:cxn ang="0">
                    <a:pos x="264" y="432"/>
                  </a:cxn>
                </a:cxnLst>
                <a:rect l="0" t="0" r="r" b="b"/>
                <a:pathLst>
                  <a:path w="714" h="492">
                    <a:moveTo>
                      <a:pt x="0" y="492"/>
                    </a:moveTo>
                    <a:lnTo>
                      <a:pt x="6" y="492"/>
                    </a:lnTo>
                    <a:lnTo>
                      <a:pt x="12" y="486"/>
                    </a:lnTo>
                    <a:lnTo>
                      <a:pt x="18" y="480"/>
                    </a:lnTo>
                    <a:lnTo>
                      <a:pt x="18" y="474"/>
                    </a:lnTo>
                    <a:lnTo>
                      <a:pt x="36" y="474"/>
                    </a:lnTo>
                    <a:lnTo>
                      <a:pt x="60" y="468"/>
                    </a:lnTo>
                    <a:lnTo>
                      <a:pt x="66" y="468"/>
                    </a:lnTo>
                    <a:lnTo>
                      <a:pt x="78" y="462"/>
                    </a:lnTo>
                    <a:lnTo>
                      <a:pt x="102" y="456"/>
                    </a:lnTo>
                    <a:lnTo>
                      <a:pt x="102" y="450"/>
                    </a:lnTo>
                    <a:lnTo>
                      <a:pt x="114" y="444"/>
                    </a:lnTo>
                    <a:lnTo>
                      <a:pt x="126" y="432"/>
                    </a:lnTo>
                    <a:lnTo>
                      <a:pt x="156" y="414"/>
                    </a:lnTo>
                    <a:lnTo>
                      <a:pt x="180" y="396"/>
                    </a:lnTo>
                    <a:lnTo>
                      <a:pt x="192" y="372"/>
                    </a:lnTo>
                    <a:lnTo>
                      <a:pt x="204" y="360"/>
                    </a:lnTo>
                    <a:lnTo>
                      <a:pt x="204" y="354"/>
                    </a:lnTo>
                    <a:lnTo>
                      <a:pt x="210" y="342"/>
                    </a:lnTo>
                    <a:lnTo>
                      <a:pt x="216" y="330"/>
                    </a:lnTo>
                    <a:lnTo>
                      <a:pt x="210" y="324"/>
                    </a:lnTo>
                    <a:lnTo>
                      <a:pt x="204" y="318"/>
                    </a:lnTo>
                    <a:lnTo>
                      <a:pt x="198" y="318"/>
                    </a:lnTo>
                    <a:lnTo>
                      <a:pt x="198" y="312"/>
                    </a:lnTo>
                    <a:lnTo>
                      <a:pt x="204" y="306"/>
                    </a:lnTo>
                    <a:lnTo>
                      <a:pt x="198" y="288"/>
                    </a:lnTo>
                    <a:lnTo>
                      <a:pt x="204" y="276"/>
                    </a:lnTo>
                    <a:lnTo>
                      <a:pt x="198" y="270"/>
                    </a:lnTo>
                    <a:lnTo>
                      <a:pt x="204" y="264"/>
                    </a:lnTo>
                    <a:lnTo>
                      <a:pt x="210" y="258"/>
                    </a:lnTo>
                    <a:lnTo>
                      <a:pt x="210" y="252"/>
                    </a:lnTo>
                    <a:lnTo>
                      <a:pt x="228" y="234"/>
                    </a:lnTo>
                    <a:lnTo>
                      <a:pt x="234" y="222"/>
                    </a:lnTo>
                    <a:lnTo>
                      <a:pt x="234" y="216"/>
                    </a:lnTo>
                    <a:lnTo>
                      <a:pt x="234" y="210"/>
                    </a:lnTo>
                    <a:lnTo>
                      <a:pt x="240" y="204"/>
                    </a:lnTo>
                    <a:lnTo>
                      <a:pt x="234" y="204"/>
                    </a:lnTo>
                    <a:lnTo>
                      <a:pt x="246" y="198"/>
                    </a:lnTo>
                    <a:lnTo>
                      <a:pt x="252" y="186"/>
                    </a:lnTo>
                    <a:lnTo>
                      <a:pt x="258" y="186"/>
                    </a:lnTo>
                    <a:lnTo>
                      <a:pt x="264" y="180"/>
                    </a:lnTo>
                    <a:lnTo>
                      <a:pt x="270" y="174"/>
                    </a:lnTo>
                    <a:lnTo>
                      <a:pt x="276" y="168"/>
                    </a:lnTo>
                    <a:lnTo>
                      <a:pt x="276" y="162"/>
                    </a:lnTo>
                    <a:lnTo>
                      <a:pt x="282" y="162"/>
                    </a:lnTo>
                    <a:lnTo>
                      <a:pt x="288" y="156"/>
                    </a:lnTo>
                    <a:lnTo>
                      <a:pt x="294" y="150"/>
                    </a:lnTo>
                    <a:lnTo>
                      <a:pt x="312" y="144"/>
                    </a:lnTo>
                    <a:lnTo>
                      <a:pt x="330" y="138"/>
                    </a:lnTo>
                    <a:lnTo>
                      <a:pt x="336" y="138"/>
                    </a:lnTo>
                    <a:lnTo>
                      <a:pt x="342" y="132"/>
                    </a:lnTo>
                    <a:lnTo>
                      <a:pt x="348" y="132"/>
                    </a:lnTo>
                    <a:lnTo>
                      <a:pt x="354" y="126"/>
                    </a:lnTo>
                    <a:lnTo>
                      <a:pt x="360" y="126"/>
                    </a:lnTo>
                    <a:lnTo>
                      <a:pt x="366" y="120"/>
                    </a:lnTo>
                    <a:lnTo>
                      <a:pt x="378" y="114"/>
                    </a:lnTo>
                    <a:lnTo>
                      <a:pt x="384" y="108"/>
                    </a:lnTo>
                    <a:lnTo>
                      <a:pt x="390" y="102"/>
                    </a:lnTo>
                    <a:lnTo>
                      <a:pt x="390" y="96"/>
                    </a:lnTo>
                    <a:lnTo>
                      <a:pt x="396" y="90"/>
                    </a:lnTo>
                    <a:lnTo>
                      <a:pt x="402" y="84"/>
                    </a:lnTo>
                    <a:lnTo>
                      <a:pt x="408" y="60"/>
                    </a:lnTo>
                    <a:lnTo>
                      <a:pt x="414" y="48"/>
                    </a:lnTo>
                    <a:lnTo>
                      <a:pt x="420" y="42"/>
                    </a:lnTo>
                    <a:lnTo>
                      <a:pt x="432" y="6"/>
                    </a:lnTo>
                    <a:lnTo>
                      <a:pt x="438" y="6"/>
                    </a:lnTo>
                    <a:lnTo>
                      <a:pt x="444" y="6"/>
                    </a:lnTo>
                    <a:lnTo>
                      <a:pt x="450" y="6"/>
                    </a:lnTo>
                    <a:lnTo>
                      <a:pt x="456" y="0"/>
                    </a:lnTo>
                    <a:lnTo>
                      <a:pt x="462" y="0"/>
                    </a:lnTo>
                    <a:lnTo>
                      <a:pt x="468" y="6"/>
                    </a:lnTo>
                    <a:lnTo>
                      <a:pt x="468" y="12"/>
                    </a:lnTo>
                    <a:lnTo>
                      <a:pt x="468" y="24"/>
                    </a:lnTo>
                    <a:lnTo>
                      <a:pt x="474" y="24"/>
                    </a:lnTo>
                    <a:lnTo>
                      <a:pt x="480" y="30"/>
                    </a:lnTo>
                    <a:lnTo>
                      <a:pt x="492" y="36"/>
                    </a:lnTo>
                    <a:lnTo>
                      <a:pt x="498" y="42"/>
                    </a:lnTo>
                    <a:lnTo>
                      <a:pt x="504" y="42"/>
                    </a:lnTo>
                    <a:lnTo>
                      <a:pt x="522" y="48"/>
                    </a:lnTo>
                    <a:lnTo>
                      <a:pt x="540" y="42"/>
                    </a:lnTo>
                    <a:lnTo>
                      <a:pt x="546" y="42"/>
                    </a:lnTo>
                    <a:lnTo>
                      <a:pt x="552" y="42"/>
                    </a:lnTo>
                    <a:lnTo>
                      <a:pt x="558" y="36"/>
                    </a:lnTo>
                    <a:lnTo>
                      <a:pt x="570" y="42"/>
                    </a:lnTo>
                    <a:lnTo>
                      <a:pt x="582" y="42"/>
                    </a:lnTo>
                    <a:lnTo>
                      <a:pt x="588" y="42"/>
                    </a:lnTo>
                    <a:lnTo>
                      <a:pt x="594" y="36"/>
                    </a:lnTo>
                    <a:lnTo>
                      <a:pt x="600" y="30"/>
                    </a:lnTo>
                    <a:lnTo>
                      <a:pt x="600" y="36"/>
                    </a:lnTo>
                    <a:lnTo>
                      <a:pt x="606" y="36"/>
                    </a:lnTo>
                    <a:lnTo>
                      <a:pt x="606" y="42"/>
                    </a:lnTo>
                    <a:lnTo>
                      <a:pt x="612" y="48"/>
                    </a:lnTo>
                    <a:lnTo>
                      <a:pt x="618" y="48"/>
                    </a:lnTo>
                    <a:lnTo>
                      <a:pt x="624" y="48"/>
                    </a:lnTo>
                    <a:lnTo>
                      <a:pt x="630" y="48"/>
                    </a:lnTo>
                    <a:lnTo>
                      <a:pt x="642" y="48"/>
                    </a:lnTo>
                    <a:lnTo>
                      <a:pt x="642" y="54"/>
                    </a:lnTo>
                    <a:lnTo>
                      <a:pt x="654" y="60"/>
                    </a:lnTo>
                    <a:lnTo>
                      <a:pt x="660" y="60"/>
                    </a:lnTo>
                    <a:lnTo>
                      <a:pt x="660" y="66"/>
                    </a:lnTo>
                    <a:lnTo>
                      <a:pt x="666" y="66"/>
                    </a:lnTo>
                    <a:lnTo>
                      <a:pt x="672" y="72"/>
                    </a:lnTo>
                    <a:lnTo>
                      <a:pt x="666" y="78"/>
                    </a:lnTo>
                    <a:lnTo>
                      <a:pt x="672" y="84"/>
                    </a:lnTo>
                    <a:lnTo>
                      <a:pt x="666" y="90"/>
                    </a:lnTo>
                    <a:lnTo>
                      <a:pt x="678" y="108"/>
                    </a:lnTo>
                    <a:lnTo>
                      <a:pt x="672" y="126"/>
                    </a:lnTo>
                    <a:lnTo>
                      <a:pt x="672" y="132"/>
                    </a:lnTo>
                    <a:lnTo>
                      <a:pt x="678" y="138"/>
                    </a:lnTo>
                    <a:lnTo>
                      <a:pt x="678" y="144"/>
                    </a:lnTo>
                    <a:lnTo>
                      <a:pt x="678" y="156"/>
                    </a:lnTo>
                    <a:lnTo>
                      <a:pt x="678" y="162"/>
                    </a:lnTo>
                    <a:lnTo>
                      <a:pt x="684" y="174"/>
                    </a:lnTo>
                    <a:lnTo>
                      <a:pt x="684" y="180"/>
                    </a:lnTo>
                    <a:lnTo>
                      <a:pt x="690" y="192"/>
                    </a:lnTo>
                    <a:lnTo>
                      <a:pt x="714" y="204"/>
                    </a:lnTo>
                    <a:lnTo>
                      <a:pt x="708" y="210"/>
                    </a:lnTo>
                    <a:lnTo>
                      <a:pt x="702" y="210"/>
                    </a:lnTo>
                    <a:lnTo>
                      <a:pt x="696" y="216"/>
                    </a:lnTo>
                    <a:lnTo>
                      <a:pt x="702" y="216"/>
                    </a:lnTo>
                    <a:lnTo>
                      <a:pt x="696" y="222"/>
                    </a:lnTo>
                    <a:lnTo>
                      <a:pt x="702" y="222"/>
                    </a:lnTo>
                    <a:lnTo>
                      <a:pt x="702" y="228"/>
                    </a:lnTo>
                    <a:lnTo>
                      <a:pt x="696" y="228"/>
                    </a:lnTo>
                    <a:lnTo>
                      <a:pt x="684" y="228"/>
                    </a:lnTo>
                    <a:lnTo>
                      <a:pt x="666" y="228"/>
                    </a:lnTo>
                    <a:lnTo>
                      <a:pt x="636" y="222"/>
                    </a:lnTo>
                    <a:lnTo>
                      <a:pt x="612" y="228"/>
                    </a:lnTo>
                    <a:lnTo>
                      <a:pt x="606" y="228"/>
                    </a:lnTo>
                    <a:lnTo>
                      <a:pt x="600" y="234"/>
                    </a:lnTo>
                    <a:lnTo>
                      <a:pt x="606" y="240"/>
                    </a:lnTo>
                    <a:lnTo>
                      <a:pt x="606" y="246"/>
                    </a:lnTo>
                    <a:lnTo>
                      <a:pt x="606" y="252"/>
                    </a:lnTo>
                    <a:lnTo>
                      <a:pt x="558" y="258"/>
                    </a:lnTo>
                    <a:lnTo>
                      <a:pt x="558" y="264"/>
                    </a:lnTo>
                    <a:lnTo>
                      <a:pt x="558" y="270"/>
                    </a:lnTo>
                    <a:lnTo>
                      <a:pt x="552" y="276"/>
                    </a:lnTo>
                    <a:lnTo>
                      <a:pt x="552" y="282"/>
                    </a:lnTo>
                    <a:lnTo>
                      <a:pt x="552" y="288"/>
                    </a:lnTo>
                    <a:lnTo>
                      <a:pt x="558" y="288"/>
                    </a:lnTo>
                    <a:lnTo>
                      <a:pt x="564" y="294"/>
                    </a:lnTo>
                    <a:lnTo>
                      <a:pt x="564" y="300"/>
                    </a:lnTo>
                    <a:lnTo>
                      <a:pt x="558" y="300"/>
                    </a:lnTo>
                    <a:lnTo>
                      <a:pt x="552" y="300"/>
                    </a:lnTo>
                    <a:lnTo>
                      <a:pt x="546" y="300"/>
                    </a:lnTo>
                    <a:lnTo>
                      <a:pt x="534" y="306"/>
                    </a:lnTo>
                    <a:lnTo>
                      <a:pt x="528" y="312"/>
                    </a:lnTo>
                    <a:lnTo>
                      <a:pt x="516" y="312"/>
                    </a:lnTo>
                    <a:lnTo>
                      <a:pt x="498" y="312"/>
                    </a:lnTo>
                    <a:lnTo>
                      <a:pt x="492" y="318"/>
                    </a:lnTo>
                    <a:lnTo>
                      <a:pt x="480" y="336"/>
                    </a:lnTo>
                    <a:lnTo>
                      <a:pt x="480" y="342"/>
                    </a:lnTo>
                    <a:lnTo>
                      <a:pt x="474" y="354"/>
                    </a:lnTo>
                    <a:lnTo>
                      <a:pt x="450" y="366"/>
                    </a:lnTo>
                    <a:lnTo>
                      <a:pt x="438" y="366"/>
                    </a:lnTo>
                    <a:lnTo>
                      <a:pt x="432" y="366"/>
                    </a:lnTo>
                    <a:lnTo>
                      <a:pt x="420" y="372"/>
                    </a:lnTo>
                    <a:lnTo>
                      <a:pt x="402" y="372"/>
                    </a:lnTo>
                    <a:lnTo>
                      <a:pt x="396" y="372"/>
                    </a:lnTo>
                    <a:lnTo>
                      <a:pt x="390" y="378"/>
                    </a:lnTo>
                    <a:lnTo>
                      <a:pt x="384" y="378"/>
                    </a:lnTo>
                    <a:lnTo>
                      <a:pt x="378" y="378"/>
                    </a:lnTo>
                    <a:lnTo>
                      <a:pt x="366" y="378"/>
                    </a:lnTo>
                    <a:lnTo>
                      <a:pt x="360" y="378"/>
                    </a:lnTo>
                    <a:lnTo>
                      <a:pt x="348" y="378"/>
                    </a:lnTo>
                    <a:lnTo>
                      <a:pt x="336" y="390"/>
                    </a:lnTo>
                    <a:lnTo>
                      <a:pt x="324" y="390"/>
                    </a:lnTo>
                    <a:lnTo>
                      <a:pt x="324" y="396"/>
                    </a:lnTo>
                    <a:lnTo>
                      <a:pt x="318" y="396"/>
                    </a:lnTo>
                    <a:lnTo>
                      <a:pt x="306" y="408"/>
                    </a:lnTo>
                    <a:lnTo>
                      <a:pt x="300" y="414"/>
                    </a:lnTo>
                    <a:lnTo>
                      <a:pt x="282" y="420"/>
                    </a:lnTo>
                    <a:lnTo>
                      <a:pt x="282" y="426"/>
                    </a:lnTo>
                    <a:lnTo>
                      <a:pt x="264" y="432"/>
                    </a:lnTo>
                    <a:lnTo>
                      <a:pt x="264" y="492"/>
                    </a:lnTo>
                    <a:lnTo>
                      <a:pt x="0" y="492"/>
                    </a:lnTo>
                    <a:close/>
                  </a:path>
                </a:pathLst>
              </a:custGeom>
              <a:noFill/>
              <a:ln w="6350" cmpd="sng">
                <a:solidFill>
                  <a:schemeClr val="bg1"/>
                </a:solidFill>
                <a:round/>
                <a:headEnd/>
                <a:tailEnd/>
              </a:ln>
              <a:effectLst/>
            </p:spPr>
            <p:txBody>
              <a:bodyPr vert="horz" wrap="square" lIns="91438" tIns="45719" rIns="91438" bIns="45719" numCol="1" anchor="t" anchorCtr="0" compatLnSpc="1">
                <a:prstTxWarp prst="textNoShape">
                  <a:avLst/>
                </a:prstTxWarp>
              </a:bodyPr>
              <a:lstStyle/>
              <a:p>
                <a:pPr defTabSz="829544">
                  <a:lnSpc>
                    <a:spcPts val="1633"/>
                  </a:lnSpc>
                  <a:buClr>
                    <a:srgbClr val="000000"/>
                  </a:buClr>
                </a:pPr>
                <a:endParaRPr lang="en-US" sz="1452" kern="0">
                  <a:solidFill>
                    <a:srgbClr val="000000"/>
                  </a:solidFill>
                  <a:latin typeface="Calibri" panose="020F0502020204030204"/>
                  <a:cs typeface="Arial"/>
                  <a:sym typeface="Arial"/>
                </a:endParaRPr>
              </a:p>
            </p:txBody>
          </p:sp>
        </p:grpSp>
      </p:grpSp>
      <p:grpSp>
        <p:nvGrpSpPr>
          <p:cNvPr id="32" name="Group 31">
            <a:extLst>
              <a:ext uri="{FF2B5EF4-FFF2-40B4-BE49-F238E27FC236}">
                <a16:creationId xmlns:a16="http://schemas.microsoft.com/office/drawing/2014/main" id="{36574DEA-07CE-36EC-9630-8524FD110C2E}"/>
              </a:ext>
            </a:extLst>
          </p:cNvPr>
          <p:cNvGrpSpPr/>
          <p:nvPr/>
        </p:nvGrpSpPr>
        <p:grpSpPr>
          <a:xfrm>
            <a:off x="778405" y="5424615"/>
            <a:ext cx="3097524" cy="582571"/>
            <a:chOff x="803725" y="5928057"/>
            <a:chExt cx="3414536" cy="642193"/>
          </a:xfrm>
        </p:grpSpPr>
        <p:sp>
          <p:nvSpPr>
            <p:cNvPr id="39" name="Google Shape;562;p30">
              <a:extLst>
                <a:ext uri="{FF2B5EF4-FFF2-40B4-BE49-F238E27FC236}">
                  <a16:creationId xmlns:a16="http://schemas.microsoft.com/office/drawing/2014/main" id="{2A7013BA-0A2D-A4DA-82DC-24805E241672}"/>
                </a:ext>
              </a:extLst>
            </p:cNvPr>
            <p:cNvSpPr txBox="1"/>
            <p:nvPr/>
          </p:nvSpPr>
          <p:spPr>
            <a:xfrm>
              <a:off x="1437182" y="5928057"/>
              <a:ext cx="2781079" cy="642193"/>
            </a:xfrm>
            <a:prstGeom prst="rect">
              <a:avLst/>
            </a:prstGeom>
            <a:noFill/>
            <a:ln>
              <a:noFill/>
            </a:ln>
          </p:spPr>
          <p:txBody>
            <a:bodyPr spcFirstLastPara="1" vert="horz" wrap="square" lIns="0" tIns="0" rIns="0" bIns="0" anchor="t" anchorCtr="0">
              <a:noAutofit/>
            </a:bodyPr>
            <a:lstStyle/>
            <a:p>
              <a:pPr defTabSz="829544">
                <a:lnSpc>
                  <a:spcPts val="1633"/>
                </a:lnSpc>
                <a:buClr>
                  <a:srgbClr val="000000"/>
                </a:buClr>
              </a:pPr>
              <a:r>
                <a:rPr lang="en-US" sz="1452" kern="0" dirty="0">
                  <a:solidFill>
                    <a:srgbClr val="444444"/>
                  </a:solidFill>
                  <a:latin typeface="Calibri" panose="020F0502020204030204"/>
                  <a:ea typeface="Calibri"/>
                  <a:cs typeface="Calibri"/>
                  <a:sym typeface="Calibri"/>
                </a:rPr>
                <a:t>Create a database with the data collected daily to avoid bias of unsold items</a:t>
              </a:r>
              <a:endParaRPr lang="en-US" sz="1452" kern="0" dirty="0">
                <a:solidFill>
                  <a:srgbClr val="000000"/>
                </a:solidFill>
                <a:latin typeface="Calibri" panose="020F0502020204030204"/>
                <a:ea typeface="Calibri"/>
                <a:cs typeface="Calibri"/>
                <a:sym typeface="Calibri"/>
              </a:endParaRPr>
            </a:p>
          </p:txBody>
        </p:sp>
        <p:grpSp>
          <p:nvGrpSpPr>
            <p:cNvPr id="179" name="Group 178">
              <a:extLst>
                <a:ext uri="{FF2B5EF4-FFF2-40B4-BE49-F238E27FC236}">
                  <a16:creationId xmlns:a16="http://schemas.microsoft.com/office/drawing/2014/main" id="{C46A55DE-BCF2-04E6-05C7-2EE14B93F4E0}"/>
                </a:ext>
              </a:extLst>
            </p:cNvPr>
            <p:cNvGrpSpPr/>
            <p:nvPr/>
          </p:nvGrpSpPr>
          <p:grpSpPr>
            <a:xfrm>
              <a:off x="803725" y="5928057"/>
              <a:ext cx="503992" cy="503992"/>
              <a:chOff x="803725" y="5691182"/>
              <a:chExt cx="503992" cy="503992"/>
            </a:xfrm>
          </p:grpSpPr>
          <p:sp>
            <p:nvSpPr>
              <p:cNvPr id="41" name="Google Shape;557;p30">
                <a:extLst>
                  <a:ext uri="{FF2B5EF4-FFF2-40B4-BE49-F238E27FC236}">
                    <a16:creationId xmlns:a16="http://schemas.microsoft.com/office/drawing/2014/main" id="{A8CAE4E5-54A4-E896-179A-92FB21D23C82}"/>
                  </a:ext>
                </a:extLst>
              </p:cNvPr>
              <p:cNvSpPr/>
              <p:nvPr/>
            </p:nvSpPr>
            <p:spPr>
              <a:xfrm>
                <a:off x="803725" y="5691182"/>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lnSpc>
                    <a:spcPts val="1633"/>
                  </a:lnSpc>
                  <a:buClr>
                    <a:srgbClr val="000000"/>
                  </a:buClr>
                </a:pPr>
                <a:endParaRPr sz="1452" kern="0">
                  <a:solidFill>
                    <a:srgbClr val="FFFFFF"/>
                  </a:solidFill>
                  <a:latin typeface="Calibri" panose="020F0502020204030204"/>
                  <a:ea typeface="Calibri"/>
                  <a:cs typeface="Calibri"/>
                  <a:sym typeface="Calibri"/>
                </a:endParaRPr>
              </a:p>
            </p:txBody>
          </p:sp>
          <p:pic>
            <p:nvPicPr>
              <p:cNvPr id="178" name="Graphic 177">
                <a:extLst>
                  <a:ext uri="{FF2B5EF4-FFF2-40B4-BE49-F238E27FC236}">
                    <a16:creationId xmlns:a16="http://schemas.microsoft.com/office/drawing/2014/main" id="{08B11E22-383D-60DA-111A-706DDE30D1D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6475" y="5805420"/>
                <a:ext cx="338492" cy="275516"/>
              </a:xfrm>
              <a:prstGeom prst="rect">
                <a:avLst/>
              </a:prstGeom>
            </p:spPr>
          </p:pic>
        </p:grpSp>
      </p:grpSp>
      <p:sp>
        <p:nvSpPr>
          <p:cNvPr id="2" name="Google Shape;541;p30">
            <a:extLst>
              <a:ext uri="{FF2B5EF4-FFF2-40B4-BE49-F238E27FC236}">
                <a16:creationId xmlns:a16="http://schemas.microsoft.com/office/drawing/2014/main" id="{70B35DA0-55F3-97D3-61F0-F24C0C1B7488}"/>
              </a:ext>
            </a:extLst>
          </p:cNvPr>
          <p:cNvSpPr txBox="1"/>
          <p:nvPr/>
        </p:nvSpPr>
        <p:spPr>
          <a:xfrm>
            <a:off x="8998252" y="1901065"/>
            <a:ext cx="1710125"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Outcome</a:t>
            </a:r>
            <a:endParaRPr sz="2177" b="1" kern="0" dirty="0">
              <a:solidFill>
                <a:srgbClr val="000000"/>
              </a:solidFill>
              <a:latin typeface="Calibri" panose="020F0502020204030204"/>
              <a:cs typeface="Arial"/>
              <a:sym typeface="Arial"/>
            </a:endParaRPr>
          </a:p>
        </p:txBody>
      </p:sp>
      <p:sp>
        <p:nvSpPr>
          <p:cNvPr id="3" name="Google Shape;546;p30">
            <a:extLst>
              <a:ext uri="{FF2B5EF4-FFF2-40B4-BE49-F238E27FC236}">
                <a16:creationId xmlns:a16="http://schemas.microsoft.com/office/drawing/2014/main" id="{926F6433-AADB-48C1-48E3-3991E5BEA5CA}"/>
              </a:ext>
            </a:extLst>
          </p:cNvPr>
          <p:cNvSpPr txBox="1"/>
          <p:nvPr/>
        </p:nvSpPr>
        <p:spPr>
          <a:xfrm>
            <a:off x="1218392" y="1901065"/>
            <a:ext cx="2217549"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Client Challenge</a:t>
            </a:r>
            <a:endParaRPr sz="2177" b="1" kern="0" dirty="0">
              <a:solidFill>
                <a:srgbClr val="000000"/>
              </a:solidFill>
              <a:latin typeface="Calibri" panose="020F0502020204030204"/>
              <a:cs typeface="Arial"/>
              <a:sym typeface="Arial"/>
            </a:endParaRPr>
          </a:p>
        </p:txBody>
      </p:sp>
      <p:sp>
        <p:nvSpPr>
          <p:cNvPr id="31" name="Google Shape;567;p30">
            <a:extLst>
              <a:ext uri="{FF2B5EF4-FFF2-40B4-BE49-F238E27FC236}">
                <a16:creationId xmlns:a16="http://schemas.microsoft.com/office/drawing/2014/main" id="{93FF24BB-A9B2-328E-48EA-F20777E72020}"/>
              </a:ext>
            </a:extLst>
          </p:cNvPr>
          <p:cNvSpPr txBox="1"/>
          <p:nvPr/>
        </p:nvSpPr>
        <p:spPr>
          <a:xfrm>
            <a:off x="5210232" y="1901065"/>
            <a:ext cx="1760015"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Our Solution</a:t>
            </a:r>
            <a:endParaRPr sz="2177" b="1" kern="0" dirty="0">
              <a:solidFill>
                <a:srgbClr val="000000"/>
              </a:solidFill>
              <a:latin typeface="Calibri" panose="020F0502020204030204"/>
              <a:cs typeface="Arial"/>
              <a:sym typeface="Arial"/>
            </a:endParaRPr>
          </a:p>
        </p:txBody>
      </p:sp>
      <p:cxnSp>
        <p:nvCxnSpPr>
          <p:cNvPr id="35" name="Straight Connector 34">
            <a:extLst>
              <a:ext uri="{FF2B5EF4-FFF2-40B4-BE49-F238E27FC236}">
                <a16:creationId xmlns:a16="http://schemas.microsoft.com/office/drawing/2014/main" id="{10F44A0B-44A7-0066-B0BB-AFADDD7A462A}"/>
              </a:ext>
            </a:extLst>
          </p:cNvPr>
          <p:cNvCxnSpPr/>
          <p:nvPr/>
        </p:nvCxnSpPr>
        <p:spPr>
          <a:xfrm>
            <a:off x="694094" y="5333599"/>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5593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C3D5D9-A4E4-2A8B-3312-A86545505D4B}"/>
              </a:ext>
            </a:extLst>
          </p:cNvPr>
          <p:cNvGraphicFramePr>
            <a:graphicFrameLocks noChangeAspect="1"/>
          </p:cNvGraphicFramePr>
          <p:nvPr>
            <p:custDataLst>
              <p:tags r:id="rId1"/>
            </p:custDataLst>
            <p:extLst>
              <p:ext uri="{D42A27DB-BD31-4B8C-83A1-F6EECF244321}">
                <p14:modId xmlns:p14="http://schemas.microsoft.com/office/powerpoint/2010/main" val="2068387244"/>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ABC3D5D9-A4E4-2A8B-3312-A86545505D4B}"/>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D1271DD5-0E2F-2673-6E5B-1C0B00F1F0CB}"/>
              </a:ext>
            </a:extLst>
          </p:cNvPr>
          <p:cNvGrpSpPr/>
          <p:nvPr/>
        </p:nvGrpSpPr>
        <p:grpSpPr>
          <a:xfrm>
            <a:off x="6312738" y="1627210"/>
            <a:ext cx="3701902" cy="2232105"/>
            <a:chOff x="1329003" y="3864105"/>
            <a:chExt cx="4080768" cy="2460547"/>
          </a:xfrm>
        </p:grpSpPr>
        <p:sp>
          <p:nvSpPr>
            <p:cNvPr id="37" name="Freeform: Shape 36">
              <a:extLst>
                <a:ext uri="{FF2B5EF4-FFF2-40B4-BE49-F238E27FC236}">
                  <a16:creationId xmlns:a16="http://schemas.microsoft.com/office/drawing/2014/main" id="{C52E9759-5FBD-19F5-097F-8A5010656DEC}"/>
                </a:ext>
              </a:extLst>
            </p:cNvPr>
            <p:cNvSpPr/>
            <p:nvPr/>
          </p:nvSpPr>
          <p:spPr>
            <a:xfrm>
              <a:off x="1650498" y="3935972"/>
              <a:ext cx="3437725" cy="2259434"/>
            </a:xfrm>
            <a:custGeom>
              <a:avLst/>
              <a:gdLst>
                <a:gd name="connsiteX0" fmla="*/ 123909 w 3437725"/>
                <a:gd name="connsiteY0" fmla="*/ 2259371 h 2259434"/>
                <a:gd name="connsiteX1" fmla="*/ 0 w 3437725"/>
                <a:gd name="connsiteY1" fmla="*/ 2195620 h 2259434"/>
                <a:gd name="connsiteX2" fmla="*/ 0 w 3437725"/>
                <a:gd name="connsiteY2" fmla="*/ 123909 h 2259434"/>
                <a:gd name="connsiteX3" fmla="*/ 123909 w 3437725"/>
                <a:gd name="connsiteY3" fmla="*/ 0 h 2259434"/>
                <a:gd name="connsiteX4" fmla="*/ 3313817 w 3437725"/>
                <a:gd name="connsiteY4" fmla="*/ 0 h 2259434"/>
                <a:gd name="connsiteX5" fmla="*/ 3437725 w 3437725"/>
                <a:gd name="connsiteY5" fmla="*/ 123909 h 2259434"/>
                <a:gd name="connsiteX6" fmla="*/ 3437725 w 3437725"/>
                <a:gd name="connsiteY6" fmla="*/ 2195620 h 2259434"/>
                <a:gd name="connsiteX7" fmla="*/ 3313817 w 3437725"/>
                <a:gd name="connsiteY7" fmla="*/ 2259371 h 2259434"/>
                <a:gd name="connsiteX8" fmla="*/ 123909 w 3437725"/>
                <a:gd name="connsiteY8" fmla="*/ 2259371 h 2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7725" h="2259434">
                  <a:moveTo>
                    <a:pt x="123909" y="2259371"/>
                  </a:moveTo>
                  <a:cubicBezTo>
                    <a:pt x="55579" y="2259371"/>
                    <a:pt x="0" y="2263950"/>
                    <a:pt x="0" y="2195620"/>
                  </a:cubicBezTo>
                  <a:lnTo>
                    <a:pt x="0" y="123909"/>
                  </a:lnTo>
                  <a:cubicBezTo>
                    <a:pt x="0" y="55579"/>
                    <a:pt x="55579" y="0"/>
                    <a:pt x="123909" y="0"/>
                  </a:cubicBezTo>
                  <a:lnTo>
                    <a:pt x="3313817" y="0"/>
                  </a:lnTo>
                  <a:cubicBezTo>
                    <a:pt x="3382146" y="0"/>
                    <a:pt x="3437725" y="55579"/>
                    <a:pt x="3437725" y="123909"/>
                  </a:cubicBezTo>
                  <a:lnTo>
                    <a:pt x="3437725" y="2195620"/>
                  </a:lnTo>
                  <a:cubicBezTo>
                    <a:pt x="3437725" y="2263950"/>
                    <a:pt x="3382146" y="2259371"/>
                    <a:pt x="3313817" y="2259371"/>
                  </a:cubicBezTo>
                  <a:lnTo>
                    <a:pt x="123909" y="2259371"/>
                  </a:lnTo>
                  <a:close/>
                </a:path>
              </a:pathLst>
            </a:custGeom>
            <a:gradFill>
              <a:gsLst>
                <a:gs pos="0">
                  <a:srgbClr val="E6E6E6"/>
                </a:gs>
                <a:gs pos="36000">
                  <a:srgbClr val="4D4D4D"/>
                </a:gs>
                <a:gs pos="56000">
                  <a:srgbClr val="CCCCCC"/>
                </a:gs>
                <a:gs pos="76000">
                  <a:srgbClr val="575757"/>
                </a:gs>
                <a:gs pos="100000">
                  <a:srgbClr val="919191"/>
                </a:gs>
              </a:gsLst>
              <a:lin ang="0" scaled="1"/>
            </a:gradFill>
            <a:ln w="2742" cap="flat">
              <a:noFill/>
              <a:prstDash val="solid"/>
              <a:miter/>
            </a:ln>
          </p:spPr>
          <p:txBody>
            <a:bodyPr rtlCol="0" anchor="ctr"/>
            <a:lstStyle/>
            <a:p>
              <a:endParaRPr lang="en-US" sz="1633"/>
            </a:p>
          </p:txBody>
        </p:sp>
        <p:sp>
          <p:nvSpPr>
            <p:cNvPr id="38" name="Freeform: Shape 37">
              <a:extLst>
                <a:ext uri="{FF2B5EF4-FFF2-40B4-BE49-F238E27FC236}">
                  <a16:creationId xmlns:a16="http://schemas.microsoft.com/office/drawing/2014/main" id="{999457D6-5F23-A440-FA71-F5DA1695B05F}"/>
                </a:ext>
              </a:extLst>
            </p:cNvPr>
            <p:cNvSpPr/>
            <p:nvPr/>
          </p:nvSpPr>
          <p:spPr>
            <a:xfrm>
              <a:off x="1650498" y="3935972"/>
              <a:ext cx="3437725" cy="2259434"/>
            </a:xfrm>
            <a:custGeom>
              <a:avLst/>
              <a:gdLst>
                <a:gd name="connsiteX0" fmla="*/ 123909 w 3437725"/>
                <a:gd name="connsiteY0" fmla="*/ 2259371 h 2259434"/>
                <a:gd name="connsiteX1" fmla="*/ 0 w 3437725"/>
                <a:gd name="connsiteY1" fmla="*/ 2195620 h 2259434"/>
                <a:gd name="connsiteX2" fmla="*/ 0 w 3437725"/>
                <a:gd name="connsiteY2" fmla="*/ 123909 h 2259434"/>
                <a:gd name="connsiteX3" fmla="*/ 123909 w 3437725"/>
                <a:gd name="connsiteY3" fmla="*/ 0 h 2259434"/>
                <a:gd name="connsiteX4" fmla="*/ 3313817 w 3437725"/>
                <a:gd name="connsiteY4" fmla="*/ 0 h 2259434"/>
                <a:gd name="connsiteX5" fmla="*/ 3437725 w 3437725"/>
                <a:gd name="connsiteY5" fmla="*/ 123909 h 2259434"/>
                <a:gd name="connsiteX6" fmla="*/ 3437725 w 3437725"/>
                <a:gd name="connsiteY6" fmla="*/ 2195620 h 2259434"/>
                <a:gd name="connsiteX7" fmla="*/ 3313817 w 3437725"/>
                <a:gd name="connsiteY7" fmla="*/ 2259371 h 2259434"/>
                <a:gd name="connsiteX8" fmla="*/ 123909 w 3437725"/>
                <a:gd name="connsiteY8" fmla="*/ 2259371 h 2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7725" h="2259434">
                  <a:moveTo>
                    <a:pt x="123909" y="2259371"/>
                  </a:moveTo>
                  <a:cubicBezTo>
                    <a:pt x="55579" y="2259371"/>
                    <a:pt x="0" y="2263950"/>
                    <a:pt x="0" y="2195620"/>
                  </a:cubicBezTo>
                  <a:lnTo>
                    <a:pt x="0" y="123909"/>
                  </a:lnTo>
                  <a:cubicBezTo>
                    <a:pt x="0" y="55579"/>
                    <a:pt x="55579" y="0"/>
                    <a:pt x="123909" y="0"/>
                  </a:cubicBezTo>
                  <a:lnTo>
                    <a:pt x="3313817" y="0"/>
                  </a:lnTo>
                  <a:cubicBezTo>
                    <a:pt x="3382146" y="0"/>
                    <a:pt x="3437725" y="55579"/>
                    <a:pt x="3437725" y="123909"/>
                  </a:cubicBezTo>
                  <a:lnTo>
                    <a:pt x="3437725" y="2195620"/>
                  </a:lnTo>
                  <a:cubicBezTo>
                    <a:pt x="3437725" y="2263950"/>
                    <a:pt x="3382146" y="2259371"/>
                    <a:pt x="3313817" y="2259371"/>
                  </a:cubicBezTo>
                  <a:lnTo>
                    <a:pt x="123909" y="2259371"/>
                  </a:lnTo>
                  <a:close/>
                </a:path>
              </a:pathLst>
            </a:custGeom>
            <a:solidFill>
              <a:srgbClr val="000000"/>
            </a:solidFill>
            <a:ln w="2742" cap="flat">
              <a:noFill/>
              <a:prstDash val="solid"/>
              <a:miter/>
            </a:ln>
          </p:spPr>
          <p:txBody>
            <a:bodyPr rtlCol="0" anchor="ctr"/>
            <a:lstStyle/>
            <a:p>
              <a:endParaRPr lang="en-US" sz="1633"/>
            </a:p>
          </p:txBody>
        </p:sp>
        <p:grpSp>
          <p:nvGrpSpPr>
            <p:cNvPr id="40" name="Graphic 2">
              <a:extLst>
                <a:ext uri="{FF2B5EF4-FFF2-40B4-BE49-F238E27FC236}">
                  <a16:creationId xmlns:a16="http://schemas.microsoft.com/office/drawing/2014/main" id="{FF6E914E-B9A0-0339-BF2B-96CA4AEE41A6}"/>
                </a:ext>
              </a:extLst>
            </p:cNvPr>
            <p:cNvGrpSpPr/>
            <p:nvPr/>
          </p:nvGrpSpPr>
          <p:grpSpPr>
            <a:xfrm>
              <a:off x="1655461" y="3940304"/>
              <a:ext cx="3426565" cy="2251885"/>
              <a:chOff x="1655461" y="3940304"/>
              <a:chExt cx="3426565" cy="2251885"/>
            </a:xfrm>
          </p:grpSpPr>
          <p:sp>
            <p:nvSpPr>
              <p:cNvPr id="138" name="Freeform: Shape 137">
                <a:extLst>
                  <a:ext uri="{FF2B5EF4-FFF2-40B4-BE49-F238E27FC236}">
                    <a16:creationId xmlns:a16="http://schemas.microsoft.com/office/drawing/2014/main" id="{0338B6BE-9A68-4041-2E90-296F2F63D172}"/>
                  </a:ext>
                </a:extLst>
              </p:cNvPr>
              <p:cNvSpPr/>
              <p:nvPr/>
            </p:nvSpPr>
            <p:spPr>
              <a:xfrm>
                <a:off x="1678740" y="3940304"/>
                <a:ext cx="3403286" cy="2228359"/>
              </a:xfrm>
              <a:custGeom>
                <a:avLst/>
                <a:gdLst>
                  <a:gd name="connsiteX0" fmla="*/ 3403286 w 3403286"/>
                  <a:gd name="connsiteY0" fmla="*/ 112749 h 2228359"/>
                  <a:gd name="connsiteX1" fmla="*/ 3290565 w 3403286"/>
                  <a:gd name="connsiteY1" fmla="*/ 0 h 2228359"/>
                  <a:gd name="connsiteX2" fmla="*/ 97723 w 3403286"/>
                  <a:gd name="connsiteY2" fmla="*/ 0 h 2228359"/>
                  <a:gd name="connsiteX3" fmla="*/ 0 w 3403286"/>
                  <a:gd name="connsiteY3" fmla="*/ 56567 h 2228359"/>
                  <a:gd name="connsiteX4" fmla="*/ 89497 w 3403286"/>
                  <a:gd name="connsiteY4" fmla="*/ 12366 h 2228359"/>
                  <a:gd name="connsiteX5" fmla="*/ 3282284 w 3403286"/>
                  <a:gd name="connsiteY5" fmla="*/ 12366 h 2228359"/>
                  <a:gd name="connsiteX6" fmla="*/ 3395033 w 3403286"/>
                  <a:gd name="connsiteY6" fmla="*/ 125115 h 2228359"/>
                  <a:gd name="connsiteX7" fmla="*/ 3395033 w 3403286"/>
                  <a:gd name="connsiteY7" fmla="*/ 2198774 h 2228359"/>
                  <a:gd name="connsiteX8" fmla="*/ 3384312 w 3403286"/>
                  <a:gd name="connsiteY8" fmla="*/ 2228359 h 2228359"/>
                  <a:gd name="connsiteX9" fmla="*/ 3403259 w 3403286"/>
                  <a:gd name="connsiteY9" fmla="*/ 2186407 h 2228359"/>
                  <a:gd name="connsiteX10" fmla="*/ 3403259 w 3403286"/>
                  <a:gd name="connsiteY10" fmla="*/ 112749 h 222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3286" h="2228359">
                    <a:moveTo>
                      <a:pt x="3403286" y="112749"/>
                    </a:moveTo>
                    <a:cubicBezTo>
                      <a:pt x="3403286" y="50479"/>
                      <a:pt x="3352807" y="0"/>
                      <a:pt x="3290565" y="0"/>
                    </a:cubicBezTo>
                    <a:lnTo>
                      <a:pt x="97723" y="0"/>
                    </a:lnTo>
                    <a:cubicBezTo>
                      <a:pt x="55908" y="0"/>
                      <a:pt x="19468" y="22786"/>
                      <a:pt x="0" y="56567"/>
                    </a:cubicBezTo>
                    <a:cubicBezTo>
                      <a:pt x="20620" y="29695"/>
                      <a:pt x="53029" y="12366"/>
                      <a:pt x="89497" y="12366"/>
                    </a:cubicBezTo>
                    <a:lnTo>
                      <a:pt x="3282284" y="12366"/>
                    </a:lnTo>
                    <a:cubicBezTo>
                      <a:pt x="3344554" y="12366"/>
                      <a:pt x="3395033" y="62846"/>
                      <a:pt x="3395033" y="125115"/>
                    </a:cubicBezTo>
                    <a:lnTo>
                      <a:pt x="3395033" y="2198774"/>
                    </a:lnTo>
                    <a:cubicBezTo>
                      <a:pt x="3395033" y="2219256"/>
                      <a:pt x="3393854" y="2211825"/>
                      <a:pt x="3384312" y="2228359"/>
                    </a:cubicBezTo>
                    <a:cubicBezTo>
                      <a:pt x="3398872" y="2209357"/>
                      <a:pt x="3403259" y="2212182"/>
                      <a:pt x="3403259" y="2186407"/>
                    </a:cubicBezTo>
                    <a:lnTo>
                      <a:pt x="3403259" y="112749"/>
                    </a:lnTo>
                    <a:close/>
                  </a:path>
                </a:pathLst>
              </a:custGeom>
              <a:gradFill>
                <a:gsLst>
                  <a:gs pos="0">
                    <a:srgbClr val="919191"/>
                  </a:gs>
                  <a:gs pos="17000">
                    <a:srgbClr val="979797"/>
                  </a:gs>
                  <a:gs pos="40000">
                    <a:srgbClr val="A9A9A9"/>
                  </a:gs>
                  <a:gs pos="67000">
                    <a:srgbClr val="C7C7C7"/>
                  </a:gs>
                  <a:gs pos="97000">
                    <a:srgbClr val="EFEFEF"/>
                  </a:gs>
                  <a:gs pos="100000">
                    <a:srgbClr val="F5F5F5"/>
                  </a:gs>
                </a:gsLst>
                <a:lin ang="14099989" scaled="1"/>
              </a:gradFill>
              <a:ln w="2742" cap="flat">
                <a:noFill/>
                <a:prstDash val="solid"/>
                <a:miter/>
              </a:ln>
            </p:spPr>
            <p:txBody>
              <a:bodyPr rtlCol="0" anchor="ctr"/>
              <a:lstStyle/>
              <a:p>
                <a:endParaRPr lang="en-US" sz="1633"/>
              </a:p>
            </p:txBody>
          </p:sp>
          <p:sp>
            <p:nvSpPr>
              <p:cNvPr id="139" name="Freeform: Shape 138">
                <a:extLst>
                  <a:ext uri="{FF2B5EF4-FFF2-40B4-BE49-F238E27FC236}">
                    <a16:creationId xmlns:a16="http://schemas.microsoft.com/office/drawing/2014/main" id="{30CE862C-4C83-8A1E-CF78-A133D144DF3A}"/>
                  </a:ext>
                </a:extLst>
              </p:cNvPr>
              <p:cNvSpPr/>
              <p:nvPr/>
            </p:nvSpPr>
            <p:spPr>
              <a:xfrm>
                <a:off x="1655461" y="3996871"/>
                <a:ext cx="3415487" cy="2195318"/>
              </a:xfrm>
              <a:custGeom>
                <a:avLst/>
                <a:gdLst>
                  <a:gd name="connsiteX0" fmla="*/ 3313816 w 3415487"/>
                  <a:gd name="connsiteY0" fmla="*/ 2182404 h 2195318"/>
                  <a:gd name="connsiteX1" fmla="*/ 121002 w 3415487"/>
                  <a:gd name="connsiteY1" fmla="*/ 2182404 h 2195318"/>
                  <a:gd name="connsiteX2" fmla="*/ 8253 w 3415487"/>
                  <a:gd name="connsiteY2" fmla="*/ 2129841 h 2195318"/>
                  <a:gd name="connsiteX3" fmla="*/ 8253 w 3415487"/>
                  <a:gd name="connsiteY3" fmla="*/ 56183 h 2195318"/>
                  <a:gd name="connsiteX4" fmla="*/ 23252 w 3415487"/>
                  <a:gd name="connsiteY4" fmla="*/ 0 h 2195318"/>
                  <a:gd name="connsiteX5" fmla="*/ 0 w 3415487"/>
                  <a:gd name="connsiteY5" fmla="*/ 68549 h 2195318"/>
                  <a:gd name="connsiteX6" fmla="*/ 0 w 3415487"/>
                  <a:gd name="connsiteY6" fmla="*/ 2142207 h 2195318"/>
                  <a:gd name="connsiteX7" fmla="*/ 112749 w 3415487"/>
                  <a:gd name="connsiteY7" fmla="*/ 2194770 h 2195318"/>
                  <a:gd name="connsiteX8" fmla="*/ 3305536 w 3415487"/>
                  <a:gd name="connsiteY8" fmla="*/ 2194770 h 2195318"/>
                  <a:gd name="connsiteX9" fmla="*/ 3415488 w 3415487"/>
                  <a:gd name="connsiteY9" fmla="*/ 2151502 h 2195318"/>
                  <a:gd name="connsiteX10" fmla="*/ 3313789 w 3415487"/>
                  <a:gd name="connsiteY10" fmla="*/ 2182432 h 219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5487" h="2195318">
                    <a:moveTo>
                      <a:pt x="3313816" y="2182404"/>
                    </a:moveTo>
                    <a:lnTo>
                      <a:pt x="121002" y="2182404"/>
                    </a:lnTo>
                    <a:cubicBezTo>
                      <a:pt x="58733" y="2182404"/>
                      <a:pt x="8253" y="2192111"/>
                      <a:pt x="8253" y="2129841"/>
                    </a:cubicBezTo>
                    <a:lnTo>
                      <a:pt x="8253" y="56183"/>
                    </a:lnTo>
                    <a:cubicBezTo>
                      <a:pt x="8253" y="35728"/>
                      <a:pt x="13737" y="16534"/>
                      <a:pt x="23252" y="0"/>
                    </a:cubicBezTo>
                    <a:cubicBezTo>
                      <a:pt x="8665" y="19002"/>
                      <a:pt x="0" y="42747"/>
                      <a:pt x="0" y="68549"/>
                    </a:cubicBezTo>
                    <a:lnTo>
                      <a:pt x="0" y="2142207"/>
                    </a:lnTo>
                    <a:cubicBezTo>
                      <a:pt x="0" y="2204477"/>
                      <a:pt x="50479" y="2194770"/>
                      <a:pt x="112749" y="2194770"/>
                    </a:cubicBezTo>
                    <a:lnTo>
                      <a:pt x="3305536" y="2194770"/>
                    </a:lnTo>
                    <a:cubicBezTo>
                      <a:pt x="3347350" y="2194770"/>
                      <a:pt x="3396020" y="2185283"/>
                      <a:pt x="3415488" y="2151502"/>
                    </a:cubicBezTo>
                    <a:cubicBezTo>
                      <a:pt x="3394869" y="2178346"/>
                      <a:pt x="3350230" y="2182432"/>
                      <a:pt x="3313789" y="2182432"/>
                    </a:cubicBezTo>
                    <a:close/>
                  </a:path>
                </a:pathLst>
              </a:custGeom>
              <a:gradFill>
                <a:gsLst>
                  <a:gs pos="0">
                    <a:srgbClr val="E6E6E6"/>
                  </a:gs>
                  <a:gs pos="36000">
                    <a:srgbClr val="4D4D4D"/>
                  </a:gs>
                  <a:gs pos="56000">
                    <a:srgbClr val="CCCCCC"/>
                  </a:gs>
                  <a:gs pos="100000">
                    <a:srgbClr val="919191"/>
                  </a:gs>
                </a:gsLst>
                <a:lin ang="14099993" scaled="1"/>
              </a:gradFill>
              <a:ln w="2742" cap="flat">
                <a:noFill/>
                <a:prstDash val="solid"/>
                <a:miter/>
              </a:ln>
            </p:spPr>
            <p:txBody>
              <a:bodyPr rtlCol="0" anchor="ctr"/>
              <a:lstStyle/>
              <a:p>
                <a:endParaRPr lang="en-US" sz="1633"/>
              </a:p>
            </p:txBody>
          </p:sp>
        </p:grpSp>
        <p:grpSp>
          <p:nvGrpSpPr>
            <p:cNvPr id="42" name="Graphic 2">
              <a:extLst>
                <a:ext uri="{FF2B5EF4-FFF2-40B4-BE49-F238E27FC236}">
                  <a16:creationId xmlns:a16="http://schemas.microsoft.com/office/drawing/2014/main" id="{F91F9B77-C4FD-75BB-1D1F-4BD284A6253A}"/>
                </a:ext>
              </a:extLst>
            </p:cNvPr>
            <p:cNvGrpSpPr/>
            <p:nvPr/>
          </p:nvGrpSpPr>
          <p:grpSpPr>
            <a:xfrm>
              <a:off x="1672735" y="3864105"/>
              <a:ext cx="3496677" cy="2460547"/>
              <a:chOff x="1672735" y="3864105"/>
              <a:chExt cx="3496677" cy="2460547"/>
            </a:xfrm>
          </p:grpSpPr>
          <p:sp>
            <p:nvSpPr>
              <p:cNvPr id="136" name="Freeform: Shape 135">
                <a:extLst>
                  <a:ext uri="{FF2B5EF4-FFF2-40B4-BE49-F238E27FC236}">
                    <a16:creationId xmlns:a16="http://schemas.microsoft.com/office/drawing/2014/main" id="{AD87D8F8-4BD3-9E2C-A692-D72DB75B8897}"/>
                  </a:ext>
                </a:extLst>
              </p:cNvPr>
              <p:cNvSpPr/>
              <p:nvPr/>
            </p:nvSpPr>
            <p:spPr>
              <a:xfrm>
                <a:off x="1672735" y="3961801"/>
                <a:ext cx="3393278" cy="2216967"/>
              </a:xfrm>
              <a:custGeom>
                <a:avLst/>
                <a:gdLst>
                  <a:gd name="connsiteX0" fmla="*/ 90759 w 3393278"/>
                  <a:gd name="connsiteY0" fmla="*/ 2207767 h 2216967"/>
                  <a:gd name="connsiteX1" fmla="*/ 0 w 3393278"/>
                  <a:gd name="connsiteY1" fmla="*/ 2177195 h 2216967"/>
                  <a:gd name="connsiteX2" fmla="*/ 0 w 3393278"/>
                  <a:gd name="connsiteY2" fmla="*/ 90759 h 2216967"/>
                  <a:gd name="connsiteX3" fmla="*/ 90759 w 3393278"/>
                  <a:gd name="connsiteY3" fmla="*/ 0 h 2216967"/>
                  <a:gd name="connsiteX4" fmla="*/ 3302520 w 3393278"/>
                  <a:gd name="connsiteY4" fmla="*/ 0 h 2216967"/>
                  <a:gd name="connsiteX5" fmla="*/ 3393278 w 3393278"/>
                  <a:gd name="connsiteY5" fmla="*/ 90759 h 2216967"/>
                  <a:gd name="connsiteX6" fmla="*/ 3393278 w 3393278"/>
                  <a:gd name="connsiteY6" fmla="*/ 2177195 h 2216967"/>
                  <a:gd name="connsiteX7" fmla="*/ 3302931 w 3393278"/>
                  <a:gd name="connsiteY7" fmla="*/ 2215856 h 2216967"/>
                  <a:gd name="connsiteX8" fmla="*/ 90786 w 3393278"/>
                  <a:gd name="connsiteY8" fmla="*/ 2207794 h 2216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278" h="2216967">
                    <a:moveTo>
                      <a:pt x="90759" y="2207767"/>
                    </a:moveTo>
                    <a:cubicBezTo>
                      <a:pt x="40718" y="2207767"/>
                      <a:pt x="0" y="2227235"/>
                      <a:pt x="0" y="2177195"/>
                    </a:cubicBezTo>
                    <a:lnTo>
                      <a:pt x="0" y="90759"/>
                    </a:lnTo>
                    <a:cubicBezTo>
                      <a:pt x="0" y="40718"/>
                      <a:pt x="40718" y="0"/>
                      <a:pt x="90759" y="0"/>
                    </a:cubicBezTo>
                    <a:lnTo>
                      <a:pt x="3302520" y="0"/>
                    </a:lnTo>
                    <a:cubicBezTo>
                      <a:pt x="3352560" y="0"/>
                      <a:pt x="3393278" y="40718"/>
                      <a:pt x="3393278" y="90759"/>
                    </a:cubicBezTo>
                    <a:lnTo>
                      <a:pt x="3393278" y="2177195"/>
                    </a:lnTo>
                    <a:cubicBezTo>
                      <a:pt x="3393278" y="2227235"/>
                      <a:pt x="3352971" y="2215856"/>
                      <a:pt x="3302931" y="2215856"/>
                    </a:cubicBezTo>
                    <a:lnTo>
                      <a:pt x="90786" y="2207794"/>
                    </a:lnTo>
                    <a:close/>
                  </a:path>
                </a:pathLst>
              </a:custGeom>
              <a:solidFill>
                <a:srgbClr val="000000"/>
              </a:solidFill>
              <a:ln w="2742" cap="flat">
                <a:noFill/>
                <a:prstDash val="solid"/>
                <a:miter/>
              </a:ln>
            </p:spPr>
            <p:txBody>
              <a:bodyPr rtlCol="0" anchor="ctr"/>
              <a:lstStyle/>
              <a:p>
                <a:endParaRPr lang="en-US" sz="1633"/>
              </a:p>
            </p:txBody>
          </p:sp>
          <p:sp>
            <p:nvSpPr>
              <p:cNvPr id="137" name="Freeform: Shape 136">
                <a:extLst>
                  <a:ext uri="{FF2B5EF4-FFF2-40B4-BE49-F238E27FC236}">
                    <a16:creationId xmlns:a16="http://schemas.microsoft.com/office/drawing/2014/main" id="{83FCA202-5531-DA05-67A1-D587EB3DF2D5}"/>
                  </a:ext>
                </a:extLst>
              </p:cNvPr>
              <p:cNvSpPr/>
              <p:nvPr/>
            </p:nvSpPr>
            <p:spPr>
              <a:xfrm>
                <a:off x="3175134" y="3864105"/>
                <a:ext cx="1994278" cy="2460547"/>
              </a:xfrm>
              <a:custGeom>
                <a:avLst/>
                <a:gdLst>
                  <a:gd name="connsiteX0" fmla="*/ 1809608 w 1994278"/>
                  <a:gd name="connsiteY0" fmla="*/ 0 h 2460547"/>
                  <a:gd name="connsiteX1" fmla="*/ 0 w 1994278"/>
                  <a:gd name="connsiteY1" fmla="*/ 274 h 2460547"/>
                  <a:gd name="connsiteX2" fmla="*/ 701447 w 1994278"/>
                  <a:gd name="connsiteY2" fmla="*/ 2460548 h 2460547"/>
                  <a:gd name="connsiteX3" fmla="*/ 1809608 w 1994278"/>
                  <a:gd name="connsiteY3" fmla="*/ 2460274 h 2460547"/>
                  <a:gd name="connsiteX4" fmla="*/ 1994278 w 1994278"/>
                  <a:gd name="connsiteY4" fmla="*/ 2303105 h 2460547"/>
                  <a:gd name="connsiteX5" fmla="*/ 1994278 w 1994278"/>
                  <a:gd name="connsiteY5" fmla="*/ 157169 h 2460547"/>
                  <a:gd name="connsiteX6" fmla="*/ 1809608 w 1994278"/>
                  <a:gd name="connsiteY6" fmla="*/ 0 h 246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4278" h="2460547">
                    <a:moveTo>
                      <a:pt x="1809608" y="0"/>
                    </a:moveTo>
                    <a:lnTo>
                      <a:pt x="0" y="274"/>
                    </a:lnTo>
                    <a:lnTo>
                      <a:pt x="701447" y="2460548"/>
                    </a:lnTo>
                    <a:lnTo>
                      <a:pt x="1809608" y="2460274"/>
                    </a:lnTo>
                    <a:cubicBezTo>
                      <a:pt x="1911581" y="2460274"/>
                      <a:pt x="1994278" y="2389888"/>
                      <a:pt x="1994278" y="2303105"/>
                    </a:cubicBezTo>
                    <a:lnTo>
                      <a:pt x="1994278" y="157169"/>
                    </a:lnTo>
                    <a:cubicBezTo>
                      <a:pt x="1994278" y="70358"/>
                      <a:pt x="1911608" y="0"/>
                      <a:pt x="1809608" y="0"/>
                    </a:cubicBezTo>
                    <a:close/>
                  </a:path>
                </a:pathLst>
              </a:custGeom>
              <a:solidFill>
                <a:srgbClr val="FFFFFF">
                  <a:alpha val="5000"/>
                </a:srgbClr>
              </a:solidFill>
              <a:ln w="2742" cap="flat">
                <a:noFill/>
                <a:prstDash val="solid"/>
                <a:miter/>
              </a:ln>
            </p:spPr>
            <p:txBody>
              <a:bodyPr rtlCol="0" anchor="ctr"/>
              <a:lstStyle/>
              <a:p>
                <a:endParaRPr lang="en-US" sz="1633"/>
              </a:p>
            </p:txBody>
          </p:sp>
        </p:grpSp>
        <p:sp>
          <p:nvSpPr>
            <p:cNvPr id="43" name="Freeform: Shape 42">
              <a:extLst>
                <a:ext uri="{FF2B5EF4-FFF2-40B4-BE49-F238E27FC236}">
                  <a16:creationId xmlns:a16="http://schemas.microsoft.com/office/drawing/2014/main" id="{9976B8EB-5E8E-EC8E-04C5-C9A67146192D}"/>
                </a:ext>
              </a:extLst>
            </p:cNvPr>
            <p:cNvSpPr/>
            <p:nvPr/>
          </p:nvSpPr>
          <p:spPr>
            <a:xfrm>
              <a:off x="1672735" y="6067732"/>
              <a:ext cx="3393250" cy="7732"/>
            </a:xfrm>
            <a:custGeom>
              <a:avLst/>
              <a:gdLst>
                <a:gd name="connsiteX0" fmla="*/ 0 w 3393250"/>
                <a:gd name="connsiteY0" fmla="*/ 0 h 7732"/>
                <a:gd name="connsiteX1" fmla="*/ 3393251 w 3393250"/>
                <a:gd name="connsiteY1" fmla="*/ 0 h 7732"/>
                <a:gd name="connsiteX2" fmla="*/ 3393251 w 3393250"/>
                <a:gd name="connsiteY2" fmla="*/ 7732 h 7732"/>
                <a:gd name="connsiteX3" fmla="*/ 0 w 3393250"/>
                <a:gd name="connsiteY3" fmla="*/ 7732 h 7732"/>
              </a:gdLst>
              <a:ahLst/>
              <a:cxnLst>
                <a:cxn ang="0">
                  <a:pos x="connsiteX0" y="connsiteY0"/>
                </a:cxn>
                <a:cxn ang="0">
                  <a:pos x="connsiteX1" y="connsiteY1"/>
                </a:cxn>
                <a:cxn ang="0">
                  <a:pos x="connsiteX2" y="connsiteY2"/>
                </a:cxn>
                <a:cxn ang="0">
                  <a:pos x="connsiteX3" y="connsiteY3"/>
                </a:cxn>
              </a:cxnLst>
              <a:rect l="l" t="t" r="r" b="b"/>
              <a:pathLst>
                <a:path w="3393250" h="7732">
                  <a:moveTo>
                    <a:pt x="0" y="0"/>
                  </a:moveTo>
                  <a:lnTo>
                    <a:pt x="3393251" y="0"/>
                  </a:lnTo>
                  <a:lnTo>
                    <a:pt x="3393251" y="7732"/>
                  </a:lnTo>
                  <a:lnTo>
                    <a:pt x="0" y="7732"/>
                  </a:lnTo>
                  <a:close/>
                </a:path>
              </a:pathLst>
            </a:custGeom>
            <a:solidFill>
              <a:srgbClr val="404041"/>
            </a:solidFill>
            <a:ln w="2742" cap="flat">
              <a:noFill/>
              <a:prstDash val="solid"/>
              <a:miter/>
            </a:ln>
          </p:spPr>
          <p:txBody>
            <a:bodyPr rtlCol="0" anchor="ctr"/>
            <a:lstStyle/>
            <a:p>
              <a:endParaRPr lang="en-US" sz="1633"/>
            </a:p>
          </p:txBody>
        </p:sp>
        <p:grpSp>
          <p:nvGrpSpPr>
            <p:cNvPr id="44" name="Graphic 2">
              <a:extLst>
                <a:ext uri="{FF2B5EF4-FFF2-40B4-BE49-F238E27FC236}">
                  <a16:creationId xmlns:a16="http://schemas.microsoft.com/office/drawing/2014/main" id="{DD7B08EB-D957-4F4A-E8A0-EEAE7D512194}"/>
                </a:ext>
              </a:extLst>
            </p:cNvPr>
            <p:cNvGrpSpPr/>
            <p:nvPr/>
          </p:nvGrpSpPr>
          <p:grpSpPr>
            <a:xfrm>
              <a:off x="3355034" y="3982421"/>
              <a:ext cx="28680" cy="28872"/>
              <a:chOff x="3355034" y="3982421"/>
              <a:chExt cx="28680" cy="28872"/>
            </a:xfrm>
          </p:grpSpPr>
          <p:sp>
            <p:nvSpPr>
              <p:cNvPr id="131" name="Freeform: Shape 130">
                <a:extLst>
                  <a:ext uri="{FF2B5EF4-FFF2-40B4-BE49-F238E27FC236}">
                    <a16:creationId xmlns:a16="http://schemas.microsoft.com/office/drawing/2014/main" id="{D5534CA4-5064-4D10-DF6D-DF3CF9741B71}"/>
                  </a:ext>
                </a:extLst>
              </p:cNvPr>
              <p:cNvSpPr/>
              <p:nvPr/>
            </p:nvSpPr>
            <p:spPr>
              <a:xfrm>
                <a:off x="3355746" y="3983325"/>
                <a:ext cx="27967" cy="27967"/>
              </a:xfrm>
              <a:custGeom>
                <a:avLst/>
                <a:gdLst>
                  <a:gd name="connsiteX0" fmla="*/ 27968 w 27967"/>
                  <a:gd name="connsiteY0" fmla="*/ 13984 h 27967"/>
                  <a:gd name="connsiteX1" fmla="*/ 13984 w 27967"/>
                  <a:gd name="connsiteY1" fmla="*/ 0 h 27967"/>
                  <a:gd name="connsiteX2" fmla="*/ 0 w 27967"/>
                  <a:gd name="connsiteY2" fmla="*/ 13984 h 27967"/>
                  <a:gd name="connsiteX3" fmla="*/ 13984 w 27967"/>
                  <a:gd name="connsiteY3" fmla="*/ 27968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6252"/>
                      <a:pt x="21689" y="0"/>
                      <a:pt x="13984" y="0"/>
                    </a:cubicBezTo>
                    <a:cubicBezTo>
                      <a:pt x="6279" y="0"/>
                      <a:pt x="0" y="6279"/>
                      <a:pt x="0" y="13984"/>
                    </a:cubicBezTo>
                    <a:cubicBezTo>
                      <a:pt x="0" y="21689"/>
                      <a:pt x="6252" y="27968"/>
                      <a:pt x="13984" y="27968"/>
                    </a:cubicBezTo>
                    <a:cubicBezTo>
                      <a:pt x="21716" y="27968"/>
                      <a:pt x="27968" y="21689"/>
                      <a:pt x="27968" y="13984"/>
                    </a:cubicBezTo>
                    <a:close/>
                  </a:path>
                </a:pathLst>
              </a:custGeom>
              <a:solidFill>
                <a:srgbClr val="58595B"/>
              </a:solidFill>
              <a:ln w="2742" cap="flat">
                <a:noFill/>
                <a:prstDash val="solid"/>
                <a:miter/>
              </a:ln>
            </p:spPr>
            <p:txBody>
              <a:bodyPr rtlCol="0" anchor="ctr"/>
              <a:lstStyle/>
              <a:p>
                <a:endParaRPr lang="en-US" sz="1633"/>
              </a:p>
            </p:txBody>
          </p:sp>
          <p:sp>
            <p:nvSpPr>
              <p:cNvPr id="132" name="Freeform: Shape 131">
                <a:extLst>
                  <a:ext uri="{FF2B5EF4-FFF2-40B4-BE49-F238E27FC236}">
                    <a16:creationId xmlns:a16="http://schemas.microsoft.com/office/drawing/2014/main" id="{0A6A1C40-E16B-17C8-06CF-E68889D98024}"/>
                  </a:ext>
                </a:extLst>
              </p:cNvPr>
              <p:cNvSpPr/>
              <p:nvPr/>
            </p:nvSpPr>
            <p:spPr>
              <a:xfrm>
                <a:off x="3355034" y="3982421"/>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8F8F8F"/>
              </a:solidFill>
              <a:ln w="2742" cap="flat">
                <a:noFill/>
                <a:prstDash val="solid"/>
                <a:miter/>
              </a:ln>
            </p:spPr>
            <p:txBody>
              <a:bodyPr rtlCol="0" anchor="ctr"/>
              <a:lstStyle/>
              <a:p>
                <a:endParaRPr lang="en-US" sz="1633"/>
              </a:p>
            </p:txBody>
          </p:sp>
          <p:sp>
            <p:nvSpPr>
              <p:cNvPr id="133" name="Freeform: Shape 132">
                <a:extLst>
                  <a:ext uri="{FF2B5EF4-FFF2-40B4-BE49-F238E27FC236}">
                    <a16:creationId xmlns:a16="http://schemas.microsoft.com/office/drawing/2014/main" id="{4E053C4D-0EC8-2A2A-D01C-E7BAE4C3349C}"/>
                  </a:ext>
                </a:extLst>
              </p:cNvPr>
              <p:cNvSpPr/>
              <p:nvPr/>
            </p:nvSpPr>
            <p:spPr>
              <a:xfrm>
                <a:off x="3357035" y="3984422"/>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231F20"/>
              </a:solidFill>
              <a:ln w="2742" cap="flat">
                <a:noFill/>
                <a:prstDash val="solid"/>
                <a:miter/>
              </a:ln>
            </p:spPr>
            <p:txBody>
              <a:bodyPr rtlCol="0" anchor="ctr"/>
              <a:lstStyle/>
              <a:p>
                <a:endParaRPr lang="en-US" sz="1633"/>
              </a:p>
            </p:txBody>
          </p:sp>
          <p:sp>
            <p:nvSpPr>
              <p:cNvPr id="134" name="Freeform: Shape 133">
                <a:extLst>
                  <a:ext uri="{FF2B5EF4-FFF2-40B4-BE49-F238E27FC236}">
                    <a16:creationId xmlns:a16="http://schemas.microsoft.com/office/drawing/2014/main" id="{1CEDF13D-CF35-3E56-496A-4AD09C07998D}"/>
                  </a:ext>
                </a:extLst>
              </p:cNvPr>
              <p:cNvSpPr/>
              <p:nvPr/>
            </p:nvSpPr>
            <p:spPr>
              <a:xfrm>
                <a:off x="3360874" y="3988261"/>
                <a:ext cx="16287" cy="16287"/>
              </a:xfrm>
              <a:custGeom>
                <a:avLst/>
                <a:gdLst>
                  <a:gd name="connsiteX0" fmla="*/ 16287 w 16287"/>
                  <a:gd name="connsiteY0" fmla="*/ 8144 h 16287"/>
                  <a:gd name="connsiteX1" fmla="*/ 8144 w 16287"/>
                  <a:gd name="connsiteY1" fmla="*/ 16287 h 16287"/>
                  <a:gd name="connsiteX2" fmla="*/ 0 w 16287"/>
                  <a:gd name="connsiteY2" fmla="*/ 8144 h 16287"/>
                  <a:gd name="connsiteX3" fmla="*/ 8144 w 16287"/>
                  <a:gd name="connsiteY3" fmla="*/ 0 h 16287"/>
                  <a:gd name="connsiteX4" fmla="*/ 16287 w 16287"/>
                  <a:gd name="connsiteY4" fmla="*/ 8144 h 1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7" h="16287">
                    <a:moveTo>
                      <a:pt x="16287" y="8144"/>
                    </a:moveTo>
                    <a:cubicBezTo>
                      <a:pt x="16287" y="12641"/>
                      <a:pt x="12641" y="16287"/>
                      <a:pt x="8144" y="16287"/>
                    </a:cubicBezTo>
                    <a:cubicBezTo>
                      <a:pt x="3646" y="16287"/>
                      <a:pt x="0" y="12641"/>
                      <a:pt x="0" y="8144"/>
                    </a:cubicBezTo>
                    <a:cubicBezTo>
                      <a:pt x="0" y="3646"/>
                      <a:pt x="3646" y="0"/>
                      <a:pt x="8144" y="0"/>
                    </a:cubicBezTo>
                    <a:cubicBezTo>
                      <a:pt x="12641" y="0"/>
                      <a:pt x="16287" y="3646"/>
                      <a:pt x="16287" y="8144"/>
                    </a:cubicBezTo>
                    <a:close/>
                  </a:path>
                </a:pathLst>
              </a:custGeom>
              <a:solidFill>
                <a:srgbClr val="454545"/>
              </a:solidFill>
              <a:ln w="2742" cap="flat">
                <a:noFill/>
                <a:prstDash val="solid"/>
                <a:miter/>
              </a:ln>
            </p:spPr>
            <p:txBody>
              <a:bodyPr rtlCol="0" anchor="ctr"/>
              <a:lstStyle/>
              <a:p>
                <a:endParaRPr lang="en-US" sz="1633"/>
              </a:p>
            </p:txBody>
          </p:sp>
          <p:sp>
            <p:nvSpPr>
              <p:cNvPr id="135" name="Freeform: Shape 134">
                <a:extLst>
                  <a:ext uri="{FF2B5EF4-FFF2-40B4-BE49-F238E27FC236}">
                    <a16:creationId xmlns:a16="http://schemas.microsoft.com/office/drawing/2014/main" id="{67886599-77AE-99EF-B8BB-0B2C62F736F8}"/>
                  </a:ext>
                </a:extLst>
              </p:cNvPr>
              <p:cNvSpPr/>
              <p:nvPr/>
            </p:nvSpPr>
            <p:spPr>
              <a:xfrm>
                <a:off x="3366742" y="3994129"/>
                <a:ext cx="4551" cy="4551"/>
              </a:xfrm>
              <a:custGeom>
                <a:avLst/>
                <a:gdLst>
                  <a:gd name="connsiteX0" fmla="*/ 4552 w 4551"/>
                  <a:gd name="connsiteY0" fmla="*/ 2276 h 4551"/>
                  <a:gd name="connsiteX1" fmla="*/ 2276 w 4551"/>
                  <a:gd name="connsiteY1" fmla="*/ 4552 h 4551"/>
                  <a:gd name="connsiteX2" fmla="*/ 0 w 4551"/>
                  <a:gd name="connsiteY2" fmla="*/ 2276 h 4551"/>
                  <a:gd name="connsiteX3" fmla="*/ 2276 w 4551"/>
                  <a:gd name="connsiteY3" fmla="*/ 0 h 4551"/>
                  <a:gd name="connsiteX4" fmla="*/ 4552 w 4551"/>
                  <a:gd name="connsiteY4" fmla="*/ 2276 h 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 h="4551">
                    <a:moveTo>
                      <a:pt x="4552" y="2276"/>
                    </a:moveTo>
                    <a:cubicBezTo>
                      <a:pt x="4552" y="3533"/>
                      <a:pt x="3533" y="4552"/>
                      <a:pt x="2276" y="4552"/>
                    </a:cubicBezTo>
                    <a:cubicBezTo>
                      <a:pt x="1019" y="4552"/>
                      <a:pt x="0" y="3533"/>
                      <a:pt x="0" y="2276"/>
                    </a:cubicBezTo>
                    <a:cubicBezTo>
                      <a:pt x="0" y="1019"/>
                      <a:pt x="1019" y="0"/>
                      <a:pt x="2276" y="0"/>
                    </a:cubicBezTo>
                    <a:cubicBezTo>
                      <a:pt x="3533" y="0"/>
                      <a:pt x="4552" y="1019"/>
                      <a:pt x="4552" y="2276"/>
                    </a:cubicBezTo>
                    <a:close/>
                  </a:path>
                </a:pathLst>
              </a:custGeom>
              <a:solidFill>
                <a:srgbClr val="000000"/>
              </a:solidFill>
              <a:ln w="2742" cap="flat">
                <a:noFill/>
                <a:prstDash val="solid"/>
                <a:miter/>
              </a:ln>
            </p:spPr>
            <p:txBody>
              <a:bodyPr rtlCol="0" anchor="ctr"/>
              <a:lstStyle/>
              <a:p>
                <a:endParaRPr lang="en-US" sz="1633"/>
              </a:p>
            </p:txBody>
          </p:sp>
        </p:grpSp>
        <p:grpSp>
          <p:nvGrpSpPr>
            <p:cNvPr id="45" name="Graphic 2">
              <a:extLst>
                <a:ext uri="{FF2B5EF4-FFF2-40B4-BE49-F238E27FC236}">
                  <a16:creationId xmlns:a16="http://schemas.microsoft.com/office/drawing/2014/main" id="{42CB035A-3E6E-1CF7-B5C2-DBA2EBDF80C8}"/>
                </a:ext>
              </a:extLst>
            </p:cNvPr>
            <p:cNvGrpSpPr/>
            <p:nvPr/>
          </p:nvGrpSpPr>
          <p:grpSpPr>
            <a:xfrm>
              <a:off x="1329003" y="6140915"/>
              <a:ext cx="4080768" cy="99615"/>
              <a:chOff x="1329003" y="6140915"/>
              <a:chExt cx="4080768" cy="99615"/>
            </a:xfrm>
          </p:grpSpPr>
          <p:sp>
            <p:nvSpPr>
              <p:cNvPr id="46" name="Freeform: Shape 45">
                <a:extLst>
                  <a:ext uri="{FF2B5EF4-FFF2-40B4-BE49-F238E27FC236}">
                    <a16:creationId xmlns:a16="http://schemas.microsoft.com/office/drawing/2014/main" id="{0C0CD505-D358-A8D3-E5B1-C5D76E409385}"/>
                  </a:ext>
                </a:extLst>
              </p:cNvPr>
              <p:cNvSpPr/>
              <p:nvPr/>
            </p:nvSpPr>
            <p:spPr>
              <a:xfrm>
                <a:off x="1329003" y="6140915"/>
                <a:ext cx="4080740" cy="48559"/>
              </a:xfrm>
              <a:custGeom>
                <a:avLst/>
                <a:gdLst>
                  <a:gd name="connsiteX0" fmla="*/ 4080741 w 4080740"/>
                  <a:gd name="connsiteY0" fmla="*/ 0 h 48559"/>
                  <a:gd name="connsiteX1" fmla="*/ 2040371 w 4080740"/>
                  <a:gd name="connsiteY1" fmla="*/ 0 h 48559"/>
                  <a:gd name="connsiteX2" fmla="*/ 0 w 4080740"/>
                  <a:gd name="connsiteY2" fmla="*/ 0 h 48559"/>
                  <a:gd name="connsiteX3" fmla="*/ 0 w 4080740"/>
                  <a:gd name="connsiteY3" fmla="*/ 48560 h 48559"/>
                  <a:gd name="connsiteX4" fmla="*/ 4080741 w 4080740"/>
                  <a:gd name="connsiteY4" fmla="*/ 48560 h 48559"/>
                  <a:gd name="connsiteX5" fmla="*/ 4080741 w 4080740"/>
                  <a:gd name="connsiteY5" fmla="*/ 0 h 48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0740" h="48559">
                    <a:moveTo>
                      <a:pt x="4080741" y="0"/>
                    </a:moveTo>
                    <a:lnTo>
                      <a:pt x="2040371" y="0"/>
                    </a:lnTo>
                    <a:lnTo>
                      <a:pt x="0" y="0"/>
                    </a:lnTo>
                    <a:lnTo>
                      <a:pt x="0" y="48560"/>
                    </a:lnTo>
                    <a:lnTo>
                      <a:pt x="4080741" y="48560"/>
                    </a:lnTo>
                    <a:lnTo>
                      <a:pt x="4080741" y="0"/>
                    </a:lnTo>
                    <a:close/>
                  </a:path>
                </a:pathLst>
              </a:custGeom>
              <a:solidFill>
                <a:srgbClr val="000000"/>
              </a:solidFill>
              <a:ln w="2742" cap="flat">
                <a:noFill/>
                <a:prstDash val="solid"/>
                <a:miter/>
              </a:ln>
            </p:spPr>
            <p:txBody>
              <a:bodyPr rtlCol="0" anchor="ctr"/>
              <a:lstStyle/>
              <a:p>
                <a:endParaRPr lang="en-US" sz="1633"/>
              </a:p>
            </p:txBody>
          </p:sp>
          <p:sp>
            <p:nvSpPr>
              <p:cNvPr id="48" name="Freeform: Shape 47">
                <a:extLst>
                  <a:ext uri="{FF2B5EF4-FFF2-40B4-BE49-F238E27FC236}">
                    <a16:creationId xmlns:a16="http://schemas.microsoft.com/office/drawing/2014/main" id="{6B840F8D-B34A-5A8D-7B8C-A186C9C3162A}"/>
                  </a:ext>
                </a:extLst>
              </p:cNvPr>
              <p:cNvSpPr/>
              <p:nvPr/>
            </p:nvSpPr>
            <p:spPr>
              <a:xfrm>
                <a:off x="1329003" y="6189475"/>
                <a:ext cx="4080768" cy="51055"/>
              </a:xfrm>
              <a:custGeom>
                <a:avLst/>
                <a:gdLst>
                  <a:gd name="connsiteX0" fmla="*/ 0 w 4080768"/>
                  <a:gd name="connsiteY0" fmla="*/ 0 h 51055"/>
                  <a:gd name="connsiteX1" fmla="*/ 0 w 4080768"/>
                  <a:gd name="connsiteY1" fmla="*/ 0 h 51055"/>
                  <a:gd name="connsiteX2" fmla="*/ 221385 w 4080768"/>
                  <a:gd name="connsiteY2" fmla="*/ 51001 h 51055"/>
                  <a:gd name="connsiteX3" fmla="*/ 2040398 w 4080768"/>
                  <a:gd name="connsiteY3" fmla="*/ 51055 h 51055"/>
                  <a:gd name="connsiteX4" fmla="*/ 3859383 w 4080768"/>
                  <a:gd name="connsiteY4" fmla="*/ 51001 h 51055"/>
                  <a:gd name="connsiteX5" fmla="*/ 4080769 w 4080768"/>
                  <a:gd name="connsiteY5" fmla="*/ 55 h 51055"/>
                  <a:gd name="connsiteX6" fmla="*/ 4080769 w 4080768"/>
                  <a:gd name="connsiteY6" fmla="*/ 55 h 51055"/>
                  <a:gd name="connsiteX7" fmla="*/ 0 w 4080768"/>
                  <a:gd name="connsiteY7" fmla="*/ 27 h 5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0768" h="51055">
                    <a:moveTo>
                      <a:pt x="0" y="0"/>
                    </a:moveTo>
                    <a:lnTo>
                      <a:pt x="0" y="0"/>
                    </a:lnTo>
                    <a:cubicBezTo>
                      <a:pt x="0" y="0"/>
                      <a:pt x="128269" y="52755"/>
                      <a:pt x="221385" y="51001"/>
                    </a:cubicBezTo>
                    <a:lnTo>
                      <a:pt x="2040398" y="51055"/>
                    </a:lnTo>
                    <a:lnTo>
                      <a:pt x="3859383" y="51001"/>
                    </a:lnTo>
                    <a:cubicBezTo>
                      <a:pt x="3952527" y="52755"/>
                      <a:pt x="4080769" y="55"/>
                      <a:pt x="4080769" y="55"/>
                    </a:cubicBezTo>
                    <a:lnTo>
                      <a:pt x="4080769" y="55"/>
                    </a:lnTo>
                    <a:cubicBezTo>
                      <a:pt x="4080769" y="55"/>
                      <a:pt x="0" y="27"/>
                      <a:pt x="0" y="27"/>
                    </a:cubicBezTo>
                    <a:close/>
                  </a:path>
                </a:pathLst>
              </a:custGeom>
              <a:solidFill>
                <a:srgbClr val="000000"/>
              </a:solidFill>
              <a:ln w="2742" cap="flat">
                <a:noFill/>
                <a:prstDash val="solid"/>
                <a:miter/>
              </a:ln>
            </p:spPr>
            <p:txBody>
              <a:bodyPr rtlCol="0" anchor="ctr"/>
              <a:lstStyle/>
              <a:p>
                <a:endParaRPr lang="en-US" sz="1633"/>
              </a:p>
            </p:txBody>
          </p:sp>
          <p:sp>
            <p:nvSpPr>
              <p:cNvPr id="49" name="Freeform: Shape 48">
                <a:extLst>
                  <a:ext uri="{FF2B5EF4-FFF2-40B4-BE49-F238E27FC236}">
                    <a16:creationId xmlns:a16="http://schemas.microsoft.com/office/drawing/2014/main" id="{A6D4A32E-8D66-4398-1D7E-FE26F35DA66F}"/>
                  </a:ext>
                </a:extLst>
              </p:cNvPr>
              <p:cNvSpPr/>
              <p:nvPr/>
            </p:nvSpPr>
            <p:spPr>
              <a:xfrm>
                <a:off x="5398886" y="6140915"/>
                <a:ext cx="10858" cy="48560"/>
              </a:xfrm>
              <a:custGeom>
                <a:avLst/>
                <a:gdLst>
                  <a:gd name="connsiteX0" fmla="*/ 0 w 10858"/>
                  <a:gd name="connsiteY0" fmla="*/ 0 h 48560"/>
                  <a:gd name="connsiteX1" fmla="*/ 10858 w 10858"/>
                  <a:gd name="connsiteY1" fmla="*/ 0 h 48560"/>
                  <a:gd name="connsiteX2" fmla="*/ 10858 w 10858"/>
                  <a:gd name="connsiteY2" fmla="*/ 48560 h 48560"/>
                  <a:gd name="connsiteX3" fmla="*/ 0 w 10858"/>
                  <a:gd name="connsiteY3" fmla="*/ 48560 h 48560"/>
                </a:gdLst>
                <a:ahLst/>
                <a:cxnLst>
                  <a:cxn ang="0">
                    <a:pos x="connsiteX0" y="connsiteY0"/>
                  </a:cxn>
                  <a:cxn ang="0">
                    <a:pos x="connsiteX1" y="connsiteY1"/>
                  </a:cxn>
                  <a:cxn ang="0">
                    <a:pos x="connsiteX2" y="connsiteY2"/>
                  </a:cxn>
                  <a:cxn ang="0">
                    <a:pos x="connsiteX3" y="connsiteY3"/>
                  </a:cxn>
                </a:cxnLst>
                <a:rect l="l" t="t" r="r" b="b"/>
                <a:pathLst>
                  <a:path w="10858" h="48560">
                    <a:moveTo>
                      <a:pt x="0" y="0"/>
                    </a:moveTo>
                    <a:lnTo>
                      <a:pt x="10858" y="0"/>
                    </a:lnTo>
                    <a:lnTo>
                      <a:pt x="10858" y="48560"/>
                    </a:lnTo>
                    <a:lnTo>
                      <a:pt x="0" y="48560"/>
                    </a:lnTo>
                    <a:close/>
                  </a:path>
                </a:pathLst>
              </a:custGeom>
              <a:solidFill>
                <a:srgbClr val="E6E7E8"/>
              </a:solidFill>
              <a:ln w="2742" cap="flat">
                <a:noFill/>
                <a:prstDash val="solid"/>
                <a:miter/>
              </a:ln>
            </p:spPr>
            <p:txBody>
              <a:bodyPr rtlCol="0" anchor="ctr"/>
              <a:lstStyle/>
              <a:p>
                <a:endParaRPr lang="en-US" sz="1633"/>
              </a:p>
            </p:txBody>
          </p:sp>
          <p:sp>
            <p:nvSpPr>
              <p:cNvPr id="50" name="Freeform: Shape 49">
                <a:extLst>
                  <a:ext uri="{FF2B5EF4-FFF2-40B4-BE49-F238E27FC236}">
                    <a16:creationId xmlns:a16="http://schemas.microsoft.com/office/drawing/2014/main" id="{87C005DB-3273-6BAA-58AC-382C8A80921B}"/>
                  </a:ext>
                </a:extLst>
              </p:cNvPr>
              <p:cNvSpPr/>
              <p:nvPr/>
            </p:nvSpPr>
            <p:spPr>
              <a:xfrm>
                <a:off x="1329278" y="6140915"/>
                <a:ext cx="10858" cy="48560"/>
              </a:xfrm>
              <a:custGeom>
                <a:avLst/>
                <a:gdLst>
                  <a:gd name="connsiteX0" fmla="*/ 0 w 10858"/>
                  <a:gd name="connsiteY0" fmla="*/ 0 h 48560"/>
                  <a:gd name="connsiteX1" fmla="*/ 10858 w 10858"/>
                  <a:gd name="connsiteY1" fmla="*/ 0 h 48560"/>
                  <a:gd name="connsiteX2" fmla="*/ 10858 w 10858"/>
                  <a:gd name="connsiteY2" fmla="*/ 48560 h 48560"/>
                  <a:gd name="connsiteX3" fmla="*/ 0 w 10858"/>
                  <a:gd name="connsiteY3" fmla="*/ 48560 h 48560"/>
                </a:gdLst>
                <a:ahLst/>
                <a:cxnLst>
                  <a:cxn ang="0">
                    <a:pos x="connsiteX0" y="connsiteY0"/>
                  </a:cxn>
                  <a:cxn ang="0">
                    <a:pos x="connsiteX1" y="connsiteY1"/>
                  </a:cxn>
                  <a:cxn ang="0">
                    <a:pos x="connsiteX2" y="connsiteY2"/>
                  </a:cxn>
                  <a:cxn ang="0">
                    <a:pos x="connsiteX3" y="connsiteY3"/>
                  </a:cxn>
                </a:cxnLst>
                <a:rect l="l" t="t" r="r" b="b"/>
                <a:pathLst>
                  <a:path w="10858" h="48560">
                    <a:moveTo>
                      <a:pt x="0" y="0"/>
                    </a:moveTo>
                    <a:lnTo>
                      <a:pt x="10858" y="0"/>
                    </a:lnTo>
                    <a:lnTo>
                      <a:pt x="10858" y="48560"/>
                    </a:lnTo>
                    <a:lnTo>
                      <a:pt x="0" y="48560"/>
                    </a:lnTo>
                    <a:close/>
                  </a:path>
                </a:pathLst>
              </a:custGeom>
              <a:solidFill>
                <a:srgbClr val="E6E7E8"/>
              </a:solidFill>
              <a:ln w="2742" cap="flat">
                <a:noFill/>
                <a:prstDash val="solid"/>
                <a:miter/>
              </a:ln>
            </p:spPr>
            <p:txBody>
              <a:bodyPr rtlCol="0" anchor="ctr"/>
              <a:lstStyle/>
              <a:p>
                <a:endParaRPr lang="en-US" sz="1633"/>
              </a:p>
            </p:txBody>
          </p:sp>
          <p:grpSp>
            <p:nvGrpSpPr>
              <p:cNvPr id="51" name="Graphic 2">
                <a:extLst>
                  <a:ext uri="{FF2B5EF4-FFF2-40B4-BE49-F238E27FC236}">
                    <a16:creationId xmlns:a16="http://schemas.microsoft.com/office/drawing/2014/main" id="{CB92F04D-CF08-5DBA-3BF0-A7780E94BC0D}"/>
                  </a:ext>
                </a:extLst>
              </p:cNvPr>
              <p:cNvGrpSpPr/>
              <p:nvPr/>
            </p:nvGrpSpPr>
            <p:grpSpPr>
              <a:xfrm>
                <a:off x="5069961" y="6151663"/>
                <a:ext cx="106223" cy="28872"/>
                <a:chOff x="5069961" y="6151663"/>
                <a:chExt cx="106223" cy="28872"/>
              </a:xfrm>
            </p:grpSpPr>
            <p:grpSp>
              <p:nvGrpSpPr>
                <p:cNvPr id="55" name="Graphic 2">
                  <a:extLst>
                    <a:ext uri="{FF2B5EF4-FFF2-40B4-BE49-F238E27FC236}">
                      <a16:creationId xmlns:a16="http://schemas.microsoft.com/office/drawing/2014/main" id="{533E5410-2D6B-ED24-F733-50E713E119DE}"/>
                    </a:ext>
                  </a:extLst>
                </p:cNvPr>
                <p:cNvGrpSpPr/>
                <p:nvPr/>
              </p:nvGrpSpPr>
              <p:grpSpPr>
                <a:xfrm>
                  <a:off x="5069961" y="6158765"/>
                  <a:ext cx="14559" cy="14669"/>
                  <a:chOff x="5069961" y="6158765"/>
                  <a:chExt cx="14559" cy="14669"/>
                </a:xfrm>
              </p:grpSpPr>
              <p:sp>
                <p:nvSpPr>
                  <p:cNvPr id="128" name="Freeform: Shape 127">
                    <a:extLst>
                      <a:ext uri="{FF2B5EF4-FFF2-40B4-BE49-F238E27FC236}">
                        <a16:creationId xmlns:a16="http://schemas.microsoft.com/office/drawing/2014/main" id="{2869E7A5-4509-BAE7-BC3C-0099993F9337}"/>
                      </a:ext>
                    </a:extLst>
                  </p:cNvPr>
                  <p:cNvSpPr/>
                  <p:nvPr/>
                </p:nvSpPr>
                <p:spPr>
                  <a:xfrm>
                    <a:off x="5070318" y="6159231"/>
                    <a:ext cx="14203" cy="14203"/>
                  </a:xfrm>
                  <a:custGeom>
                    <a:avLst/>
                    <a:gdLst>
                      <a:gd name="connsiteX0" fmla="*/ 14203 w 14203"/>
                      <a:gd name="connsiteY0" fmla="*/ 7102 h 14203"/>
                      <a:gd name="connsiteX1" fmla="*/ 7102 w 14203"/>
                      <a:gd name="connsiteY1" fmla="*/ 0 h 14203"/>
                      <a:gd name="connsiteX2" fmla="*/ 0 w 14203"/>
                      <a:gd name="connsiteY2" fmla="*/ 7102 h 14203"/>
                      <a:gd name="connsiteX3" fmla="*/ 7102 w 14203"/>
                      <a:gd name="connsiteY3" fmla="*/ 14203 h 14203"/>
                      <a:gd name="connsiteX4" fmla="*/ 14203 w 14203"/>
                      <a:gd name="connsiteY4" fmla="*/ 7102 h 1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 h="14203">
                        <a:moveTo>
                          <a:pt x="14203" y="7102"/>
                        </a:moveTo>
                        <a:cubicBezTo>
                          <a:pt x="14203" y="3180"/>
                          <a:pt x="11023" y="0"/>
                          <a:pt x="7102" y="0"/>
                        </a:cubicBezTo>
                        <a:cubicBezTo>
                          <a:pt x="3181" y="0"/>
                          <a:pt x="0" y="3180"/>
                          <a:pt x="0" y="7102"/>
                        </a:cubicBezTo>
                        <a:cubicBezTo>
                          <a:pt x="0" y="11022"/>
                          <a:pt x="3181" y="14203"/>
                          <a:pt x="7102" y="14203"/>
                        </a:cubicBezTo>
                        <a:cubicBezTo>
                          <a:pt x="11023" y="14203"/>
                          <a:pt x="14203" y="11022"/>
                          <a:pt x="14203" y="7102"/>
                        </a:cubicBezTo>
                        <a:close/>
                      </a:path>
                    </a:pathLst>
                  </a:custGeom>
                  <a:solidFill>
                    <a:srgbClr val="58595B"/>
                  </a:solidFill>
                  <a:ln w="2742" cap="flat">
                    <a:noFill/>
                    <a:prstDash val="solid"/>
                    <a:miter/>
                  </a:ln>
                </p:spPr>
                <p:txBody>
                  <a:bodyPr rtlCol="0" anchor="ctr"/>
                  <a:lstStyle/>
                  <a:p>
                    <a:endParaRPr lang="en-US" sz="1633"/>
                  </a:p>
                </p:txBody>
              </p:sp>
              <p:sp>
                <p:nvSpPr>
                  <p:cNvPr id="129" name="Freeform: Shape 128">
                    <a:extLst>
                      <a:ext uri="{FF2B5EF4-FFF2-40B4-BE49-F238E27FC236}">
                        <a16:creationId xmlns:a16="http://schemas.microsoft.com/office/drawing/2014/main" id="{A9C85360-290E-903E-0BEA-5E6401F1D319}"/>
                      </a:ext>
                    </a:extLst>
                  </p:cNvPr>
                  <p:cNvSpPr/>
                  <p:nvPr/>
                </p:nvSpPr>
                <p:spPr>
                  <a:xfrm>
                    <a:off x="5069961" y="6158765"/>
                    <a:ext cx="14203" cy="14203"/>
                  </a:xfrm>
                  <a:custGeom>
                    <a:avLst/>
                    <a:gdLst>
                      <a:gd name="connsiteX0" fmla="*/ 14203 w 14203"/>
                      <a:gd name="connsiteY0" fmla="*/ 7102 h 14203"/>
                      <a:gd name="connsiteX1" fmla="*/ 7102 w 14203"/>
                      <a:gd name="connsiteY1" fmla="*/ 0 h 14203"/>
                      <a:gd name="connsiteX2" fmla="*/ 0 w 14203"/>
                      <a:gd name="connsiteY2" fmla="*/ 7102 h 14203"/>
                      <a:gd name="connsiteX3" fmla="*/ 7102 w 14203"/>
                      <a:gd name="connsiteY3" fmla="*/ 14203 h 14203"/>
                      <a:gd name="connsiteX4" fmla="*/ 14203 w 14203"/>
                      <a:gd name="connsiteY4" fmla="*/ 7102 h 1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 h="14203">
                        <a:moveTo>
                          <a:pt x="14203" y="7102"/>
                        </a:moveTo>
                        <a:cubicBezTo>
                          <a:pt x="14203" y="3181"/>
                          <a:pt x="11023" y="0"/>
                          <a:pt x="7102" y="0"/>
                        </a:cubicBezTo>
                        <a:cubicBezTo>
                          <a:pt x="3181" y="0"/>
                          <a:pt x="0" y="3181"/>
                          <a:pt x="0" y="7102"/>
                        </a:cubicBezTo>
                        <a:cubicBezTo>
                          <a:pt x="0" y="11023"/>
                          <a:pt x="3181" y="14203"/>
                          <a:pt x="7102" y="14203"/>
                        </a:cubicBezTo>
                        <a:cubicBezTo>
                          <a:pt x="11023" y="14203"/>
                          <a:pt x="14203" y="11023"/>
                          <a:pt x="14203" y="7102"/>
                        </a:cubicBezTo>
                        <a:close/>
                      </a:path>
                    </a:pathLst>
                  </a:custGeom>
                  <a:solidFill>
                    <a:srgbClr val="BCBEC0"/>
                  </a:solidFill>
                  <a:ln w="2742" cap="flat">
                    <a:noFill/>
                    <a:prstDash val="solid"/>
                    <a:miter/>
                  </a:ln>
                </p:spPr>
                <p:txBody>
                  <a:bodyPr rtlCol="0" anchor="ctr"/>
                  <a:lstStyle/>
                  <a:p>
                    <a:endParaRPr lang="en-US" sz="1633"/>
                  </a:p>
                </p:txBody>
              </p:sp>
              <p:sp>
                <p:nvSpPr>
                  <p:cNvPr id="130" name="Freeform: Shape 129">
                    <a:extLst>
                      <a:ext uri="{FF2B5EF4-FFF2-40B4-BE49-F238E27FC236}">
                        <a16:creationId xmlns:a16="http://schemas.microsoft.com/office/drawing/2014/main" id="{63E11238-2F57-0AAE-A535-1F5EF95EE78B}"/>
                      </a:ext>
                    </a:extLst>
                  </p:cNvPr>
                  <p:cNvSpPr/>
                  <p:nvPr/>
                </p:nvSpPr>
                <p:spPr>
                  <a:xfrm>
                    <a:off x="5070976" y="6159779"/>
                    <a:ext cx="12174" cy="12174"/>
                  </a:xfrm>
                  <a:custGeom>
                    <a:avLst/>
                    <a:gdLst>
                      <a:gd name="connsiteX0" fmla="*/ 12174 w 12174"/>
                      <a:gd name="connsiteY0" fmla="*/ 6087 h 12174"/>
                      <a:gd name="connsiteX1" fmla="*/ 6087 w 12174"/>
                      <a:gd name="connsiteY1" fmla="*/ 0 h 12174"/>
                      <a:gd name="connsiteX2" fmla="*/ 0 w 12174"/>
                      <a:gd name="connsiteY2" fmla="*/ 6087 h 12174"/>
                      <a:gd name="connsiteX3" fmla="*/ 6087 w 12174"/>
                      <a:gd name="connsiteY3" fmla="*/ 12174 h 12174"/>
                      <a:gd name="connsiteX4" fmla="*/ 12174 w 12174"/>
                      <a:gd name="connsiteY4" fmla="*/ 6087 h 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4" h="12174">
                        <a:moveTo>
                          <a:pt x="12174" y="6087"/>
                        </a:moveTo>
                        <a:cubicBezTo>
                          <a:pt x="12174" y="2742"/>
                          <a:pt x="9460" y="0"/>
                          <a:pt x="6087" y="0"/>
                        </a:cubicBezTo>
                        <a:cubicBezTo>
                          <a:pt x="2715" y="0"/>
                          <a:pt x="0" y="2715"/>
                          <a:pt x="0" y="6087"/>
                        </a:cubicBezTo>
                        <a:cubicBezTo>
                          <a:pt x="0" y="9460"/>
                          <a:pt x="2715" y="12174"/>
                          <a:pt x="6087" y="12174"/>
                        </a:cubicBezTo>
                        <a:cubicBezTo>
                          <a:pt x="9460" y="12174"/>
                          <a:pt x="12174" y="9460"/>
                          <a:pt x="12174" y="6087"/>
                        </a:cubicBezTo>
                        <a:close/>
                      </a:path>
                    </a:pathLst>
                  </a:custGeom>
                  <a:solidFill>
                    <a:srgbClr val="333333"/>
                  </a:solidFill>
                  <a:ln w="2742" cap="flat">
                    <a:noFill/>
                    <a:prstDash val="solid"/>
                    <a:miter/>
                  </a:ln>
                </p:spPr>
                <p:txBody>
                  <a:bodyPr rtlCol="0" anchor="ctr"/>
                  <a:lstStyle/>
                  <a:p>
                    <a:endParaRPr lang="en-US" sz="1633"/>
                  </a:p>
                </p:txBody>
              </p:sp>
            </p:grpSp>
            <p:grpSp>
              <p:nvGrpSpPr>
                <p:cNvPr id="56" name="Graphic 2">
                  <a:extLst>
                    <a:ext uri="{FF2B5EF4-FFF2-40B4-BE49-F238E27FC236}">
                      <a16:creationId xmlns:a16="http://schemas.microsoft.com/office/drawing/2014/main" id="{BA403328-AFF4-1CF9-1640-7D3BF6647E50}"/>
                    </a:ext>
                  </a:extLst>
                </p:cNvPr>
                <p:cNvGrpSpPr/>
                <p:nvPr/>
              </p:nvGrpSpPr>
              <p:grpSpPr>
                <a:xfrm>
                  <a:off x="5105196" y="6151663"/>
                  <a:ext cx="28708" cy="28872"/>
                  <a:chOff x="5105196" y="6151663"/>
                  <a:chExt cx="28708" cy="28872"/>
                </a:xfrm>
              </p:grpSpPr>
              <p:sp>
                <p:nvSpPr>
                  <p:cNvPr id="61" name="Freeform: Shape 60">
                    <a:extLst>
                      <a:ext uri="{FF2B5EF4-FFF2-40B4-BE49-F238E27FC236}">
                        <a16:creationId xmlns:a16="http://schemas.microsoft.com/office/drawing/2014/main" id="{9AB82536-D6D9-0CAC-310F-BDC37D3713E7}"/>
                      </a:ext>
                    </a:extLst>
                  </p:cNvPr>
                  <p:cNvSpPr/>
                  <p:nvPr/>
                </p:nvSpPr>
                <p:spPr>
                  <a:xfrm>
                    <a:off x="5105936" y="6152568"/>
                    <a:ext cx="27968" cy="27967"/>
                  </a:xfrm>
                  <a:custGeom>
                    <a:avLst/>
                    <a:gdLst>
                      <a:gd name="connsiteX0" fmla="*/ 27968 w 27968"/>
                      <a:gd name="connsiteY0" fmla="*/ 13984 h 27967"/>
                      <a:gd name="connsiteX1" fmla="*/ 13984 w 27968"/>
                      <a:gd name="connsiteY1" fmla="*/ 0 h 27967"/>
                      <a:gd name="connsiteX2" fmla="*/ 0 w 27968"/>
                      <a:gd name="connsiteY2" fmla="*/ 13984 h 27967"/>
                      <a:gd name="connsiteX3" fmla="*/ 13984 w 27968"/>
                      <a:gd name="connsiteY3" fmla="*/ 27968 h 27967"/>
                      <a:gd name="connsiteX4" fmla="*/ 27968 w 27968"/>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8" h="27967">
                        <a:moveTo>
                          <a:pt x="27968" y="13984"/>
                        </a:moveTo>
                        <a:cubicBezTo>
                          <a:pt x="27968" y="6252"/>
                          <a:pt x="21716" y="0"/>
                          <a:pt x="13984" y="0"/>
                        </a:cubicBezTo>
                        <a:cubicBezTo>
                          <a:pt x="6252" y="0"/>
                          <a:pt x="0" y="6279"/>
                          <a:pt x="0" y="13984"/>
                        </a:cubicBezTo>
                        <a:cubicBezTo>
                          <a:pt x="0" y="21689"/>
                          <a:pt x="6279" y="27968"/>
                          <a:pt x="13984" y="27968"/>
                        </a:cubicBezTo>
                        <a:cubicBezTo>
                          <a:pt x="21689" y="27968"/>
                          <a:pt x="27968" y="21689"/>
                          <a:pt x="27968" y="13984"/>
                        </a:cubicBezTo>
                        <a:close/>
                      </a:path>
                    </a:pathLst>
                  </a:custGeom>
                  <a:solidFill>
                    <a:srgbClr val="58595B"/>
                  </a:solidFill>
                  <a:ln w="2742" cap="flat">
                    <a:noFill/>
                    <a:prstDash val="solid"/>
                    <a:miter/>
                  </a:ln>
                </p:spPr>
                <p:txBody>
                  <a:bodyPr rtlCol="0" anchor="ctr"/>
                  <a:lstStyle/>
                  <a:p>
                    <a:endParaRPr lang="en-US" sz="1633"/>
                  </a:p>
                </p:txBody>
              </p:sp>
              <p:sp>
                <p:nvSpPr>
                  <p:cNvPr id="62" name="Freeform: Shape 61">
                    <a:extLst>
                      <a:ext uri="{FF2B5EF4-FFF2-40B4-BE49-F238E27FC236}">
                        <a16:creationId xmlns:a16="http://schemas.microsoft.com/office/drawing/2014/main" id="{3CEC9BE2-12BE-E9CE-041E-5F2B49453A38}"/>
                      </a:ext>
                    </a:extLst>
                  </p:cNvPr>
                  <p:cNvSpPr/>
                  <p:nvPr/>
                </p:nvSpPr>
                <p:spPr>
                  <a:xfrm>
                    <a:off x="5105196" y="6151663"/>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BCBEC0"/>
                  </a:solidFill>
                  <a:ln w="2742" cap="flat">
                    <a:noFill/>
                    <a:prstDash val="solid"/>
                    <a:miter/>
                  </a:ln>
                </p:spPr>
                <p:txBody>
                  <a:bodyPr rtlCol="0" anchor="ctr"/>
                  <a:lstStyle/>
                  <a:p>
                    <a:endParaRPr lang="en-US" sz="1633"/>
                  </a:p>
                </p:txBody>
              </p:sp>
              <p:sp>
                <p:nvSpPr>
                  <p:cNvPr id="63" name="Freeform: Shape 62">
                    <a:extLst>
                      <a:ext uri="{FF2B5EF4-FFF2-40B4-BE49-F238E27FC236}">
                        <a16:creationId xmlns:a16="http://schemas.microsoft.com/office/drawing/2014/main" id="{84390741-3312-A92A-6F80-D202F754B758}"/>
                      </a:ext>
                    </a:extLst>
                  </p:cNvPr>
                  <p:cNvSpPr/>
                  <p:nvPr/>
                </p:nvSpPr>
                <p:spPr>
                  <a:xfrm>
                    <a:off x="5107197" y="6153665"/>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4D4D4D"/>
                  </a:solidFill>
                  <a:ln w="2742" cap="flat">
                    <a:noFill/>
                    <a:prstDash val="solid"/>
                    <a:miter/>
                  </a:ln>
                </p:spPr>
                <p:txBody>
                  <a:bodyPr rtlCol="0" anchor="ctr"/>
                  <a:lstStyle/>
                  <a:p>
                    <a:endParaRPr lang="en-US" sz="1633"/>
                  </a:p>
                </p:txBody>
              </p:sp>
            </p:grpSp>
            <p:grpSp>
              <p:nvGrpSpPr>
                <p:cNvPr id="57" name="Graphic 2">
                  <a:extLst>
                    <a:ext uri="{FF2B5EF4-FFF2-40B4-BE49-F238E27FC236}">
                      <a16:creationId xmlns:a16="http://schemas.microsoft.com/office/drawing/2014/main" id="{B711F3D9-1C0C-7EAF-C077-42C0A98DCD3D}"/>
                    </a:ext>
                  </a:extLst>
                </p:cNvPr>
                <p:cNvGrpSpPr/>
                <p:nvPr/>
              </p:nvGrpSpPr>
              <p:grpSpPr>
                <a:xfrm>
                  <a:off x="5147504" y="6151663"/>
                  <a:ext cx="28680" cy="28872"/>
                  <a:chOff x="5147504" y="6151663"/>
                  <a:chExt cx="28680" cy="28872"/>
                </a:xfrm>
              </p:grpSpPr>
              <p:sp>
                <p:nvSpPr>
                  <p:cNvPr id="58" name="Freeform: Shape 57">
                    <a:extLst>
                      <a:ext uri="{FF2B5EF4-FFF2-40B4-BE49-F238E27FC236}">
                        <a16:creationId xmlns:a16="http://schemas.microsoft.com/office/drawing/2014/main" id="{9C1D79F6-D662-B0B5-1B4E-87341373D761}"/>
                      </a:ext>
                    </a:extLst>
                  </p:cNvPr>
                  <p:cNvSpPr/>
                  <p:nvPr/>
                </p:nvSpPr>
                <p:spPr>
                  <a:xfrm>
                    <a:off x="5148217" y="6152568"/>
                    <a:ext cx="27967" cy="27967"/>
                  </a:xfrm>
                  <a:custGeom>
                    <a:avLst/>
                    <a:gdLst>
                      <a:gd name="connsiteX0" fmla="*/ 27968 w 27967"/>
                      <a:gd name="connsiteY0" fmla="*/ 13984 h 27967"/>
                      <a:gd name="connsiteX1" fmla="*/ 13984 w 27967"/>
                      <a:gd name="connsiteY1" fmla="*/ 0 h 27967"/>
                      <a:gd name="connsiteX2" fmla="*/ 0 w 27967"/>
                      <a:gd name="connsiteY2" fmla="*/ 13984 h 27967"/>
                      <a:gd name="connsiteX3" fmla="*/ 13984 w 27967"/>
                      <a:gd name="connsiteY3" fmla="*/ 27968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6252"/>
                          <a:pt x="21689" y="0"/>
                          <a:pt x="13984" y="0"/>
                        </a:cubicBezTo>
                        <a:cubicBezTo>
                          <a:pt x="6279" y="0"/>
                          <a:pt x="0" y="6279"/>
                          <a:pt x="0" y="13984"/>
                        </a:cubicBezTo>
                        <a:cubicBezTo>
                          <a:pt x="0" y="21689"/>
                          <a:pt x="6279" y="27968"/>
                          <a:pt x="13984" y="27968"/>
                        </a:cubicBezTo>
                        <a:cubicBezTo>
                          <a:pt x="21689" y="27968"/>
                          <a:pt x="27968" y="21689"/>
                          <a:pt x="27968" y="13984"/>
                        </a:cubicBezTo>
                        <a:close/>
                      </a:path>
                    </a:pathLst>
                  </a:custGeom>
                  <a:solidFill>
                    <a:srgbClr val="58595B"/>
                  </a:solidFill>
                  <a:ln w="2742" cap="flat">
                    <a:noFill/>
                    <a:prstDash val="solid"/>
                    <a:miter/>
                  </a:ln>
                </p:spPr>
                <p:txBody>
                  <a:bodyPr rtlCol="0" anchor="ctr"/>
                  <a:lstStyle/>
                  <a:p>
                    <a:endParaRPr lang="en-US" sz="1633"/>
                  </a:p>
                </p:txBody>
              </p:sp>
              <p:sp>
                <p:nvSpPr>
                  <p:cNvPr id="59" name="Freeform: Shape 58">
                    <a:extLst>
                      <a:ext uri="{FF2B5EF4-FFF2-40B4-BE49-F238E27FC236}">
                        <a16:creationId xmlns:a16="http://schemas.microsoft.com/office/drawing/2014/main" id="{62C43268-A14F-1706-33AB-9D06489D9A0E}"/>
                      </a:ext>
                    </a:extLst>
                  </p:cNvPr>
                  <p:cNvSpPr/>
                  <p:nvPr/>
                </p:nvSpPr>
                <p:spPr>
                  <a:xfrm>
                    <a:off x="5147504" y="6151663"/>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BCBEC0"/>
                  </a:solidFill>
                  <a:ln w="2742" cap="flat">
                    <a:noFill/>
                    <a:prstDash val="solid"/>
                    <a:miter/>
                  </a:ln>
                </p:spPr>
                <p:txBody>
                  <a:bodyPr rtlCol="0" anchor="ctr"/>
                  <a:lstStyle/>
                  <a:p>
                    <a:endParaRPr lang="en-US" sz="1633"/>
                  </a:p>
                </p:txBody>
              </p:sp>
              <p:sp>
                <p:nvSpPr>
                  <p:cNvPr id="60" name="Freeform: Shape 59">
                    <a:extLst>
                      <a:ext uri="{FF2B5EF4-FFF2-40B4-BE49-F238E27FC236}">
                        <a16:creationId xmlns:a16="http://schemas.microsoft.com/office/drawing/2014/main" id="{4D0C1C70-1D9C-9F63-6489-CEAEE63FD3C4}"/>
                      </a:ext>
                    </a:extLst>
                  </p:cNvPr>
                  <p:cNvSpPr/>
                  <p:nvPr/>
                </p:nvSpPr>
                <p:spPr>
                  <a:xfrm>
                    <a:off x="5149506" y="6153665"/>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4D4D4D"/>
                  </a:solidFill>
                  <a:ln w="2742" cap="flat">
                    <a:noFill/>
                    <a:prstDash val="solid"/>
                    <a:miter/>
                  </a:ln>
                </p:spPr>
                <p:txBody>
                  <a:bodyPr rtlCol="0" anchor="ctr"/>
                  <a:lstStyle/>
                  <a:p>
                    <a:endParaRPr lang="en-US" sz="1633"/>
                  </a:p>
                </p:txBody>
              </p:sp>
            </p:grpSp>
          </p:grpSp>
          <p:grpSp>
            <p:nvGrpSpPr>
              <p:cNvPr id="52" name="Graphic 2">
                <a:extLst>
                  <a:ext uri="{FF2B5EF4-FFF2-40B4-BE49-F238E27FC236}">
                    <a16:creationId xmlns:a16="http://schemas.microsoft.com/office/drawing/2014/main" id="{9B51333F-FC5C-E23A-5626-AE775CD7C25B}"/>
                  </a:ext>
                </a:extLst>
              </p:cNvPr>
              <p:cNvGrpSpPr/>
              <p:nvPr/>
            </p:nvGrpSpPr>
            <p:grpSpPr>
              <a:xfrm>
                <a:off x="3103267" y="6140915"/>
                <a:ext cx="532268" cy="27748"/>
                <a:chOff x="3103267" y="6140915"/>
                <a:chExt cx="532268" cy="27748"/>
              </a:xfrm>
            </p:grpSpPr>
            <p:sp>
              <p:nvSpPr>
                <p:cNvPr id="53" name="Freeform: Shape 52">
                  <a:extLst>
                    <a:ext uri="{FF2B5EF4-FFF2-40B4-BE49-F238E27FC236}">
                      <a16:creationId xmlns:a16="http://schemas.microsoft.com/office/drawing/2014/main" id="{B1D8B3FB-FAC2-B841-5871-A40190338203}"/>
                    </a:ext>
                  </a:extLst>
                </p:cNvPr>
                <p:cNvSpPr/>
                <p:nvPr/>
              </p:nvSpPr>
              <p:spPr>
                <a:xfrm>
                  <a:off x="3103267" y="6140915"/>
                  <a:ext cx="532240" cy="27748"/>
                </a:xfrm>
                <a:custGeom>
                  <a:avLst/>
                  <a:gdLst>
                    <a:gd name="connsiteX0" fmla="*/ 266381 w 532240"/>
                    <a:gd name="connsiteY0" fmla="*/ 0 h 27748"/>
                    <a:gd name="connsiteX1" fmla="*/ 0 w 532240"/>
                    <a:gd name="connsiteY1" fmla="*/ 0 h 27748"/>
                    <a:gd name="connsiteX2" fmla="*/ 63010 w 532240"/>
                    <a:gd name="connsiteY2" fmla="*/ 27749 h 27748"/>
                    <a:gd name="connsiteX3" fmla="*/ 469231 w 532240"/>
                    <a:gd name="connsiteY3" fmla="*/ 27749 h 27748"/>
                    <a:gd name="connsiteX4" fmla="*/ 532241 w 532240"/>
                    <a:gd name="connsiteY4" fmla="*/ 0 h 27748"/>
                    <a:gd name="connsiteX5" fmla="*/ 266381 w 532240"/>
                    <a:gd name="connsiteY5" fmla="*/ 0 h 2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40" h="27748">
                      <a:moveTo>
                        <a:pt x="266381" y="0"/>
                      </a:moveTo>
                      <a:lnTo>
                        <a:pt x="0" y="0"/>
                      </a:lnTo>
                      <a:cubicBezTo>
                        <a:pt x="0" y="0"/>
                        <a:pt x="5868" y="27749"/>
                        <a:pt x="63010" y="27749"/>
                      </a:cubicBezTo>
                      <a:lnTo>
                        <a:pt x="469231" y="27749"/>
                      </a:lnTo>
                      <a:cubicBezTo>
                        <a:pt x="526373" y="27749"/>
                        <a:pt x="532241" y="0"/>
                        <a:pt x="532241" y="0"/>
                      </a:cubicBezTo>
                      <a:lnTo>
                        <a:pt x="266381" y="0"/>
                      </a:lnTo>
                      <a:close/>
                    </a:path>
                  </a:pathLst>
                </a:custGeom>
                <a:solidFill>
                  <a:srgbClr val="000000"/>
                </a:solidFill>
                <a:ln w="2742" cap="flat">
                  <a:noFill/>
                  <a:prstDash val="solid"/>
                  <a:miter/>
                </a:ln>
              </p:spPr>
              <p:txBody>
                <a:bodyPr rtlCol="0" anchor="ctr"/>
                <a:lstStyle/>
                <a:p>
                  <a:endParaRPr lang="en-US" sz="1633"/>
                </a:p>
              </p:txBody>
            </p:sp>
            <p:sp>
              <p:nvSpPr>
                <p:cNvPr id="54" name="Freeform: Shape 53">
                  <a:extLst>
                    <a:ext uri="{FF2B5EF4-FFF2-40B4-BE49-F238E27FC236}">
                      <a16:creationId xmlns:a16="http://schemas.microsoft.com/office/drawing/2014/main" id="{F92D3D9C-4FA0-499F-4060-6EA61EDF66BE}"/>
                    </a:ext>
                  </a:extLst>
                </p:cNvPr>
                <p:cNvSpPr/>
                <p:nvPr/>
              </p:nvSpPr>
              <p:spPr>
                <a:xfrm>
                  <a:off x="3123338" y="6140915"/>
                  <a:ext cx="512197" cy="27748"/>
                </a:xfrm>
                <a:custGeom>
                  <a:avLst/>
                  <a:gdLst>
                    <a:gd name="connsiteX0" fmla="*/ 502299 w 512197"/>
                    <a:gd name="connsiteY0" fmla="*/ 0 h 27748"/>
                    <a:gd name="connsiteX1" fmla="*/ 440056 w 512197"/>
                    <a:gd name="connsiteY1" fmla="*/ 24349 h 27748"/>
                    <a:gd name="connsiteX2" fmla="*/ 36166 w 512197"/>
                    <a:gd name="connsiteY2" fmla="*/ 24349 h 27748"/>
                    <a:gd name="connsiteX3" fmla="*/ 0 w 512197"/>
                    <a:gd name="connsiteY3" fmla="*/ 19989 h 27748"/>
                    <a:gd name="connsiteX4" fmla="*/ 45187 w 512197"/>
                    <a:gd name="connsiteY4" fmla="*/ 27749 h 27748"/>
                    <a:gd name="connsiteX5" fmla="*/ 449077 w 512197"/>
                    <a:gd name="connsiteY5" fmla="*/ 27749 h 27748"/>
                    <a:gd name="connsiteX6" fmla="*/ 512197 w 512197"/>
                    <a:gd name="connsiteY6" fmla="*/ 0 h 27748"/>
                    <a:gd name="connsiteX7" fmla="*/ 502326 w 512197"/>
                    <a:gd name="connsiteY7" fmla="*/ 0 h 2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197" h="27748">
                      <a:moveTo>
                        <a:pt x="502299" y="0"/>
                      </a:moveTo>
                      <a:cubicBezTo>
                        <a:pt x="499392" y="9295"/>
                        <a:pt x="483544" y="24349"/>
                        <a:pt x="440056" y="24349"/>
                      </a:cubicBezTo>
                      <a:lnTo>
                        <a:pt x="36166" y="24349"/>
                      </a:lnTo>
                      <a:cubicBezTo>
                        <a:pt x="20565" y="24349"/>
                        <a:pt x="8829" y="22649"/>
                        <a:pt x="0" y="19989"/>
                      </a:cubicBezTo>
                      <a:cubicBezTo>
                        <a:pt x="9350" y="24349"/>
                        <a:pt x="23553" y="27749"/>
                        <a:pt x="45187" y="27749"/>
                      </a:cubicBezTo>
                      <a:lnTo>
                        <a:pt x="449077" y="27749"/>
                      </a:lnTo>
                      <a:cubicBezTo>
                        <a:pt x="505891" y="27749"/>
                        <a:pt x="512197" y="0"/>
                        <a:pt x="512197" y="0"/>
                      </a:cubicBezTo>
                      <a:lnTo>
                        <a:pt x="502326" y="0"/>
                      </a:lnTo>
                      <a:close/>
                    </a:path>
                  </a:pathLst>
                </a:custGeom>
                <a:solidFill>
                  <a:srgbClr val="D1D3D4"/>
                </a:solidFill>
                <a:ln w="2742" cap="flat">
                  <a:noFill/>
                  <a:prstDash val="solid"/>
                  <a:miter/>
                </a:ln>
              </p:spPr>
              <p:txBody>
                <a:bodyPr rtlCol="0" anchor="ctr"/>
                <a:lstStyle/>
                <a:p>
                  <a:endParaRPr lang="en-US" sz="1633"/>
                </a:p>
              </p:txBody>
            </p:sp>
          </p:grpSp>
        </p:grpSp>
      </p:grpSp>
      <p:pic>
        <p:nvPicPr>
          <p:cNvPr id="163" name="Picture 162">
            <a:extLst>
              <a:ext uri="{FF2B5EF4-FFF2-40B4-BE49-F238E27FC236}">
                <a16:creationId xmlns:a16="http://schemas.microsoft.com/office/drawing/2014/main" id="{AD25483B-9E35-EE82-1B58-3FD57D979507}"/>
              </a:ext>
            </a:extLst>
          </p:cNvPr>
          <p:cNvPicPr>
            <a:picLocks noChangeAspect="1"/>
          </p:cNvPicPr>
          <p:nvPr/>
        </p:nvPicPr>
        <p:blipFill>
          <a:blip r:embed="rId5"/>
          <a:stretch>
            <a:fillRect/>
          </a:stretch>
        </p:blipFill>
        <p:spPr>
          <a:xfrm>
            <a:off x="6712134" y="1836258"/>
            <a:ext cx="2873282" cy="1738178"/>
          </a:xfrm>
          <a:prstGeom prst="rect">
            <a:avLst/>
          </a:prstGeom>
        </p:spPr>
      </p:pic>
      <p:sp>
        <p:nvSpPr>
          <p:cNvPr id="4" name="Title 3">
            <a:extLst>
              <a:ext uri="{FF2B5EF4-FFF2-40B4-BE49-F238E27FC236}">
                <a16:creationId xmlns:a16="http://schemas.microsoft.com/office/drawing/2014/main" id="{04049970-A4FC-E703-56F8-F87E8EC94E43}"/>
              </a:ext>
            </a:extLst>
          </p:cNvPr>
          <p:cNvSpPr>
            <a:spLocks noGrp="1"/>
          </p:cNvSpPr>
          <p:nvPr>
            <p:ph type="title"/>
          </p:nvPr>
        </p:nvSpPr>
        <p:spPr>
          <a:xfrm>
            <a:off x="531814" y="560664"/>
            <a:ext cx="11089972" cy="332399"/>
          </a:xfrm>
        </p:spPr>
        <p:txBody>
          <a:bodyPr vert="horz"/>
          <a:lstStyle/>
          <a:p>
            <a:r>
              <a:rPr lang="en-US" sz="2400" kern="1200" dirty="0">
                <a:solidFill>
                  <a:schemeClr val="bg2"/>
                </a:solidFill>
                <a:latin typeface="Franklin Gothic Demi" panose="020B0703020102020204" pitchFamily="34" charset="0"/>
                <a:ea typeface="+mj-ea"/>
                <a:cs typeface="Calibri" panose="020F0502020204030204" pitchFamily="34" charset="0"/>
              </a:rPr>
              <a:t>Web Scraping Tool for Second-Hand Car Sales</a:t>
            </a:r>
          </a:p>
        </p:txBody>
      </p:sp>
      <p:sp>
        <p:nvSpPr>
          <p:cNvPr id="15" name="Google Shape;831;p25">
            <a:extLst>
              <a:ext uri="{FF2B5EF4-FFF2-40B4-BE49-F238E27FC236}">
                <a16:creationId xmlns:a16="http://schemas.microsoft.com/office/drawing/2014/main" id="{BE9AC918-EE64-3C38-B970-B1FD8371B223}"/>
              </a:ext>
            </a:extLst>
          </p:cNvPr>
          <p:cNvSpPr>
            <a:spLocks/>
          </p:cNvSpPr>
          <p:nvPr/>
        </p:nvSpPr>
        <p:spPr>
          <a:xfrm>
            <a:off x="519343" y="1648504"/>
            <a:ext cx="5274441" cy="5009089"/>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a:lnSpc>
                <a:spcPct val="130769"/>
              </a:lnSpc>
              <a:buClr>
                <a:schemeClr val="accent1"/>
              </a:buClr>
              <a:buSzPts val="1300"/>
            </a:pPr>
            <a:endParaRPr lang="en-US" sz="1633" dirty="0"/>
          </a:p>
        </p:txBody>
      </p:sp>
      <p:sp>
        <p:nvSpPr>
          <p:cNvPr id="17" name="TextBox 16">
            <a:extLst>
              <a:ext uri="{FF2B5EF4-FFF2-40B4-BE49-F238E27FC236}">
                <a16:creationId xmlns:a16="http://schemas.microsoft.com/office/drawing/2014/main" id="{662784F6-932D-341C-D037-8170B94B3351}"/>
              </a:ext>
            </a:extLst>
          </p:cNvPr>
          <p:cNvSpPr txBox="1"/>
          <p:nvPr/>
        </p:nvSpPr>
        <p:spPr>
          <a:xfrm>
            <a:off x="688446" y="2159806"/>
            <a:ext cx="4945865" cy="4403474"/>
          </a:xfrm>
          <a:prstGeom prst="rect">
            <a:avLst/>
          </a:prstGeom>
          <a:noFill/>
        </p:spPr>
        <p:txBody>
          <a:bodyPr wrap="square">
            <a:noAutofit/>
          </a:bodyPr>
          <a:lstStyle/>
          <a:p>
            <a:pPr marL="157613" indent="-157613">
              <a:lnSpc>
                <a:spcPts val="1742"/>
              </a:lnSpc>
            </a:pPr>
            <a:r>
              <a:rPr lang="en-US" sz="1600" b="1" dirty="0">
                <a:solidFill>
                  <a:schemeClr val="bg2"/>
                </a:solidFill>
                <a:latin typeface="Calibri" panose="020F0502020204030204" pitchFamily="34" charset="0"/>
                <a:ea typeface="Calibri" panose="020F0502020204030204" pitchFamily="34" charset="0"/>
                <a:cs typeface="Calibri" panose="020F0502020204030204" pitchFamily="34" charset="0"/>
                <a:sym typeface="Calibri"/>
              </a:rPr>
              <a:t>Establishing Data Collection Requirements</a:t>
            </a:r>
            <a:endParaRPr lang="en-US" sz="1600" dirty="0">
              <a:solidFill>
                <a:schemeClr val="bg2"/>
              </a:solidFill>
              <a:latin typeface="Calibri" panose="020F0502020204030204" pitchFamily="34" charset="0"/>
              <a:ea typeface="Calibri" panose="020F0502020204030204" pitchFamily="34" charset="0"/>
              <a:cs typeface="Calibri" panose="020F0502020204030204" pitchFamily="34" charset="0"/>
            </a:endParaRPr>
          </a:p>
          <a:p>
            <a:pPr marL="154100" indent="-154100">
              <a:lnSpc>
                <a:spcPts val="1742"/>
              </a:lnSpc>
              <a:spcBef>
                <a:spcPts val="544"/>
              </a:spcBef>
              <a:buClr>
                <a:schemeClr val="bg2"/>
              </a:buClr>
              <a:buSzPts val="1400"/>
              <a:buFont typeface="Wingdings" panose="05000000000000000000" pitchFamily="2" charset="2"/>
              <a:buChar char="§"/>
            </a:pPr>
            <a:r>
              <a:rPr lang="en-US" sz="1600" dirty="0">
                <a:latin typeface="Calibri" panose="020F0502020204030204" pitchFamily="34" charset="0"/>
                <a:ea typeface="Calibri" panose="020F0502020204030204" pitchFamily="34" charset="0"/>
                <a:cs typeface="Calibri" panose="020F0502020204030204" pitchFamily="34" charset="0"/>
              </a:rPr>
              <a:t>Identification and selection of </a:t>
            </a:r>
            <a:r>
              <a:rPr lang="en-US" sz="1600" b="1" dirty="0">
                <a:latin typeface="Calibri" panose="020F0502020204030204" pitchFamily="34" charset="0"/>
                <a:ea typeface="Calibri" panose="020F0502020204030204" pitchFamily="34" charset="0"/>
                <a:cs typeface="Calibri" panose="020F0502020204030204" pitchFamily="34" charset="0"/>
              </a:rPr>
              <a:t>+15 core data elements crucial for analysis</a:t>
            </a:r>
            <a:r>
              <a:rPr lang="en-US" sz="1600" dirty="0">
                <a:latin typeface="Calibri" panose="020F0502020204030204" pitchFamily="34" charset="0"/>
                <a:ea typeface="Calibri" panose="020F0502020204030204" pitchFamily="34" charset="0"/>
                <a:cs typeface="Calibri" panose="020F0502020204030204" pitchFamily="34" charset="0"/>
              </a:rPr>
              <a:t>, enabling the client to perform comprehensive insights generation.</a:t>
            </a:r>
          </a:p>
          <a:p>
            <a:pPr marL="157613" indent="-157613">
              <a:lnSpc>
                <a:spcPts val="1742"/>
              </a:lnSpc>
              <a:spcBef>
                <a:spcPts val="544"/>
              </a:spcBef>
              <a:buClr>
                <a:schemeClr val="tx2"/>
              </a:buClr>
            </a:pPr>
            <a:r>
              <a:rPr lang="en-US" sz="1600" b="1" dirty="0">
                <a:solidFill>
                  <a:schemeClr val="bg2"/>
                </a:solidFill>
                <a:latin typeface="Calibri" panose="020F0502020204030204" pitchFamily="34" charset="0"/>
                <a:ea typeface="Calibri" panose="020F0502020204030204" pitchFamily="34" charset="0"/>
                <a:cs typeface="Calibri" panose="020F0502020204030204" pitchFamily="34" charset="0"/>
                <a:sym typeface="Calibri"/>
              </a:rPr>
              <a:t>Developing a Data Collection Plan and Storage</a:t>
            </a:r>
          </a:p>
          <a:p>
            <a:pPr marL="154100" indent="-154100">
              <a:lnSpc>
                <a:spcPts val="1742"/>
              </a:lnSpc>
              <a:spcBef>
                <a:spcPts val="544"/>
              </a:spcBef>
              <a:buClr>
                <a:schemeClr val="bg2"/>
              </a:buClr>
              <a:buSzPts val="1400"/>
              <a:buFont typeface="Wingdings" panose="05000000000000000000" pitchFamily="2" charset="2"/>
              <a:buChar char="§"/>
            </a:pPr>
            <a:r>
              <a:rPr lang="en-US" sz="1600" dirty="0">
                <a:latin typeface="Calibri" panose="020F0502020204030204" pitchFamily="34" charset="0"/>
                <a:ea typeface="Calibri" panose="020F0502020204030204" pitchFamily="34" charset="0"/>
                <a:cs typeface="Calibri" panose="020F0502020204030204" pitchFamily="34" charset="0"/>
                <a:sym typeface="Calibri"/>
              </a:rPr>
              <a:t>Implementation of a </a:t>
            </a:r>
            <a:r>
              <a:rPr lang="en-US" sz="1600" b="1" dirty="0">
                <a:latin typeface="Calibri" panose="020F0502020204030204" pitchFamily="34" charset="0"/>
                <a:ea typeface="Calibri" panose="020F0502020204030204" pitchFamily="34" charset="0"/>
                <a:cs typeface="Calibri" panose="020F0502020204030204" pitchFamily="34" charset="0"/>
                <a:sym typeface="Calibri"/>
              </a:rPr>
              <a:t>daily automated process</a:t>
            </a:r>
            <a:r>
              <a:rPr lang="en-US" sz="1600" dirty="0">
                <a:latin typeface="Calibri" panose="020F0502020204030204" pitchFamily="34" charset="0"/>
                <a:ea typeface="Calibri" panose="020F0502020204030204" pitchFamily="34" charset="0"/>
                <a:cs typeface="Calibri" panose="020F0502020204030204" pitchFamily="34" charset="0"/>
                <a:sym typeface="Calibri"/>
              </a:rPr>
              <a:t> to pull car listings from across the country, creating an up-to-date database for analysis purposes.</a:t>
            </a:r>
          </a:p>
          <a:p>
            <a:pPr marL="157613" indent="-157613">
              <a:lnSpc>
                <a:spcPts val="1742"/>
              </a:lnSpc>
              <a:spcBef>
                <a:spcPts val="544"/>
              </a:spcBef>
              <a:buClr>
                <a:schemeClr val="tx2"/>
              </a:buClr>
            </a:pPr>
            <a:r>
              <a:rPr lang="en-US" sz="1600" b="1" dirty="0">
                <a:solidFill>
                  <a:schemeClr val="bg2"/>
                </a:solidFill>
                <a:latin typeface="Calibri" panose="020F0502020204030204" pitchFamily="34" charset="0"/>
                <a:ea typeface="Calibri" panose="020F0502020204030204" pitchFamily="34" charset="0"/>
                <a:cs typeface="Calibri" panose="020F0502020204030204" pitchFamily="34" charset="0"/>
                <a:sym typeface="Calibri"/>
              </a:rPr>
              <a:t>Designing a graphical user interface (GUI)</a:t>
            </a:r>
          </a:p>
          <a:p>
            <a:pPr marL="154100" indent="-154100">
              <a:lnSpc>
                <a:spcPts val="1742"/>
              </a:lnSpc>
              <a:spcBef>
                <a:spcPts val="544"/>
              </a:spcBef>
              <a:buClr>
                <a:schemeClr val="bg2"/>
              </a:buClr>
              <a:buSzPts val="1400"/>
              <a:buFont typeface="Wingdings" panose="05000000000000000000" pitchFamily="2" charset="2"/>
              <a:buChar char="§"/>
            </a:pPr>
            <a:r>
              <a:rPr lang="en-US" sz="1600" dirty="0">
                <a:latin typeface="Calibri" panose="020F0502020204030204" pitchFamily="34" charset="0"/>
                <a:ea typeface="Calibri" panose="020F0502020204030204" pitchFamily="34" charset="0"/>
                <a:cs typeface="Calibri" panose="020F0502020204030204" pitchFamily="34" charset="0"/>
              </a:rPr>
              <a:t>Development of </a:t>
            </a:r>
            <a:r>
              <a:rPr lang="en-US" sz="1600" b="1" dirty="0">
                <a:latin typeface="Calibri" panose="020F0502020204030204" pitchFamily="34" charset="0"/>
                <a:ea typeface="Calibri" panose="020F0502020204030204" pitchFamily="34" charset="0"/>
                <a:cs typeface="Calibri" panose="020F0502020204030204" pitchFamily="34" charset="0"/>
              </a:rPr>
              <a:t>a user-friendly GUI </a:t>
            </a:r>
            <a:r>
              <a:rPr lang="en-US" sz="1600" dirty="0">
                <a:latin typeface="Calibri" panose="020F0502020204030204" pitchFamily="34" charset="0"/>
                <a:ea typeface="Calibri" panose="020F0502020204030204" pitchFamily="34" charset="0"/>
                <a:cs typeface="Calibri" panose="020F0502020204030204" pitchFamily="34" charset="0"/>
              </a:rPr>
              <a:t>that allows the client to effortlessly select specific car brands/models and collect data on demand.</a:t>
            </a:r>
          </a:p>
          <a:p>
            <a:pPr marL="157613" indent="-157613">
              <a:lnSpc>
                <a:spcPts val="1742"/>
              </a:lnSpc>
              <a:spcBef>
                <a:spcPts val="544"/>
              </a:spcBef>
              <a:buClr>
                <a:schemeClr val="tx2"/>
              </a:buClr>
            </a:pPr>
            <a:r>
              <a:rPr lang="en-US" sz="1600" b="1" dirty="0">
                <a:solidFill>
                  <a:schemeClr val="bg2"/>
                </a:solidFill>
                <a:latin typeface="Calibri" panose="020F0502020204030204" pitchFamily="34" charset="0"/>
                <a:ea typeface="Calibri" panose="020F0502020204030204" pitchFamily="34" charset="0"/>
                <a:cs typeface="Calibri" panose="020F0502020204030204" pitchFamily="34" charset="0"/>
                <a:sym typeface="Calibri"/>
              </a:rPr>
              <a:t>Cleaning and preprocessing the data</a:t>
            </a:r>
            <a:endParaRPr lang="en-US" sz="1600" b="1" dirty="0">
              <a:solidFill>
                <a:schemeClr val="bg2"/>
              </a:solidFill>
              <a:latin typeface="Calibri" panose="020F0502020204030204" pitchFamily="34" charset="0"/>
              <a:ea typeface="Calibri" panose="020F0502020204030204" pitchFamily="34" charset="0"/>
              <a:cs typeface="Calibri" panose="020F0502020204030204" pitchFamily="34" charset="0"/>
            </a:endParaRPr>
          </a:p>
          <a:p>
            <a:pPr marL="154100" indent="-154100">
              <a:lnSpc>
                <a:spcPts val="1742"/>
              </a:lnSpc>
              <a:spcBef>
                <a:spcPts val="544"/>
              </a:spcBef>
              <a:buClr>
                <a:schemeClr val="bg2"/>
              </a:buClr>
              <a:buSzPts val="1400"/>
              <a:buFont typeface="Wingdings" panose="05000000000000000000" pitchFamily="2" charset="2"/>
              <a:buChar char="§"/>
            </a:pPr>
            <a:r>
              <a:rPr lang="en-US" sz="1600" dirty="0">
                <a:latin typeface="Calibri" panose="020F0502020204030204" pitchFamily="34" charset="0"/>
                <a:ea typeface="Calibri" panose="020F0502020204030204" pitchFamily="34" charset="0"/>
                <a:cs typeface="Calibri" panose="020F0502020204030204" pitchFamily="34" charset="0"/>
                <a:sym typeface="Calibri"/>
              </a:rPr>
              <a:t>Built of </a:t>
            </a:r>
            <a:r>
              <a:rPr lang="en-US" sz="1600" b="1" dirty="0">
                <a:latin typeface="Calibri" panose="020F0502020204030204" pitchFamily="34" charset="0"/>
                <a:ea typeface="Calibri" panose="020F0502020204030204" pitchFamily="34" charset="0"/>
                <a:cs typeface="Calibri" panose="020F0502020204030204" pitchFamily="34" charset="0"/>
                <a:sym typeface="Calibri"/>
              </a:rPr>
              <a:t>robust cleaning and preprocessing techniques </a:t>
            </a:r>
            <a:r>
              <a:rPr lang="en-US" sz="1600" dirty="0">
                <a:latin typeface="Calibri" panose="020F0502020204030204" pitchFamily="34" charset="0"/>
                <a:ea typeface="Calibri" panose="020F0502020204030204" pitchFamily="34" charset="0"/>
                <a:cs typeface="Calibri" panose="020F0502020204030204" pitchFamily="34" charset="0"/>
                <a:sym typeface="Calibri"/>
              </a:rPr>
              <a:t>to enhance data quality and usability, including removing duplicates, correcting inconsistencies, and standardizing data formats.</a:t>
            </a:r>
          </a:p>
          <a:p>
            <a:pPr marL="157613" indent="-157613">
              <a:lnSpc>
                <a:spcPts val="1742"/>
              </a:lnSpc>
            </a:pPr>
            <a:endParaRPr lang="en-US" sz="1633" dirty="0">
              <a:latin typeface="Calibri" panose="020F0502020204030204" pitchFamily="34" charset="0"/>
              <a:ea typeface="Calibri" panose="020F0502020204030204" pitchFamily="34" charset="0"/>
              <a:cs typeface="Calibri" panose="020F0502020204030204" pitchFamily="34" charset="0"/>
            </a:endParaRPr>
          </a:p>
        </p:txBody>
      </p:sp>
      <p:grpSp>
        <p:nvGrpSpPr>
          <p:cNvPr id="141" name="Group 140">
            <a:extLst>
              <a:ext uri="{FF2B5EF4-FFF2-40B4-BE49-F238E27FC236}">
                <a16:creationId xmlns:a16="http://schemas.microsoft.com/office/drawing/2014/main" id="{B7DC795B-D0F1-1AA2-2393-D9E74965906E}"/>
              </a:ext>
            </a:extLst>
          </p:cNvPr>
          <p:cNvGrpSpPr/>
          <p:nvPr/>
        </p:nvGrpSpPr>
        <p:grpSpPr>
          <a:xfrm>
            <a:off x="7964344" y="3304651"/>
            <a:ext cx="3966657" cy="3041065"/>
            <a:chOff x="4662343" y="2693866"/>
            <a:chExt cx="4610513" cy="3534681"/>
          </a:xfrm>
        </p:grpSpPr>
        <p:sp>
          <p:nvSpPr>
            <p:cNvPr id="142" name="Freeform: Shape 141">
              <a:extLst>
                <a:ext uri="{FF2B5EF4-FFF2-40B4-BE49-F238E27FC236}">
                  <a16:creationId xmlns:a16="http://schemas.microsoft.com/office/drawing/2014/main" id="{94EEFE0D-C9A1-2441-93CB-02C05551B254}"/>
                </a:ext>
              </a:extLst>
            </p:cNvPr>
            <p:cNvSpPr/>
            <p:nvPr/>
          </p:nvSpPr>
          <p:spPr>
            <a:xfrm>
              <a:off x="4662343" y="2693866"/>
              <a:ext cx="4610513" cy="2788869"/>
            </a:xfrm>
            <a:custGeom>
              <a:avLst/>
              <a:gdLst>
                <a:gd name="connsiteX0" fmla="*/ 129502 w 4610513"/>
                <a:gd name="connsiteY0" fmla="*/ 0 h 2788869"/>
                <a:gd name="connsiteX1" fmla="*/ 4481011 w 4610513"/>
                <a:gd name="connsiteY1" fmla="*/ 0 h 2788869"/>
                <a:gd name="connsiteX2" fmla="*/ 4610514 w 4610513"/>
                <a:gd name="connsiteY2" fmla="*/ 129502 h 2788869"/>
                <a:gd name="connsiteX3" fmla="*/ 4610514 w 4610513"/>
                <a:gd name="connsiteY3" fmla="*/ 2659367 h 2788869"/>
                <a:gd name="connsiteX4" fmla="*/ 4481011 w 4610513"/>
                <a:gd name="connsiteY4" fmla="*/ 2788870 h 2788869"/>
                <a:gd name="connsiteX5" fmla="*/ 129502 w 4610513"/>
                <a:gd name="connsiteY5" fmla="*/ 2788870 h 2788869"/>
                <a:gd name="connsiteX6" fmla="*/ 0 w 4610513"/>
                <a:gd name="connsiteY6" fmla="*/ 2659367 h 2788869"/>
                <a:gd name="connsiteX7" fmla="*/ 0 w 4610513"/>
                <a:gd name="connsiteY7" fmla="*/ 129502 h 2788869"/>
                <a:gd name="connsiteX8" fmla="*/ 129502 w 4610513"/>
                <a:gd name="connsiteY8" fmla="*/ 0 h 278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513" h="2788869">
                  <a:moveTo>
                    <a:pt x="129502" y="0"/>
                  </a:moveTo>
                  <a:lnTo>
                    <a:pt x="4481011" y="0"/>
                  </a:lnTo>
                  <a:cubicBezTo>
                    <a:pt x="4552494" y="0"/>
                    <a:pt x="4610514" y="58020"/>
                    <a:pt x="4610514" y="129502"/>
                  </a:cubicBezTo>
                  <a:lnTo>
                    <a:pt x="4610514" y="2659367"/>
                  </a:lnTo>
                  <a:cubicBezTo>
                    <a:pt x="4610514" y="2730850"/>
                    <a:pt x="4552467" y="2788870"/>
                    <a:pt x="4481011" y="2788870"/>
                  </a:cubicBezTo>
                  <a:lnTo>
                    <a:pt x="129502" y="2788870"/>
                  </a:lnTo>
                  <a:cubicBezTo>
                    <a:pt x="58020" y="2788870"/>
                    <a:pt x="0" y="2730850"/>
                    <a:pt x="0" y="2659367"/>
                  </a:cubicBezTo>
                  <a:lnTo>
                    <a:pt x="0" y="129502"/>
                  </a:lnTo>
                  <a:cubicBezTo>
                    <a:pt x="0" y="58020"/>
                    <a:pt x="58020" y="0"/>
                    <a:pt x="129502" y="0"/>
                  </a:cubicBezTo>
                  <a:close/>
                </a:path>
              </a:pathLst>
            </a:custGeom>
            <a:solidFill>
              <a:srgbClr val="000000"/>
            </a:solidFill>
            <a:ln w="2742" cap="flat">
              <a:noFill/>
              <a:prstDash val="solid"/>
              <a:miter/>
            </a:ln>
          </p:spPr>
          <p:txBody>
            <a:bodyPr rtlCol="0" anchor="ctr"/>
            <a:lstStyle/>
            <a:p>
              <a:endParaRPr lang="en-US" sz="1633"/>
            </a:p>
          </p:txBody>
        </p:sp>
        <p:grpSp>
          <p:nvGrpSpPr>
            <p:cNvPr id="143" name="Graphic 2">
              <a:extLst>
                <a:ext uri="{FF2B5EF4-FFF2-40B4-BE49-F238E27FC236}">
                  <a16:creationId xmlns:a16="http://schemas.microsoft.com/office/drawing/2014/main" id="{57B97A73-B410-9EB5-B988-01688F68DEAC}"/>
                </a:ext>
              </a:extLst>
            </p:cNvPr>
            <p:cNvGrpSpPr/>
            <p:nvPr/>
          </p:nvGrpSpPr>
          <p:grpSpPr>
            <a:xfrm>
              <a:off x="6249770" y="5482791"/>
              <a:ext cx="1435672" cy="745756"/>
              <a:chOff x="6249770" y="5482791"/>
              <a:chExt cx="1435672" cy="745756"/>
            </a:xfrm>
          </p:grpSpPr>
          <p:sp>
            <p:nvSpPr>
              <p:cNvPr id="145" name="Freeform: Shape 144">
                <a:extLst>
                  <a:ext uri="{FF2B5EF4-FFF2-40B4-BE49-F238E27FC236}">
                    <a16:creationId xmlns:a16="http://schemas.microsoft.com/office/drawing/2014/main" id="{44786122-2120-6E6A-72BE-D6D0E97D5508}"/>
                  </a:ext>
                </a:extLst>
              </p:cNvPr>
              <p:cNvSpPr/>
              <p:nvPr/>
            </p:nvSpPr>
            <p:spPr>
              <a:xfrm>
                <a:off x="6249770" y="5482791"/>
                <a:ext cx="1435604" cy="744495"/>
              </a:xfrm>
              <a:custGeom>
                <a:avLst/>
                <a:gdLst>
                  <a:gd name="connsiteX0" fmla="*/ 1435605 w 1435604"/>
                  <a:gd name="connsiteY0" fmla="*/ 703449 h 744495"/>
                  <a:gd name="connsiteX1" fmla="*/ 1345422 w 1435604"/>
                  <a:gd name="connsiteY1" fmla="*/ 643619 h 744495"/>
                  <a:gd name="connsiteX2" fmla="*/ 1221897 w 1435604"/>
                  <a:gd name="connsiteY2" fmla="*/ 529828 h 744495"/>
                  <a:gd name="connsiteX3" fmla="*/ 1144464 w 1435604"/>
                  <a:gd name="connsiteY3" fmla="*/ 0 h 744495"/>
                  <a:gd name="connsiteX4" fmla="*/ 291141 w 1435604"/>
                  <a:gd name="connsiteY4" fmla="*/ 0 h 744495"/>
                  <a:gd name="connsiteX5" fmla="*/ 213681 w 1435604"/>
                  <a:gd name="connsiteY5" fmla="*/ 529828 h 744495"/>
                  <a:gd name="connsiteX6" fmla="*/ 90183 w 1435604"/>
                  <a:gd name="connsiteY6" fmla="*/ 643619 h 744495"/>
                  <a:gd name="connsiteX7" fmla="*/ 0 w 1435604"/>
                  <a:gd name="connsiteY7" fmla="*/ 703449 h 744495"/>
                  <a:gd name="connsiteX8" fmla="*/ 0 w 1435604"/>
                  <a:gd name="connsiteY8" fmla="*/ 724781 h 744495"/>
                  <a:gd name="connsiteX9" fmla="*/ 224703 w 1435604"/>
                  <a:gd name="connsiteY9" fmla="*/ 744496 h 744495"/>
                  <a:gd name="connsiteX10" fmla="*/ 1210874 w 1435604"/>
                  <a:gd name="connsiteY10" fmla="*/ 744496 h 744495"/>
                  <a:gd name="connsiteX11" fmla="*/ 1435605 w 1435604"/>
                  <a:gd name="connsiteY11" fmla="*/ 724781 h 744495"/>
                  <a:gd name="connsiteX12" fmla="*/ 1435605 w 1435604"/>
                  <a:gd name="connsiteY12" fmla="*/ 703449 h 74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5604" h="744495">
                    <a:moveTo>
                      <a:pt x="1435605" y="703449"/>
                    </a:moveTo>
                    <a:cubicBezTo>
                      <a:pt x="1435605" y="703449"/>
                      <a:pt x="1425432" y="663526"/>
                      <a:pt x="1345422" y="643619"/>
                    </a:cubicBezTo>
                    <a:cubicBezTo>
                      <a:pt x="1265440" y="623712"/>
                      <a:pt x="1238376" y="600927"/>
                      <a:pt x="1221897" y="529828"/>
                    </a:cubicBezTo>
                    <a:cubicBezTo>
                      <a:pt x="1205445" y="458702"/>
                      <a:pt x="1144464" y="0"/>
                      <a:pt x="1144464" y="0"/>
                    </a:cubicBezTo>
                    <a:lnTo>
                      <a:pt x="291141" y="0"/>
                    </a:lnTo>
                    <a:cubicBezTo>
                      <a:pt x="291141" y="0"/>
                      <a:pt x="230160" y="458702"/>
                      <a:pt x="213681" y="529828"/>
                    </a:cubicBezTo>
                    <a:cubicBezTo>
                      <a:pt x="197229" y="600954"/>
                      <a:pt x="170166" y="623712"/>
                      <a:pt x="90183" y="643619"/>
                    </a:cubicBezTo>
                    <a:cubicBezTo>
                      <a:pt x="10200" y="663526"/>
                      <a:pt x="0" y="703449"/>
                      <a:pt x="0" y="703449"/>
                    </a:cubicBezTo>
                    <a:lnTo>
                      <a:pt x="0" y="724781"/>
                    </a:lnTo>
                    <a:cubicBezTo>
                      <a:pt x="0" y="724781"/>
                      <a:pt x="26542" y="744496"/>
                      <a:pt x="224703" y="744496"/>
                    </a:cubicBezTo>
                    <a:lnTo>
                      <a:pt x="1210874" y="744496"/>
                    </a:lnTo>
                    <a:cubicBezTo>
                      <a:pt x="1409036" y="744496"/>
                      <a:pt x="1435605" y="724781"/>
                      <a:pt x="1435605" y="724781"/>
                    </a:cubicBezTo>
                    <a:lnTo>
                      <a:pt x="1435605" y="703449"/>
                    </a:lnTo>
                    <a:close/>
                  </a:path>
                </a:pathLst>
              </a:custGeom>
              <a:gradFill>
                <a:gsLst>
                  <a:gs pos="0">
                    <a:srgbClr val="F3F4F4"/>
                  </a:gs>
                  <a:gs pos="11000">
                    <a:srgbClr val="CCCDCF"/>
                  </a:gs>
                  <a:gs pos="19000">
                    <a:srgbClr val="B3B5B8"/>
                  </a:gs>
                  <a:gs pos="24000">
                    <a:srgbClr val="ABADB0"/>
                  </a:gs>
                  <a:gs pos="35000">
                    <a:srgbClr val="E6E7E8"/>
                  </a:gs>
                  <a:gs pos="61000">
                    <a:srgbClr val="C7C8CA"/>
                  </a:gs>
                  <a:gs pos="99000">
                    <a:srgbClr val="8A8C8E"/>
                  </a:gs>
                </a:gsLst>
                <a:lin ang="16200000" scaled="1"/>
              </a:gradFill>
              <a:ln w="2742" cap="flat">
                <a:noFill/>
                <a:prstDash val="solid"/>
                <a:miter/>
              </a:ln>
            </p:spPr>
            <p:txBody>
              <a:bodyPr rtlCol="0" anchor="ctr"/>
              <a:lstStyle/>
              <a:p>
                <a:endParaRPr lang="en-US" sz="1633"/>
              </a:p>
            </p:txBody>
          </p:sp>
          <p:sp>
            <p:nvSpPr>
              <p:cNvPr id="146" name="Freeform: Shape 145">
                <a:extLst>
                  <a:ext uri="{FF2B5EF4-FFF2-40B4-BE49-F238E27FC236}">
                    <a16:creationId xmlns:a16="http://schemas.microsoft.com/office/drawing/2014/main" id="{6AB1E2A6-FB3D-B9B0-BAE1-E939D143A384}"/>
                  </a:ext>
                </a:extLst>
              </p:cNvPr>
              <p:cNvSpPr/>
              <p:nvPr/>
            </p:nvSpPr>
            <p:spPr>
              <a:xfrm>
                <a:off x="6249804" y="6185444"/>
                <a:ext cx="1435637" cy="43103"/>
              </a:xfrm>
              <a:custGeom>
                <a:avLst/>
                <a:gdLst>
                  <a:gd name="connsiteX0" fmla="*/ 1435269 w 1435637"/>
                  <a:gd name="connsiteY0" fmla="*/ 0 h 43103"/>
                  <a:gd name="connsiteX1" fmla="*/ 1210867 w 1435637"/>
                  <a:gd name="connsiteY1" fmla="*/ 19358 h 43103"/>
                  <a:gd name="connsiteX2" fmla="*/ 224696 w 1435637"/>
                  <a:gd name="connsiteY2" fmla="*/ 19358 h 43103"/>
                  <a:gd name="connsiteX3" fmla="*/ 322 w 1435637"/>
                  <a:gd name="connsiteY3" fmla="*/ 0 h 43103"/>
                  <a:gd name="connsiteX4" fmla="*/ 20 w 1435637"/>
                  <a:gd name="connsiteY4" fmla="*/ 2029 h 43103"/>
                  <a:gd name="connsiteX5" fmla="*/ 20 w 1435637"/>
                  <a:gd name="connsiteY5" fmla="*/ 23389 h 43103"/>
                  <a:gd name="connsiteX6" fmla="*/ 224723 w 1435637"/>
                  <a:gd name="connsiteY6" fmla="*/ 43103 h 43103"/>
                  <a:gd name="connsiteX7" fmla="*/ 1210895 w 1435637"/>
                  <a:gd name="connsiteY7" fmla="*/ 43103 h 43103"/>
                  <a:gd name="connsiteX8" fmla="*/ 1435625 w 1435637"/>
                  <a:gd name="connsiteY8" fmla="*/ 23389 h 43103"/>
                  <a:gd name="connsiteX9" fmla="*/ 1435625 w 1435637"/>
                  <a:gd name="connsiteY9" fmla="*/ 2029 h 43103"/>
                  <a:gd name="connsiteX10" fmla="*/ 1435297 w 1435637"/>
                  <a:gd name="connsiteY10" fmla="*/ 0 h 4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5637" h="43103">
                    <a:moveTo>
                      <a:pt x="1435269" y="0"/>
                    </a:moveTo>
                    <a:cubicBezTo>
                      <a:pt x="1432363" y="2660"/>
                      <a:pt x="1393235" y="19358"/>
                      <a:pt x="1210867" y="19358"/>
                    </a:cubicBezTo>
                    <a:lnTo>
                      <a:pt x="224696" y="19358"/>
                    </a:lnTo>
                    <a:cubicBezTo>
                      <a:pt x="42329" y="19358"/>
                      <a:pt x="3201" y="2660"/>
                      <a:pt x="322" y="0"/>
                    </a:cubicBezTo>
                    <a:cubicBezTo>
                      <a:pt x="-117" y="1316"/>
                      <a:pt x="20" y="2029"/>
                      <a:pt x="20" y="2029"/>
                    </a:cubicBezTo>
                    <a:lnTo>
                      <a:pt x="20" y="23389"/>
                    </a:lnTo>
                    <a:cubicBezTo>
                      <a:pt x="20" y="23389"/>
                      <a:pt x="26563" y="43103"/>
                      <a:pt x="224723" y="43103"/>
                    </a:cubicBezTo>
                    <a:lnTo>
                      <a:pt x="1210895" y="43103"/>
                    </a:lnTo>
                    <a:cubicBezTo>
                      <a:pt x="1409056" y="43103"/>
                      <a:pt x="1435625" y="23389"/>
                      <a:pt x="1435625" y="23389"/>
                    </a:cubicBezTo>
                    <a:lnTo>
                      <a:pt x="1435625" y="2029"/>
                    </a:lnTo>
                    <a:cubicBezTo>
                      <a:pt x="1435625" y="2029"/>
                      <a:pt x="1435735" y="1316"/>
                      <a:pt x="1435297" y="0"/>
                    </a:cubicBezTo>
                    <a:close/>
                  </a:path>
                </a:pathLst>
              </a:custGeom>
              <a:gradFill>
                <a:gsLst>
                  <a:gs pos="19000">
                    <a:srgbClr val="ABADB0"/>
                  </a:gs>
                  <a:gs pos="99000">
                    <a:srgbClr val="8A8C8E"/>
                  </a:gs>
                </a:gsLst>
                <a:lin ang="16799923" scaled="1"/>
              </a:gradFill>
              <a:ln w="2742" cap="flat">
                <a:noFill/>
                <a:prstDash val="solid"/>
                <a:miter/>
              </a:ln>
            </p:spPr>
            <p:txBody>
              <a:bodyPr rtlCol="0" anchor="ctr"/>
              <a:lstStyle/>
              <a:p>
                <a:endParaRPr lang="en-US" sz="1633"/>
              </a:p>
            </p:txBody>
          </p:sp>
        </p:grpSp>
        <p:sp>
          <p:nvSpPr>
            <p:cNvPr id="144" name="Freeform: Shape 143">
              <a:extLst>
                <a:ext uri="{FF2B5EF4-FFF2-40B4-BE49-F238E27FC236}">
                  <a16:creationId xmlns:a16="http://schemas.microsoft.com/office/drawing/2014/main" id="{8BCD543B-24C9-ECF4-C099-DB130C2517E7}"/>
                </a:ext>
              </a:extLst>
            </p:cNvPr>
            <p:cNvSpPr/>
            <p:nvPr/>
          </p:nvSpPr>
          <p:spPr>
            <a:xfrm>
              <a:off x="6946363" y="2746594"/>
              <a:ext cx="42445" cy="42445"/>
            </a:xfrm>
            <a:custGeom>
              <a:avLst/>
              <a:gdLst>
                <a:gd name="connsiteX0" fmla="*/ 42445 w 42445"/>
                <a:gd name="connsiteY0" fmla="*/ 21223 h 42445"/>
                <a:gd name="connsiteX1" fmla="*/ 21250 w 42445"/>
                <a:gd name="connsiteY1" fmla="*/ 42445 h 42445"/>
                <a:gd name="connsiteX2" fmla="*/ 0 w 42445"/>
                <a:gd name="connsiteY2" fmla="*/ 21223 h 42445"/>
                <a:gd name="connsiteX3" fmla="*/ 21250 w 42445"/>
                <a:gd name="connsiteY3" fmla="*/ 0 h 42445"/>
                <a:gd name="connsiteX4" fmla="*/ 42445 w 42445"/>
                <a:gd name="connsiteY4" fmla="*/ 21223 h 4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45" h="42445">
                  <a:moveTo>
                    <a:pt x="42445" y="21223"/>
                  </a:moveTo>
                  <a:cubicBezTo>
                    <a:pt x="42445" y="32958"/>
                    <a:pt x="32958" y="42445"/>
                    <a:pt x="21250" y="42445"/>
                  </a:cubicBezTo>
                  <a:cubicBezTo>
                    <a:pt x="9542" y="42445"/>
                    <a:pt x="0" y="32958"/>
                    <a:pt x="0" y="21223"/>
                  </a:cubicBezTo>
                  <a:cubicBezTo>
                    <a:pt x="0" y="9487"/>
                    <a:pt x="9488" y="0"/>
                    <a:pt x="21250" y="0"/>
                  </a:cubicBezTo>
                  <a:cubicBezTo>
                    <a:pt x="33013" y="0"/>
                    <a:pt x="42445" y="9515"/>
                    <a:pt x="42445" y="21223"/>
                  </a:cubicBezTo>
                  <a:close/>
                </a:path>
              </a:pathLst>
            </a:custGeom>
            <a:solidFill>
              <a:srgbClr val="424143"/>
            </a:solidFill>
            <a:ln w="2742" cap="flat">
              <a:noFill/>
              <a:prstDash val="solid"/>
              <a:miter/>
            </a:ln>
          </p:spPr>
          <p:txBody>
            <a:bodyPr rtlCol="0" anchor="ctr"/>
            <a:lstStyle/>
            <a:p>
              <a:endParaRPr lang="en-US" sz="1633"/>
            </a:p>
          </p:txBody>
        </p:sp>
      </p:grpSp>
      <p:sp>
        <p:nvSpPr>
          <p:cNvPr id="148" name="Google Shape;831;p25">
            <a:extLst>
              <a:ext uri="{FF2B5EF4-FFF2-40B4-BE49-F238E27FC236}">
                <a16:creationId xmlns:a16="http://schemas.microsoft.com/office/drawing/2014/main" id="{B86D9385-8DFA-86BD-7E83-90A29BF3CE8E}"/>
              </a:ext>
            </a:extLst>
          </p:cNvPr>
          <p:cNvSpPr>
            <a:spLocks/>
          </p:cNvSpPr>
          <p:nvPr/>
        </p:nvSpPr>
        <p:spPr>
          <a:xfrm>
            <a:off x="10612862" y="1932617"/>
            <a:ext cx="1419484" cy="128898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a:lnSpc>
                <a:spcPct val="130769"/>
              </a:lnSpc>
              <a:buClr>
                <a:schemeClr val="accent1"/>
              </a:buClr>
              <a:buSzPts val="1300"/>
            </a:pPr>
            <a:endParaRPr sz="1633" dirty="0"/>
          </a:p>
        </p:txBody>
      </p:sp>
      <p:sp>
        <p:nvSpPr>
          <p:cNvPr id="149" name="Rectangle 148">
            <a:extLst>
              <a:ext uri="{FF2B5EF4-FFF2-40B4-BE49-F238E27FC236}">
                <a16:creationId xmlns:a16="http://schemas.microsoft.com/office/drawing/2014/main" id="{2BCA8F3D-E6A4-A150-B6CD-217C61FABDC3}"/>
              </a:ext>
            </a:extLst>
          </p:cNvPr>
          <p:cNvSpPr>
            <a:spLocks/>
          </p:cNvSpPr>
          <p:nvPr/>
        </p:nvSpPr>
        <p:spPr>
          <a:xfrm>
            <a:off x="10736040" y="2002442"/>
            <a:ext cx="1173127" cy="1065278"/>
          </a:xfrm>
          <a:prstGeom prst="rect">
            <a:avLst/>
          </a:prstGeom>
          <a: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t="-1326" b="-132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33"/>
          </a:p>
        </p:txBody>
      </p:sp>
      <p:grpSp>
        <p:nvGrpSpPr>
          <p:cNvPr id="150" name="Group 149">
            <a:extLst>
              <a:ext uri="{FF2B5EF4-FFF2-40B4-BE49-F238E27FC236}">
                <a16:creationId xmlns:a16="http://schemas.microsoft.com/office/drawing/2014/main" id="{27FDA024-E37F-5419-35C7-F6C5DD8524D6}"/>
              </a:ext>
            </a:extLst>
          </p:cNvPr>
          <p:cNvGrpSpPr/>
          <p:nvPr/>
        </p:nvGrpSpPr>
        <p:grpSpPr>
          <a:xfrm>
            <a:off x="10068765" y="1692197"/>
            <a:ext cx="703197" cy="703197"/>
            <a:chOff x="4949498" y="6202259"/>
            <a:chExt cx="503992" cy="503992"/>
          </a:xfrm>
        </p:grpSpPr>
        <p:sp>
          <p:nvSpPr>
            <p:cNvPr id="151" name="Google Shape;558;p30">
              <a:extLst>
                <a:ext uri="{FF2B5EF4-FFF2-40B4-BE49-F238E27FC236}">
                  <a16:creationId xmlns:a16="http://schemas.microsoft.com/office/drawing/2014/main" id="{23575E16-6887-7F42-E087-9B0CDFCC5971}"/>
                </a:ext>
              </a:extLst>
            </p:cNvPr>
            <p:cNvSpPr/>
            <p:nvPr/>
          </p:nvSpPr>
          <p:spPr>
            <a:xfrm>
              <a:off x="4949498" y="6202259"/>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a:endParaRPr sz="1452" dirty="0">
                <a:solidFill>
                  <a:srgbClr val="FFFFFF"/>
                </a:solidFill>
                <a:ea typeface="Calibri"/>
                <a:cs typeface="Calibri"/>
                <a:sym typeface="Calibri"/>
              </a:endParaRPr>
            </a:p>
          </p:txBody>
        </p:sp>
        <p:pic>
          <p:nvPicPr>
            <p:cNvPr id="152" name="Graphic 151">
              <a:extLst>
                <a:ext uri="{FF2B5EF4-FFF2-40B4-BE49-F238E27FC236}">
                  <a16:creationId xmlns:a16="http://schemas.microsoft.com/office/drawing/2014/main" id="{867280D5-F53A-3C87-BC68-6DC2B4317C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47634" y="6329021"/>
              <a:ext cx="307720" cy="250469"/>
            </a:xfrm>
            <a:prstGeom prst="rect">
              <a:avLst/>
            </a:prstGeom>
          </p:spPr>
        </p:pic>
      </p:grpSp>
      <p:sp>
        <p:nvSpPr>
          <p:cNvPr id="153" name="Google Shape;545;p30">
            <a:extLst>
              <a:ext uri="{FF2B5EF4-FFF2-40B4-BE49-F238E27FC236}">
                <a16:creationId xmlns:a16="http://schemas.microsoft.com/office/drawing/2014/main" id="{8662C1D1-245B-E4D7-E5BD-D6EE8CF01945}"/>
              </a:ext>
            </a:extLst>
          </p:cNvPr>
          <p:cNvSpPr>
            <a:spLocks/>
          </p:cNvSpPr>
          <p:nvPr/>
        </p:nvSpPr>
        <p:spPr>
          <a:xfrm>
            <a:off x="519343" y="1402296"/>
            <a:ext cx="5284292" cy="716872"/>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b="1" dirty="0">
                <a:solidFill>
                  <a:schemeClr val="bg1"/>
                </a:solidFill>
                <a:latin typeface="Calibri" panose="020F0502020204030204" pitchFamily="34" charset="0"/>
                <a:cs typeface="Calibri" panose="020F0502020204030204" pitchFamily="34" charset="0"/>
              </a:rPr>
              <a:t>Streamlined</a:t>
            </a:r>
            <a:r>
              <a:rPr lang="fr-FR" b="1" dirty="0">
                <a:solidFill>
                  <a:schemeClr val="bg1"/>
                </a:solidFill>
                <a:latin typeface="Calibri" panose="020F0502020204030204" pitchFamily="34" charset="0"/>
                <a:cs typeface="Calibri" panose="020F0502020204030204" pitchFamily="34" charset="0"/>
              </a:rPr>
              <a:t> Data </a:t>
            </a:r>
            <a:r>
              <a:rPr lang="en-US" b="1" dirty="0">
                <a:solidFill>
                  <a:schemeClr val="bg1"/>
                </a:solidFill>
                <a:latin typeface="Calibri" panose="020F0502020204030204" pitchFamily="34" charset="0"/>
                <a:cs typeface="Calibri" panose="020F0502020204030204" pitchFamily="34" charset="0"/>
              </a:rPr>
              <a:t>Collection</a:t>
            </a:r>
            <a:r>
              <a:rPr lang="fr-FR" b="1" dirty="0">
                <a:solidFill>
                  <a:schemeClr val="bg1"/>
                </a:solidFill>
                <a:latin typeface="Calibri" panose="020F0502020204030204" pitchFamily="34" charset="0"/>
                <a:cs typeface="Calibri" panose="020F0502020204030204" pitchFamily="34" charset="0"/>
              </a:rPr>
              <a:t> </a:t>
            </a:r>
            <a:r>
              <a:rPr lang="en-US" b="1" dirty="0">
                <a:solidFill>
                  <a:schemeClr val="bg1"/>
                </a:solidFill>
                <a:latin typeface="Calibri" panose="020F0502020204030204" pitchFamily="34" charset="0"/>
                <a:cs typeface="Calibri" panose="020F0502020204030204" pitchFamily="34" charset="0"/>
              </a:rPr>
              <a:t>Methodology</a:t>
            </a:r>
          </a:p>
        </p:txBody>
      </p:sp>
      <p:sp>
        <p:nvSpPr>
          <p:cNvPr id="157" name="Arc 156">
            <a:extLst>
              <a:ext uri="{FF2B5EF4-FFF2-40B4-BE49-F238E27FC236}">
                <a16:creationId xmlns:a16="http://schemas.microsoft.com/office/drawing/2014/main" id="{515D8BFD-517F-79F2-EE94-49D766177446}"/>
              </a:ext>
            </a:extLst>
          </p:cNvPr>
          <p:cNvSpPr/>
          <p:nvPr/>
        </p:nvSpPr>
        <p:spPr>
          <a:xfrm>
            <a:off x="8921572" y="2395394"/>
            <a:ext cx="1687946" cy="1687946"/>
          </a:xfrm>
          <a:prstGeom prst="arc">
            <a:avLst/>
          </a:prstGeom>
          <a:ln w="127000">
            <a:solidFill>
              <a:schemeClr val="bg2"/>
            </a:solid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3"/>
          </a:p>
        </p:txBody>
      </p:sp>
      <p:sp>
        <p:nvSpPr>
          <p:cNvPr id="147" name="Rectangle 146">
            <a:extLst>
              <a:ext uri="{FF2B5EF4-FFF2-40B4-BE49-F238E27FC236}">
                <a16:creationId xmlns:a16="http://schemas.microsoft.com/office/drawing/2014/main" id="{3A76E099-87A0-DA3A-9ECD-7FD6967A9BAD}"/>
              </a:ext>
            </a:extLst>
          </p:cNvPr>
          <p:cNvSpPr>
            <a:spLocks/>
          </p:cNvSpPr>
          <p:nvPr/>
        </p:nvSpPr>
        <p:spPr>
          <a:xfrm>
            <a:off x="8163689" y="3530953"/>
            <a:ext cx="3543385" cy="1892896"/>
          </a:xfrm>
          <a:prstGeom prst="rect">
            <a:avLst/>
          </a:prstGeom>
          <a:blipFill dpi="0" rotWithShape="1">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l="-882" t="-6700" r="-6320" b="-50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33" dirty="0"/>
          </a:p>
        </p:txBody>
      </p:sp>
      <p:grpSp>
        <p:nvGrpSpPr>
          <p:cNvPr id="154" name="Group 153">
            <a:extLst>
              <a:ext uri="{FF2B5EF4-FFF2-40B4-BE49-F238E27FC236}">
                <a16:creationId xmlns:a16="http://schemas.microsoft.com/office/drawing/2014/main" id="{C2912C53-490B-265B-2621-1328EB647B07}"/>
              </a:ext>
            </a:extLst>
          </p:cNvPr>
          <p:cNvGrpSpPr/>
          <p:nvPr/>
        </p:nvGrpSpPr>
        <p:grpSpPr>
          <a:xfrm>
            <a:off x="7604859" y="2996756"/>
            <a:ext cx="703197" cy="703197"/>
            <a:chOff x="803725" y="4219935"/>
            <a:chExt cx="503992" cy="503992"/>
          </a:xfrm>
        </p:grpSpPr>
        <p:sp>
          <p:nvSpPr>
            <p:cNvPr id="155" name="Google Shape;554;p30">
              <a:extLst>
                <a:ext uri="{FF2B5EF4-FFF2-40B4-BE49-F238E27FC236}">
                  <a16:creationId xmlns:a16="http://schemas.microsoft.com/office/drawing/2014/main" id="{06756872-AE46-4F76-3767-69C4DF092A23}"/>
                </a:ext>
              </a:extLst>
            </p:cNvPr>
            <p:cNvSpPr/>
            <p:nvPr/>
          </p:nvSpPr>
          <p:spPr>
            <a:xfrm>
              <a:off x="803725" y="4219935"/>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a:endParaRPr sz="1452">
                <a:solidFill>
                  <a:srgbClr val="FFFFFF"/>
                </a:solidFill>
                <a:ea typeface="Calibri"/>
                <a:cs typeface="Calibri"/>
                <a:sym typeface="Calibri"/>
              </a:endParaRPr>
            </a:p>
          </p:txBody>
        </p:sp>
        <p:pic>
          <p:nvPicPr>
            <p:cNvPr id="156" name="Graphic 155">
              <a:extLst>
                <a:ext uri="{FF2B5EF4-FFF2-40B4-BE49-F238E27FC236}">
                  <a16:creationId xmlns:a16="http://schemas.microsoft.com/office/drawing/2014/main" id="{5B5B165E-EDA5-4589-4508-36483C1EF9A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5849" y="4358082"/>
              <a:ext cx="279745" cy="227699"/>
            </a:xfrm>
            <a:prstGeom prst="rect">
              <a:avLst/>
            </a:prstGeom>
          </p:spPr>
        </p:pic>
      </p:grpSp>
    </p:spTree>
    <p:extLst>
      <p:ext uri="{BB962C8B-B14F-4D97-AF65-F5344CB8AC3E}">
        <p14:creationId xmlns:p14="http://schemas.microsoft.com/office/powerpoint/2010/main" val="3924088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586330-E492-4A39-8D31-ECE77B1B65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D1586330-E492-4A39-8D31-ECE77B1B65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0CD50F91-9942-4BA7-AC2E-0871496732CE}"/>
              </a:ext>
            </a:extLst>
          </p:cNvPr>
          <p:cNvSpPr/>
          <p:nvPr/>
        </p:nvSpPr>
        <p:spPr>
          <a:xfrm>
            <a:off x="550863" y="448677"/>
            <a:ext cx="4247253" cy="677108"/>
          </a:xfrm>
          <a:prstGeom prst="rect">
            <a:avLst/>
          </a:prstGeom>
        </p:spPr>
        <p:txBody>
          <a:bodyPr wrap="none" lIns="0" tIns="0" rIns="0" bIns="0">
            <a:spAutoFit/>
          </a:bodyPr>
          <a:lstStyle/>
          <a:p>
            <a:r>
              <a:rPr lang="en-US" sz="4400" dirty="0">
                <a:solidFill>
                  <a:schemeClr val="bg1"/>
                </a:solidFill>
                <a:latin typeface="Franklin Gothic Demi" panose="020B0703020102020204" pitchFamily="34" charset="0"/>
              </a:rPr>
              <a:t>Table of contents</a:t>
            </a:r>
          </a:p>
        </p:txBody>
      </p:sp>
      <p:sp>
        <p:nvSpPr>
          <p:cNvPr id="2" name="Rectangle 1">
            <a:extLst>
              <a:ext uri="{FF2B5EF4-FFF2-40B4-BE49-F238E27FC236}">
                <a16:creationId xmlns:a16="http://schemas.microsoft.com/office/drawing/2014/main" id="{4BEF050D-F22D-1BFE-953B-886B604A9FE8}"/>
              </a:ext>
            </a:extLst>
          </p:cNvPr>
          <p:cNvSpPr/>
          <p:nvPr/>
        </p:nvSpPr>
        <p:spPr>
          <a:xfrm>
            <a:off x="550863" y="1790700"/>
            <a:ext cx="5400675" cy="1883593"/>
          </a:xfrm>
          <a:prstGeom prst="rect">
            <a:avLst/>
          </a:prstGeom>
        </p:spPr>
        <p:txBody>
          <a:bodyPr wrap="square" lIns="0" tIns="0" rIns="0" bIns="0">
            <a:spAutoFit/>
          </a:bodyPr>
          <a:lstStyle/>
          <a:p>
            <a:pPr>
              <a:lnSpc>
                <a:spcPct val="90000"/>
              </a:lnSpc>
              <a:spcBef>
                <a:spcPts val="1800"/>
              </a:spcBef>
            </a:pPr>
            <a:r>
              <a:rPr lang="en-US" sz="2800" b="1" dirty="0">
                <a:solidFill>
                  <a:schemeClr val="accent1"/>
                </a:solidFill>
              </a:rPr>
              <a:t>General overview on the company</a:t>
            </a:r>
            <a:br>
              <a:rPr lang="en-US" sz="2800" b="1" dirty="0">
                <a:solidFill>
                  <a:schemeClr val="accent1"/>
                </a:solidFill>
              </a:rPr>
            </a:br>
            <a:r>
              <a:rPr lang="en-US" sz="2800" b="1" dirty="0">
                <a:solidFill>
                  <a:schemeClr val="accent1"/>
                </a:solidFill>
              </a:rPr>
              <a:t>and our services </a:t>
            </a:r>
          </a:p>
          <a:p>
            <a:pPr marL="342900" lvl="1" indent="-342900">
              <a:lnSpc>
                <a:spcPct val="95000"/>
              </a:lnSpc>
              <a:spcBef>
                <a:spcPts val="600"/>
              </a:spcBef>
              <a:buClr>
                <a:schemeClr val="bg1"/>
              </a:buClr>
              <a:buSzPct val="90000"/>
              <a:buFont typeface="Wingdings" panose="05000000000000000000" pitchFamily="2" charset="2"/>
              <a:buChar char="§"/>
              <a:defRPr/>
            </a:pPr>
            <a:r>
              <a:rPr lang="en-US" sz="2000" dirty="0">
                <a:solidFill>
                  <a:schemeClr val="bg1"/>
                </a:solidFill>
                <a:latin typeface="Calibri" panose="020F0502020204030204" pitchFamily="34" charset="0"/>
                <a:cs typeface="Calibri" panose="020F0502020204030204" pitchFamily="34" charset="0"/>
                <a:sym typeface="Calibri" panose="020F0502020204030204" pitchFamily="34" charset="0"/>
              </a:rPr>
              <a:t>Infomineo presentation </a:t>
            </a:r>
          </a:p>
          <a:p>
            <a:pPr marL="342900" lvl="1" indent="-342900">
              <a:lnSpc>
                <a:spcPct val="95000"/>
              </a:lnSpc>
              <a:spcBef>
                <a:spcPts val="600"/>
              </a:spcBef>
              <a:buClr>
                <a:schemeClr val="bg1"/>
              </a:buClr>
              <a:buSzPct val="90000"/>
              <a:buFont typeface="Wingdings" panose="05000000000000000000" pitchFamily="2" charset="2"/>
              <a:buChar char="§"/>
              <a:defRPr/>
            </a:pPr>
            <a:r>
              <a:rPr lang="en-US" sz="2000" dirty="0">
                <a:solidFill>
                  <a:schemeClr val="bg1"/>
                </a:solidFill>
                <a:latin typeface="Calibri" panose="020F0502020204030204" pitchFamily="34" charset="0"/>
                <a:cs typeface="Calibri" panose="020F0502020204030204" pitchFamily="34" charset="0"/>
                <a:sym typeface="Calibri" panose="020F0502020204030204" pitchFamily="34" charset="0"/>
              </a:rPr>
              <a:t>Presentation of our services </a:t>
            </a:r>
          </a:p>
          <a:p>
            <a:pPr marL="342900" lvl="1" indent="-342900">
              <a:lnSpc>
                <a:spcPct val="95000"/>
              </a:lnSpc>
              <a:spcBef>
                <a:spcPts val="600"/>
              </a:spcBef>
              <a:buClr>
                <a:schemeClr val="bg1"/>
              </a:buClr>
              <a:buSzPct val="90000"/>
              <a:buFont typeface="Wingdings" panose="05000000000000000000" pitchFamily="2" charset="2"/>
              <a:buChar char="§"/>
              <a:defRPr/>
            </a:pPr>
            <a:r>
              <a:rPr lang="en-US" sz="2000" dirty="0">
                <a:solidFill>
                  <a:schemeClr val="bg1"/>
                </a:solidFill>
                <a:latin typeface="Calibri" panose="020F0502020204030204" pitchFamily="34" charset="0"/>
                <a:cs typeface="Calibri" panose="020F0502020204030204" pitchFamily="34" charset="0"/>
                <a:sym typeface="Calibri" panose="020F0502020204030204" pitchFamily="34" charset="0"/>
              </a:rPr>
              <a:t>Zoom on Business research  &amp; Data analytics</a:t>
            </a:r>
          </a:p>
        </p:txBody>
      </p:sp>
      <p:sp>
        <p:nvSpPr>
          <p:cNvPr id="3" name="Rectangle 2">
            <a:extLst>
              <a:ext uri="{FF2B5EF4-FFF2-40B4-BE49-F238E27FC236}">
                <a16:creationId xmlns:a16="http://schemas.microsoft.com/office/drawing/2014/main" id="{D9725D06-3730-B2D8-D4E7-ABA2E44854C7}"/>
              </a:ext>
            </a:extLst>
          </p:cNvPr>
          <p:cNvSpPr/>
          <p:nvPr/>
        </p:nvSpPr>
        <p:spPr>
          <a:xfrm>
            <a:off x="550863" y="4063069"/>
            <a:ext cx="5400675" cy="1865126"/>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180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Calibri" panose="020F0502020204030204"/>
                <a:ea typeface="+mn-ea"/>
                <a:cs typeface="+mn-cs"/>
              </a:rPr>
              <a:t>Our relationship with The Firm </a:t>
            </a:r>
          </a:p>
          <a:p>
            <a:pPr marL="342900" marR="0" lvl="1" indent="-342900" fontAlgn="auto">
              <a:lnSpc>
                <a:spcPct val="95000"/>
              </a:lnSpc>
              <a:spcBef>
                <a:spcPts val="600"/>
              </a:spcBef>
              <a:spcAft>
                <a:spcPts val="0"/>
              </a:spcAft>
              <a:buClr>
                <a:schemeClr val="bg1"/>
              </a:buClr>
              <a:buSzPct val="90000"/>
              <a:buFont typeface="Wingdings" panose="05000000000000000000" pitchFamily="2" charset="2"/>
              <a:buChar char="§"/>
              <a:tabLst/>
              <a:defRPr/>
            </a:pPr>
            <a:r>
              <a:rPr lang="en-US" sz="2000" dirty="0">
                <a:solidFill>
                  <a:schemeClr val="bg1"/>
                </a:solidFill>
                <a:latin typeface="Calibri" panose="020F0502020204030204" pitchFamily="34" charset="0"/>
                <a:cs typeface="Calibri" panose="020F0502020204030204" pitchFamily="34" charset="0"/>
                <a:sym typeface="Calibri" panose="020F0502020204030204" pitchFamily="34" charset="0"/>
              </a:rPr>
              <a:t>Collaboration start &amp; Key milestones </a:t>
            </a:r>
          </a:p>
          <a:p>
            <a:pPr marL="342900" marR="0" lvl="1" indent="-342900" fontAlgn="auto">
              <a:lnSpc>
                <a:spcPct val="95000"/>
              </a:lnSpc>
              <a:spcBef>
                <a:spcPts val="600"/>
              </a:spcBef>
              <a:spcAft>
                <a:spcPts val="0"/>
              </a:spcAft>
              <a:buClr>
                <a:schemeClr val="bg1"/>
              </a:buClr>
              <a:buSzPct val="90000"/>
              <a:buFont typeface="Wingdings" panose="05000000000000000000" pitchFamily="2" charset="2"/>
              <a:buChar char="§"/>
              <a:tabLst/>
              <a:defRPr/>
            </a:pPr>
            <a:r>
              <a:rPr lang="en-US" sz="2000" dirty="0">
                <a:solidFill>
                  <a:schemeClr val="bg1"/>
                </a:solidFill>
                <a:latin typeface="Calibri" panose="020F0502020204030204" pitchFamily="34" charset="0"/>
                <a:cs typeface="Calibri" panose="020F0502020204030204" pitchFamily="34" charset="0"/>
                <a:sym typeface="Calibri" panose="020F0502020204030204" pitchFamily="34" charset="0"/>
              </a:rPr>
              <a:t>Engagement models</a:t>
            </a:r>
          </a:p>
          <a:p>
            <a:pPr marL="342900" marR="0" lvl="1" indent="-342900" fontAlgn="auto">
              <a:lnSpc>
                <a:spcPct val="95000"/>
              </a:lnSpc>
              <a:spcBef>
                <a:spcPts val="600"/>
              </a:spcBef>
              <a:spcAft>
                <a:spcPts val="0"/>
              </a:spcAft>
              <a:buClr>
                <a:schemeClr val="bg1"/>
              </a:buClr>
              <a:buSzPct val="90000"/>
              <a:buFont typeface="Wingdings" panose="05000000000000000000" pitchFamily="2" charset="2"/>
              <a:buChar char="§"/>
              <a:tabLst/>
              <a:defRPr/>
            </a:pPr>
            <a:r>
              <a:rPr lang="en-US" sz="2000" dirty="0">
                <a:solidFill>
                  <a:schemeClr val="bg1"/>
                </a:solidFill>
                <a:latin typeface="Calibri" panose="020F0502020204030204" pitchFamily="34" charset="0"/>
                <a:cs typeface="Calibri" panose="020F0502020204030204" pitchFamily="34" charset="0"/>
                <a:sym typeface="Calibri" panose="020F0502020204030204" pitchFamily="34" charset="0"/>
              </a:rPr>
              <a:t>Examples of requests/Use cases</a:t>
            </a:r>
          </a:p>
          <a:p>
            <a:pPr marL="342900" marR="0" lvl="1" indent="-342900" fontAlgn="auto">
              <a:lnSpc>
                <a:spcPct val="95000"/>
              </a:lnSpc>
              <a:spcBef>
                <a:spcPts val="600"/>
              </a:spcBef>
              <a:spcAft>
                <a:spcPts val="0"/>
              </a:spcAft>
              <a:buClr>
                <a:schemeClr val="bg1"/>
              </a:buClr>
              <a:buSzPct val="90000"/>
              <a:buFont typeface="Wingdings" panose="05000000000000000000" pitchFamily="2" charset="2"/>
              <a:buChar char="§"/>
              <a:tabLst/>
              <a:defRPr/>
            </a:pPr>
            <a:r>
              <a:rPr lang="en-US" sz="2000" dirty="0">
                <a:solidFill>
                  <a:schemeClr val="bg1"/>
                </a:solidFill>
                <a:latin typeface="Calibri" panose="020F0502020204030204" pitchFamily="34" charset="0"/>
                <a:cs typeface="Calibri" panose="020F0502020204030204" pitchFamily="34" charset="0"/>
                <a:sym typeface="Calibri" panose="020F0502020204030204" pitchFamily="34" charset="0"/>
              </a:rPr>
              <a:t>Value proposition: Quality &amp; Coverage</a:t>
            </a:r>
          </a:p>
        </p:txBody>
      </p:sp>
      <p:pic>
        <p:nvPicPr>
          <p:cNvPr id="6" name="Picture 5" descr="A pen on a notebook on a table&#10;&#10;Description automatically generated with low confidence">
            <a:extLst>
              <a:ext uri="{FF2B5EF4-FFF2-40B4-BE49-F238E27FC236}">
                <a16:creationId xmlns:a16="http://schemas.microsoft.com/office/drawing/2014/main" id="{F77A4098-226B-025E-74F6-08195CCC4753}"/>
              </a:ext>
            </a:extLst>
          </p:cNvPr>
          <p:cNvPicPr>
            <a:picLocks noChangeAspect="1"/>
          </p:cNvPicPr>
          <p:nvPr/>
        </p:nvPicPr>
        <p:blipFill rotWithShape="1">
          <a:blip r:embed="rId5">
            <a:extLst>
              <a:ext uri="{28A0092B-C50C-407E-A947-70E740481C1C}">
                <a14:useLocalDpi xmlns:a14="http://schemas.microsoft.com/office/drawing/2010/main" val="0"/>
              </a:ext>
            </a:extLst>
          </a:blip>
          <a:srcRect l="823" t="2248" r="43931" b="2248"/>
          <a:stretch/>
        </p:blipFill>
        <p:spPr>
          <a:xfrm flipH="1">
            <a:off x="6240463" y="1"/>
            <a:ext cx="5951537" cy="6857998"/>
          </a:xfrm>
          <a:prstGeom prst="rect">
            <a:avLst/>
          </a:prstGeom>
        </p:spPr>
      </p:pic>
    </p:spTree>
    <p:extLst>
      <p:ext uri="{BB962C8B-B14F-4D97-AF65-F5344CB8AC3E}">
        <p14:creationId xmlns:p14="http://schemas.microsoft.com/office/powerpoint/2010/main" val="33680723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7632E0-A9B6-6300-3681-8309FBA4D516}"/>
              </a:ext>
            </a:extLst>
          </p:cNvPr>
          <p:cNvGraphicFramePr>
            <a:graphicFrameLocks noChangeAspect="1"/>
          </p:cNvGraphicFramePr>
          <p:nvPr>
            <p:custDataLst>
              <p:tags r:id="rId1"/>
            </p:custDataLst>
            <p:extLst>
              <p:ext uri="{D42A27DB-BD31-4B8C-83A1-F6EECF244321}">
                <p14:modId xmlns:p14="http://schemas.microsoft.com/office/powerpoint/2010/main" val="2853582636"/>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0D7632E0-A9B6-6300-3681-8309FBA4D516}"/>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FFDC0C8-D41E-9249-5051-7FD07B9158A2}"/>
              </a:ext>
            </a:extLst>
          </p:cNvPr>
          <p:cNvSpPr>
            <a:spLocks noGrp="1"/>
          </p:cNvSpPr>
          <p:nvPr>
            <p:ph type="title"/>
          </p:nvPr>
        </p:nvSpPr>
        <p:spPr>
          <a:xfrm>
            <a:off x="531814" y="560664"/>
            <a:ext cx="11089972" cy="664797"/>
          </a:xfrm>
        </p:spPr>
        <p:txBody>
          <a:bodyPr vert="horz"/>
          <a:lstStyle/>
          <a:p>
            <a:r>
              <a:rPr lang="en-US" sz="2400" kern="1200" dirty="0">
                <a:solidFill>
                  <a:schemeClr val="bg2"/>
                </a:solidFill>
                <a:latin typeface="Franklin Gothic Demi" panose="020B0703020102020204" pitchFamily="34" charset="0"/>
                <a:ea typeface="+mj-ea"/>
                <a:cs typeface="Calibri" panose="020F0502020204030204" pitchFamily="34" charset="0"/>
              </a:rPr>
              <a:t>Geospatial Analysis of Labor Catchment: </a:t>
            </a:r>
            <a:br>
              <a:rPr lang="en-US" sz="2400" kern="1200" dirty="0">
                <a:solidFill>
                  <a:schemeClr val="bg2"/>
                </a:solidFill>
                <a:latin typeface="Franklin Gothic Demi" panose="020B0703020102020204" pitchFamily="34" charset="0"/>
                <a:ea typeface="+mj-ea"/>
                <a:cs typeface="Calibri" panose="020F0502020204030204" pitchFamily="34" charset="0"/>
              </a:rPr>
            </a:br>
            <a:r>
              <a:rPr lang="en-US" sz="2400" kern="1200" dirty="0">
                <a:solidFill>
                  <a:schemeClr val="bg2"/>
                </a:solidFill>
                <a:latin typeface="Franklin Gothic Demi" panose="020B0703020102020204" pitchFamily="34" charset="0"/>
                <a:ea typeface="+mj-ea"/>
                <a:cs typeface="Calibri" panose="020F0502020204030204" pitchFamily="34" charset="0"/>
              </a:rPr>
              <a:t>Assessing Employment and Demographic Patterns</a:t>
            </a:r>
          </a:p>
        </p:txBody>
      </p:sp>
      <p:sp>
        <p:nvSpPr>
          <p:cNvPr id="6" name="Arrow: Pentagon 5">
            <a:extLst>
              <a:ext uri="{FF2B5EF4-FFF2-40B4-BE49-F238E27FC236}">
                <a16:creationId xmlns:a16="http://schemas.microsoft.com/office/drawing/2014/main" id="{8D25C050-5377-E25A-F073-4CCABE6F6C54}"/>
              </a:ext>
            </a:extLst>
          </p:cNvPr>
          <p:cNvSpPr>
            <a:spLocks/>
          </p:cNvSpPr>
          <p:nvPr/>
        </p:nvSpPr>
        <p:spPr>
          <a:xfrm flipH="1">
            <a:off x="10346988" y="560664"/>
            <a:ext cx="1845013" cy="886350"/>
          </a:xfrm>
          <a:prstGeom prst="homePlate">
            <a:avLst>
              <a:gd name="adj" fmla="val 1507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buClr>
                <a:srgbClr val="000000"/>
              </a:buClr>
            </a:pPr>
            <a:endParaRPr lang="en-US" sz="1270" kern="0">
              <a:solidFill>
                <a:srgbClr val="FFFFFF"/>
              </a:solidFill>
              <a:latin typeface="Calibri" panose="020F0502020204030204"/>
              <a:sym typeface="Arial"/>
            </a:endParaRPr>
          </a:p>
        </p:txBody>
      </p:sp>
      <p:pic>
        <p:nvPicPr>
          <p:cNvPr id="7" name="Google Shape;547;p30">
            <a:extLst>
              <a:ext uri="{FF2B5EF4-FFF2-40B4-BE49-F238E27FC236}">
                <a16:creationId xmlns:a16="http://schemas.microsoft.com/office/drawing/2014/main" id="{9FAAC4DC-3825-57EC-0FC1-A066631B09DB}"/>
              </a:ext>
            </a:extLst>
          </p:cNvPr>
          <p:cNvPicPr preferRelativeResize="0"/>
          <p:nvPr/>
        </p:nvPicPr>
        <p:blipFill rotWithShape="1">
          <a:blip r:embed="rId5" cstate="print">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10819711" y="615062"/>
            <a:ext cx="861050" cy="777555"/>
          </a:xfrm>
          <a:prstGeom prst="rect">
            <a:avLst/>
          </a:prstGeom>
          <a:noFill/>
          <a:ln>
            <a:noFill/>
          </a:ln>
        </p:spPr>
      </p:pic>
      <p:sp>
        <p:nvSpPr>
          <p:cNvPr id="8" name="Google Shape;831;p25">
            <a:extLst>
              <a:ext uri="{FF2B5EF4-FFF2-40B4-BE49-F238E27FC236}">
                <a16:creationId xmlns:a16="http://schemas.microsoft.com/office/drawing/2014/main" id="{AC0603C7-F978-FD43-3417-DA06CFFD3C37}"/>
              </a:ext>
            </a:extLst>
          </p:cNvPr>
          <p:cNvSpPr>
            <a:spLocks/>
          </p:cNvSpPr>
          <p:nvPr/>
        </p:nvSpPr>
        <p:spPr>
          <a:xfrm>
            <a:off x="499720" y="2096783"/>
            <a:ext cx="3654893" cy="4377757"/>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lang="en-US" sz="1270" kern="0" dirty="0">
              <a:solidFill>
                <a:srgbClr val="000000"/>
              </a:solidFill>
              <a:latin typeface="Arial"/>
              <a:cs typeface="Arial"/>
              <a:sym typeface="Arial"/>
            </a:endParaRPr>
          </a:p>
        </p:txBody>
      </p:sp>
      <p:sp>
        <p:nvSpPr>
          <p:cNvPr id="9" name="Google Shape;831;p25">
            <a:extLst>
              <a:ext uri="{FF2B5EF4-FFF2-40B4-BE49-F238E27FC236}">
                <a16:creationId xmlns:a16="http://schemas.microsoft.com/office/drawing/2014/main" id="{52CAA3C6-ADF7-FB94-F057-9F0BD640C672}"/>
              </a:ext>
            </a:extLst>
          </p:cNvPr>
          <p:cNvSpPr>
            <a:spLocks/>
          </p:cNvSpPr>
          <p:nvPr/>
        </p:nvSpPr>
        <p:spPr>
          <a:xfrm>
            <a:off x="8035681" y="2096784"/>
            <a:ext cx="3654893" cy="437775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sz="1270" kern="0" dirty="0">
              <a:solidFill>
                <a:srgbClr val="000000"/>
              </a:solidFill>
              <a:latin typeface="Arial"/>
              <a:cs typeface="Arial"/>
              <a:sym typeface="Arial"/>
            </a:endParaRPr>
          </a:p>
        </p:txBody>
      </p:sp>
      <p:sp>
        <p:nvSpPr>
          <p:cNvPr id="10" name="Google Shape;831;p25">
            <a:extLst>
              <a:ext uri="{FF2B5EF4-FFF2-40B4-BE49-F238E27FC236}">
                <a16:creationId xmlns:a16="http://schemas.microsoft.com/office/drawing/2014/main" id="{A41EF20E-668B-6A10-A56A-84BE64FD2428}"/>
              </a:ext>
            </a:extLst>
          </p:cNvPr>
          <p:cNvSpPr>
            <a:spLocks/>
          </p:cNvSpPr>
          <p:nvPr/>
        </p:nvSpPr>
        <p:spPr>
          <a:xfrm>
            <a:off x="4268554" y="2096784"/>
            <a:ext cx="3654893" cy="437775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sz="1270" kern="0" dirty="0">
              <a:solidFill>
                <a:srgbClr val="000000"/>
              </a:solidFill>
              <a:latin typeface="Arial"/>
              <a:cs typeface="Arial"/>
              <a:sym typeface="Arial"/>
            </a:endParaRPr>
          </a:p>
        </p:txBody>
      </p:sp>
      <p:sp>
        <p:nvSpPr>
          <p:cNvPr id="14" name="Google Shape;540;p30">
            <a:extLst>
              <a:ext uri="{FF2B5EF4-FFF2-40B4-BE49-F238E27FC236}">
                <a16:creationId xmlns:a16="http://schemas.microsoft.com/office/drawing/2014/main" id="{6BFAFB3C-793B-14F2-55F6-5615C6B8E87A}"/>
              </a:ext>
            </a:extLst>
          </p:cNvPr>
          <p:cNvSpPr>
            <a:spLocks/>
          </p:cNvSpPr>
          <p:nvPr/>
        </p:nvSpPr>
        <p:spPr>
          <a:xfrm>
            <a:off x="8025868" y="1686527"/>
            <a:ext cx="3654893" cy="713863"/>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400" b="1">
              <a:solidFill>
                <a:schemeClr val="bg1"/>
              </a:solidFill>
              <a:latin typeface="Calibri" panose="020F0502020204030204" pitchFamily="34" charset="0"/>
              <a:cs typeface="Calibri" panose="020F0502020204030204" pitchFamily="34" charset="0"/>
              <a:sym typeface="Arial"/>
            </a:endParaRPr>
          </a:p>
        </p:txBody>
      </p:sp>
      <p:sp>
        <p:nvSpPr>
          <p:cNvPr id="16" name="Google Shape;545;p30">
            <a:extLst>
              <a:ext uri="{FF2B5EF4-FFF2-40B4-BE49-F238E27FC236}">
                <a16:creationId xmlns:a16="http://schemas.microsoft.com/office/drawing/2014/main" id="{AE014B29-22FD-E08A-F4AF-7733683C7771}"/>
              </a:ext>
            </a:extLst>
          </p:cNvPr>
          <p:cNvSpPr>
            <a:spLocks/>
          </p:cNvSpPr>
          <p:nvPr/>
        </p:nvSpPr>
        <p:spPr>
          <a:xfrm>
            <a:off x="499720" y="1685023"/>
            <a:ext cx="3654893" cy="716872"/>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b="1">
              <a:solidFill>
                <a:schemeClr val="bg1"/>
              </a:solidFill>
              <a:latin typeface="Calibri" panose="020F0502020204030204" pitchFamily="34" charset="0"/>
              <a:cs typeface="Calibri" panose="020F0502020204030204" pitchFamily="34" charset="0"/>
              <a:sym typeface="Arial"/>
            </a:endParaRPr>
          </a:p>
        </p:txBody>
      </p:sp>
      <p:grpSp>
        <p:nvGrpSpPr>
          <p:cNvPr id="18" name="Group 17">
            <a:extLst>
              <a:ext uri="{FF2B5EF4-FFF2-40B4-BE49-F238E27FC236}">
                <a16:creationId xmlns:a16="http://schemas.microsoft.com/office/drawing/2014/main" id="{2FEE4393-D412-D55C-3EAC-C3FC0C8F7AE4}"/>
              </a:ext>
            </a:extLst>
          </p:cNvPr>
          <p:cNvGrpSpPr/>
          <p:nvPr/>
        </p:nvGrpSpPr>
        <p:grpSpPr>
          <a:xfrm>
            <a:off x="3465991" y="1746794"/>
            <a:ext cx="592190" cy="593331"/>
            <a:chOff x="3416568" y="1395569"/>
            <a:chExt cx="955760" cy="957600"/>
          </a:xfrm>
        </p:grpSpPr>
        <p:sp>
          <p:nvSpPr>
            <p:cNvPr id="19" name="Google Shape;551;p30">
              <a:extLst>
                <a:ext uri="{FF2B5EF4-FFF2-40B4-BE49-F238E27FC236}">
                  <a16:creationId xmlns:a16="http://schemas.microsoft.com/office/drawing/2014/main" id="{73D1234C-2C67-2EB7-D5F5-24121A4F62B5}"/>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01" kern="0">
                <a:solidFill>
                  <a:srgbClr val="FFFFFF"/>
                </a:solidFill>
                <a:latin typeface="Arial"/>
                <a:cs typeface="Arial"/>
                <a:sym typeface="Arial"/>
              </a:endParaRPr>
            </a:p>
          </p:txBody>
        </p:sp>
        <p:pic>
          <p:nvPicPr>
            <p:cNvPr id="20" name="Google Shape;552;p30">
              <a:extLst>
                <a:ext uri="{FF2B5EF4-FFF2-40B4-BE49-F238E27FC236}">
                  <a16:creationId xmlns:a16="http://schemas.microsoft.com/office/drawing/2014/main" id="{FBDA501D-A570-09C1-42DF-BA93CAB7C45D}"/>
                </a:ext>
              </a:extLst>
            </p:cNvPr>
            <p:cNvPicPr preferRelativeResize="0"/>
            <p:nvPr/>
          </p:nvPicPr>
          <p:blipFill rotWithShape="1">
            <a:blip r:embed="rId7"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sp>
        <p:nvSpPr>
          <p:cNvPr id="21" name="Google Shape;566;p30">
            <a:extLst>
              <a:ext uri="{FF2B5EF4-FFF2-40B4-BE49-F238E27FC236}">
                <a16:creationId xmlns:a16="http://schemas.microsoft.com/office/drawing/2014/main" id="{802C6218-0E8B-29B8-9AB9-A60612607102}"/>
              </a:ext>
            </a:extLst>
          </p:cNvPr>
          <p:cNvSpPr>
            <a:spLocks/>
          </p:cNvSpPr>
          <p:nvPr/>
        </p:nvSpPr>
        <p:spPr>
          <a:xfrm>
            <a:off x="4262794" y="1685023"/>
            <a:ext cx="3654893" cy="716872"/>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b="1">
              <a:solidFill>
                <a:schemeClr val="bg1"/>
              </a:solidFill>
              <a:latin typeface="Calibri" panose="020F0502020204030204" pitchFamily="34" charset="0"/>
              <a:cs typeface="Calibri" panose="020F0502020204030204" pitchFamily="34" charset="0"/>
              <a:sym typeface="Arial"/>
            </a:endParaRPr>
          </a:p>
        </p:txBody>
      </p:sp>
      <p:grpSp>
        <p:nvGrpSpPr>
          <p:cNvPr id="23" name="Group 22">
            <a:extLst>
              <a:ext uri="{FF2B5EF4-FFF2-40B4-BE49-F238E27FC236}">
                <a16:creationId xmlns:a16="http://schemas.microsoft.com/office/drawing/2014/main" id="{731B6241-4A24-5448-8E21-D74ED4AE2693}"/>
              </a:ext>
            </a:extLst>
          </p:cNvPr>
          <p:cNvGrpSpPr/>
          <p:nvPr/>
        </p:nvGrpSpPr>
        <p:grpSpPr>
          <a:xfrm>
            <a:off x="7222958" y="1746794"/>
            <a:ext cx="592190" cy="593331"/>
            <a:chOff x="7762572" y="1395569"/>
            <a:chExt cx="955760" cy="957600"/>
          </a:xfrm>
        </p:grpSpPr>
        <p:sp>
          <p:nvSpPr>
            <p:cNvPr id="24" name="Google Shape;568;p30">
              <a:extLst>
                <a:ext uri="{FF2B5EF4-FFF2-40B4-BE49-F238E27FC236}">
                  <a16:creationId xmlns:a16="http://schemas.microsoft.com/office/drawing/2014/main" id="{C8BA6C61-57F7-5455-045C-6A0D5EDACDBB}"/>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597" kern="0">
                <a:solidFill>
                  <a:srgbClr val="FFFFFF"/>
                </a:solidFill>
                <a:latin typeface="Arial"/>
                <a:cs typeface="Arial"/>
                <a:sym typeface="Arial"/>
              </a:endParaRPr>
            </a:p>
          </p:txBody>
        </p:sp>
        <p:pic>
          <p:nvPicPr>
            <p:cNvPr id="25" name="Google Shape;569;p30">
              <a:extLst>
                <a:ext uri="{FF2B5EF4-FFF2-40B4-BE49-F238E27FC236}">
                  <a16:creationId xmlns:a16="http://schemas.microsoft.com/office/drawing/2014/main" id="{CA0C2E3B-7276-F3E1-73F8-BA140D862055}"/>
                </a:ext>
              </a:extLst>
            </p:cNvPr>
            <p:cNvPicPr preferRelativeResize="0"/>
            <p:nvPr/>
          </p:nvPicPr>
          <p:blipFill rotWithShape="1">
            <a:blip r:embed="rId8"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26" name="Group 25">
            <a:extLst>
              <a:ext uri="{FF2B5EF4-FFF2-40B4-BE49-F238E27FC236}">
                <a16:creationId xmlns:a16="http://schemas.microsoft.com/office/drawing/2014/main" id="{3AE51361-A263-536C-DAD8-B16B27843287}"/>
              </a:ext>
            </a:extLst>
          </p:cNvPr>
          <p:cNvGrpSpPr/>
          <p:nvPr/>
        </p:nvGrpSpPr>
        <p:grpSpPr>
          <a:xfrm>
            <a:off x="10997736" y="1746794"/>
            <a:ext cx="592190" cy="593331"/>
            <a:chOff x="12019931" y="1366765"/>
            <a:chExt cx="955760" cy="957600"/>
          </a:xfrm>
        </p:grpSpPr>
        <p:sp>
          <p:nvSpPr>
            <p:cNvPr id="27" name="Google Shape;583;p30">
              <a:extLst>
                <a:ext uri="{FF2B5EF4-FFF2-40B4-BE49-F238E27FC236}">
                  <a16:creationId xmlns:a16="http://schemas.microsoft.com/office/drawing/2014/main" id="{03AF0B2E-D144-D1AC-B940-50B2FD3F9BCE}"/>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01" kern="0">
                <a:solidFill>
                  <a:srgbClr val="FFFFFF"/>
                </a:solidFill>
                <a:highlight>
                  <a:srgbClr val="FFFF00"/>
                </a:highlight>
                <a:latin typeface="Arial"/>
                <a:cs typeface="Arial"/>
                <a:sym typeface="Arial"/>
              </a:endParaRPr>
            </a:p>
          </p:txBody>
        </p:sp>
        <p:grpSp>
          <p:nvGrpSpPr>
            <p:cNvPr id="28" name="Google Shape;584;p30">
              <a:extLst>
                <a:ext uri="{FF2B5EF4-FFF2-40B4-BE49-F238E27FC236}">
                  <a16:creationId xmlns:a16="http://schemas.microsoft.com/office/drawing/2014/main" id="{6827B9F5-1B5C-9594-DF97-9B4EA627F0D5}"/>
                </a:ext>
              </a:extLst>
            </p:cNvPr>
            <p:cNvGrpSpPr/>
            <p:nvPr/>
          </p:nvGrpSpPr>
          <p:grpSpPr>
            <a:xfrm>
              <a:off x="12226115" y="1593618"/>
              <a:ext cx="543392" cy="503895"/>
              <a:chOff x="10915170" y="2075424"/>
              <a:chExt cx="432288" cy="400866"/>
            </a:xfrm>
          </p:grpSpPr>
          <p:sp>
            <p:nvSpPr>
              <p:cNvPr id="29" name="Google Shape;585;p30">
                <a:extLst>
                  <a:ext uri="{FF2B5EF4-FFF2-40B4-BE49-F238E27FC236}">
                    <a16:creationId xmlns:a16="http://schemas.microsoft.com/office/drawing/2014/main" id="{835E3102-15A4-CFC1-F0F5-5259256C032F}"/>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buClr>
                    <a:srgbClr val="000000"/>
                  </a:buClr>
                </a:pPr>
                <a:endParaRPr sz="1801" kern="0">
                  <a:solidFill>
                    <a:srgbClr val="444444"/>
                  </a:solidFill>
                  <a:highlight>
                    <a:srgbClr val="FFFF00"/>
                  </a:highlight>
                  <a:latin typeface="Calibri"/>
                  <a:ea typeface="Calibri"/>
                  <a:cs typeface="Calibri"/>
                  <a:sym typeface="Calibri"/>
                </a:endParaRPr>
              </a:p>
            </p:txBody>
          </p:sp>
          <p:sp>
            <p:nvSpPr>
              <p:cNvPr id="30" name="Google Shape;586;p30">
                <a:extLst>
                  <a:ext uri="{FF2B5EF4-FFF2-40B4-BE49-F238E27FC236}">
                    <a16:creationId xmlns:a16="http://schemas.microsoft.com/office/drawing/2014/main" id="{A1560FED-75CB-A814-B621-705C4284CCEC}"/>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buClr>
                    <a:srgbClr val="000000"/>
                  </a:buClr>
                </a:pPr>
                <a:endParaRPr sz="1801" kern="0">
                  <a:solidFill>
                    <a:srgbClr val="444444"/>
                  </a:solidFill>
                  <a:highlight>
                    <a:srgbClr val="FFFF00"/>
                  </a:highlight>
                  <a:latin typeface="Calibri"/>
                  <a:ea typeface="Calibri"/>
                  <a:cs typeface="Calibri"/>
                  <a:sym typeface="Calibri"/>
                </a:endParaRPr>
              </a:p>
            </p:txBody>
          </p:sp>
        </p:grpSp>
      </p:grpSp>
      <p:sp>
        <p:nvSpPr>
          <p:cNvPr id="2" name="Google Shape;541;p30">
            <a:extLst>
              <a:ext uri="{FF2B5EF4-FFF2-40B4-BE49-F238E27FC236}">
                <a16:creationId xmlns:a16="http://schemas.microsoft.com/office/drawing/2014/main" id="{B89D3427-A305-253E-9248-40D265AC22E6}"/>
              </a:ext>
            </a:extLst>
          </p:cNvPr>
          <p:cNvSpPr txBox="1"/>
          <p:nvPr/>
        </p:nvSpPr>
        <p:spPr>
          <a:xfrm>
            <a:off x="8998252" y="1901065"/>
            <a:ext cx="1710125"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Outcome</a:t>
            </a:r>
            <a:endParaRPr sz="2177" b="1" kern="0" dirty="0">
              <a:solidFill>
                <a:srgbClr val="000000"/>
              </a:solidFill>
              <a:latin typeface="Calibri" panose="020F0502020204030204"/>
              <a:cs typeface="Arial"/>
              <a:sym typeface="Arial"/>
            </a:endParaRPr>
          </a:p>
        </p:txBody>
      </p:sp>
      <p:sp>
        <p:nvSpPr>
          <p:cNvPr id="3" name="Google Shape;546;p30">
            <a:extLst>
              <a:ext uri="{FF2B5EF4-FFF2-40B4-BE49-F238E27FC236}">
                <a16:creationId xmlns:a16="http://schemas.microsoft.com/office/drawing/2014/main" id="{5DBA1FF9-00CA-DE5D-E5F7-CFB585CB7574}"/>
              </a:ext>
            </a:extLst>
          </p:cNvPr>
          <p:cNvSpPr txBox="1"/>
          <p:nvPr/>
        </p:nvSpPr>
        <p:spPr>
          <a:xfrm>
            <a:off x="1218392" y="1901065"/>
            <a:ext cx="2217549"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Client Challenge</a:t>
            </a:r>
            <a:endParaRPr sz="2177" b="1" kern="0" dirty="0">
              <a:solidFill>
                <a:srgbClr val="000000"/>
              </a:solidFill>
              <a:latin typeface="Calibri" panose="020F0502020204030204"/>
              <a:cs typeface="Arial"/>
              <a:sym typeface="Arial"/>
            </a:endParaRPr>
          </a:p>
        </p:txBody>
      </p:sp>
      <p:sp>
        <p:nvSpPr>
          <p:cNvPr id="33" name="Google Shape;567;p30">
            <a:extLst>
              <a:ext uri="{FF2B5EF4-FFF2-40B4-BE49-F238E27FC236}">
                <a16:creationId xmlns:a16="http://schemas.microsoft.com/office/drawing/2014/main" id="{6ECC9F43-A07F-18F7-C831-FD2F07E31CE4}"/>
              </a:ext>
            </a:extLst>
          </p:cNvPr>
          <p:cNvSpPr txBox="1"/>
          <p:nvPr/>
        </p:nvSpPr>
        <p:spPr>
          <a:xfrm>
            <a:off x="5210232" y="1901065"/>
            <a:ext cx="1760015" cy="284758"/>
          </a:xfrm>
          <a:prstGeom prst="rect">
            <a:avLst/>
          </a:prstGeom>
          <a:noFill/>
          <a:ln>
            <a:noFill/>
          </a:ln>
        </p:spPr>
        <p:txBody>
          <a:bodyPr spcFirstLastPara="1" wrap="square" lIns="0" tIns="0" rIns="0" bIns="0" anchor="t" anchorCtr="0">
            <a:spAutoFit/>
          </a:bodyPr>
          <a:lstStyle/>
          <a:p>
            <a:pPr algn="ctr" defTabSz="829544">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Our Solution</a:t>
            </a:r>
            <a:endParaRPr sz="2177" b="1" kern="0" dirty="0">
              <a:solidFill>
                <a:srgbClr val="000000"/>
              </a:solidFill>
              <a:latin typeface="Calibri" panose="020F0502020204030204"/>
              <a:cs typeface="Arial"/>
              <a:sym typeface="Arial"/>
            </a:endParaRPr>
          </a:p>
        </p:txBody>
      </p:sp>
      <p:sp>
        <p:nvSpPr>
          <p:cNvPr id="35" name="Google Shape;563;p30">
            <a:extLst>
              <a:ext uri="{FF2B5EF4-FFF2-40B4-BE49-F238E27FC236}">
                <a16:creationId xmlns:a16="http://schemas.microsoft.com/office/drawing/2014/main" id="{F6B62C8F-4118-92E1-1F6E-BE01BC2F2812}"/>
              </a:ext>
            </a:extLst>
          </p:cNvPr>
          <p:cNvSpPr txBox="1">
            <a:spLocks/>
          </p:cNvSpPr>
          <p:nvPr/>
        </p:nvSpPr>
        <p:spPr>
          <a:xfrm>
            <a:off x="8215496" y="2478163"/>
            <a:ext cx="3200523" cy="3492558"/>
          </a:xfrm>
          <a:prstGeom prst="rect">
            <a:avLst/>
          </a:prstGeom>
          <a:noFill/>
          <a:ln>
            <a:noFill/>
          </a:ln>
        </p:spPr>
        <p:txBody>
          <a:bodyPr spcFirstLastPara="1" wrap="square" lIns="0" tIns="0" rIns="0" bIns="0" anchor="t" anchorCtr="0">
            <a:noAutofit/>
          </a:bodyPr>
          <a:lstStyle/>
          <a:p>
            <a:pPr defTabSz="829544">
              <a:lnSpc>
                <a:spcPts val="1633"/>
              </a:lnSpc>
              <a:buClr>
                <a:srgbClr val="00B9FF"/>
              </a:buClr>
              <a:buSzPct val="100000"/>
            </a:pPr>
            <a:r>
              <a:rPr lang="en-US" sz="1452" kern="0" dirty="0">
                <a:solidFill>
                  <a:srgbClr val="444444"/>
                </a:solidFill>
                <a:latin typeface="Calibri" panose="020F0502020204030204"/>
                <a:ea typeface="Calibri"/>
                <a:cs typeface="Calibri"/>
                <a:sym typeface="Calibri"/>
              </a:rPr>
              <a:t>The client benefited from Infomineo Data Analytics service on multiple fronts: </a:t>
            </a:r>
          </a:p>
          <a:p>
            <a:pPr defTabSz="829544">
              <a:lnSpc>
                <a:spcPts val="1633"/>
              </a:lnSpc>
              <a:buClr>
                <a:srgbClr val="00B9FF"/>
              </a:buClr>
              <a:buSzPct val="100000"/>
            </a:pPr>
            <a:endParaRPr lang="en-US" sz="1452" kern="0" dirty="0">
              <a:solidFill>
                <a:srgbClr val="444444"/>
              </a:solidFill>
              <a:latin typeface="Calibri" panose="020F0502020204030204"/>
              <a:ea typeface="Calibri"/>
              <a:cs typeface="Calibri"/>
              <a:sym typeface="Calibri"/>
            </a:endParaRPr>
          </a:p>
          <a:p>
            <a:pPr marL="259232" lvl="3" indent="-259232" defTabSz="829544">
              <a:lnSpc>
                <a:spcPts val="1814"/>
              </a:lnSpc>
              <a:buClr>
                <a:schemeClr val="bg2"/>
              </a:buClr>
              <a:buSzPct val="100000"/>
              <a:buFont typeface="Wingdings" panose="05000000000000000000" pitchFamily="2" charset="2"/>
              <a:buChar char="§"/>
            </a:pPr>
            <a:r>
              <a:rPr lang="en-US" sz="1452" b="1" kern="0" dirty="0">
                <a:solidFill>
                  <a:schemeClr val="bg2"/>
                </a:solidFill>
                <a:latin typeface="Calibri" panose="020F0502020204030204"/>
                <a:ea typeface="Calibri"/>
                <a:cs typeface="Calibri"/>
                <a:sym typeface="Calibri"/>
              </a:rPr>
              <a:t>Comprehensive KPI Insights</a:t>
            </a: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Delivered a report with averaged KPIs for each buffer zone (e.g., unemployment, educational background, and wages).</a:t>
            </a:r>
          </a:p>
          <a:p>
            <a:pPr marL="157613" indent="-157613" defTabSz="829544">
              <a:lnSpc>
                <a:spcPts val="1633"/>
              </a:lnSpc>
              <a:buClr>
                <a:srgbClr val="0F47F2"/>
              </a:buClr>
              <a:buSzPct val="100000"/>
              <a:buFont typeface="Wingdings" panose="05000000000000000000" pitchFamily="2" charset="2"/>
              <a:buChar char="§"/>
            </a:pPr>
            <a:endParaRPr lang="en-US" sz="1270" kern="0" dirty="0">
              <a:solidFill>
                <a:srgbClr val="000000"/>
              </a:solidFill>
              <a:latin typeface="Calibri" panose="020F0502020204030204"/>
              <a:ea typeface="Calibri"/>
              <a:cs typeface="Calibri"/>
              <a:sym typeface="Calibri"/>
            </a:endParaRPr>
          </a:p>
          <a:p>
            <a:pPr marL="259232" lvl="3" indent="-259232" defTabSz="829544">
              <a:lnSpc>
                <a:spcPts val="1814"/>
              </a:lnSpc>
              <a:buClr>
                <a:schemeClr val="bg2"/>
              </a:buClr>
              <a:buSzPct val="100000"/>
              <a:buFont typeface="Wingdings" panose="05000000000000000000" pitchFamily="2" charset="2"/>
              <a:buChar char="§"/>
            </a:pPr>
            <a:r>
              <a:rPr lang="en-US" sz="1452" b="1" kern="0" dirty="0">
                <a:solidFill>
                  <a:schemeClr val="bg2"/>
                </a:solidFill>
                <a:latin typeface="Calibri" panose="020F0502020204030204"/>
                <a:ea typeface="Calibri"/>
                <a:cs typeface="Calibri"/>
                <a:sym typeface="Calibri"/>
              </a:rPr>
              <a:t>Seamless Data Exploration</a:t>
            </a: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Developed a user-friendly graphical interface that enables customized analyses. </a:t>
            </a:r>
          </a:p>
          <a:p>
            <a:pPr marL="157613" indent="-157613" defTabSz="829544">
              <a:lnSpc>
                <a:spcPts val="1633"/>
              </a:lnSpc>
              <a:buClr>
                <a:srgbClr val="0F47F2"/>
              </a:buClr>
              <a:buSzPct val="100000"/>
              <a:buFont typeface="Wingdings" panose="05000000000000000000" pitchFamily="2" charset="2"/>
              <a:buChar char="§"/>
            </a:pPr>
            <a:endParaRPr lang="en-US" sz="1452" b="1" kern="0" dirty="0">
              <a:solidFill>
                <a:srgbClr val="000000"/>
              </a:solidFill>
              <a:latin typeface="Calibri" panose="020F0502020204030204"/>
              <a:ea typeface="Calibri"/>
              <a:cs typeface="Calibri"/>
              <a:sym typeface="Calibri"/>
            </a:endParaRPr>
          </a:p>
          <a:p>
            <a:pPr marL="259232" lvl="3" indent="-259232" defTabSz="829544">
              <a:lnSpc>
                <a:spcPts val="1814"/>
              </a:lnSpc>
              <a:buClr>
                <a:schemeClr val="bg2"/>
              </a:buClr>
              <a:buSzPct val="100000"/>
              <a:buFont typeface="Wingdings" panose="05000000000000000000" pitchFamily="2" charset="2"/>
              <a:buChar char="§"/>
            </a:pPr>
            <a:r>
              <a:rPr lang="en-US" sz="1452" b="1" kern="0" dirty="0">
                <a:solidFill>
                  <a:schemeClr val="bg2"/>
                </a:solidFill>
                <a:latin typeface="Calibri" panose="020F0502020204030204"/>
                <a:ea typeface="Calibri"/>
                <a:cs typeface="Calibri"/>
                <a:sym typeface="Calibri"/>
              </a:rPr>
              <a:t>Scalable Expansion Potential</a:t>
            </a:r>
          </a:p>
          <a:p>
            <a:pPr defTabSz="829544">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The graphical interface could be expanded to cover additional European countries for future analysis.</a:t>
            </a:r>
          </a:p>
        </p:txBody>
      </p:sp>
      <p:sp>
        <p:nvSpPr>
          <p:cNvPr id="37" name="Google Shape;574;p30">
            <a:extLst>
              <a:ext uri="{FF2B5EF4-FFF2-40B4-BE49-F238E27FC236}">
                <a16:creationId xmlns:a16="http://schemas.microsoft.com/office/drawing/2014/main" id="{3DAFA8F1-CAF0-A738-1CA9-7CE2250663F9}"/>
              </a:ext>
            </a:extLst>
          </p:cNvPr>
          <p:cNvSpPr txBox="1">
            <a:spLocks/>
          </p:cNvSpPr>
          <p:nvPr/>
        </p:nvSpPr>
        <p:spPr>
          <a:xfrm>
            <a:off x="712430" y="3564661"/>
            <a:ext cx="3251546" cy="2345356"/>
          </a:xfrm>
          <a:prstGeom prst="rect">
            <a:avLst/>
          </a:prstGeom>
          <a:noFill/>
          <a:ln>
            <a:noFill/>
          </a:ln>
        </p:spPr>
        <p:txBody>
          <a:bodyPr spcFirstLastPara="1" wrap="square" lIns="0" tIns="0" rIns="0" bIns="0" anchor="t" anchorCtr="0">
            <a:noAutofit/>
          </a:bodyPr>
          <a:lstStyle/>
          <a:p>
            <a:pPr marL="248863" indent="-248863" defTabSz="829544">
              <a:buClr>
                <a:srgbClr val="0F47F2"/>
              </a:buClr>
              <a:buFont typeface="+mj-lt"/>
              <a:buAutoNum type="arabicPeriod"/>
            </a:pPr>
            <a:r>
              <a:rPr lang="en-US" sz="1270" kern="0" dirty="0">
                <a:solidFill>
                  <a:srgbClr val="374151"/>
                </a:solidFill>
                <a:latin typeface="Calibri" panose="020F0502020204030204"/>
                <a:cs typeface="Arial"/>
                <a:sym typeface="Arial"/>
              </a:rPr>
              <a:t>Identifying the most relevant indicators and reliable data sources that will provide them with comprehensive insights.</a:t>
            </a:r>
          </a:p>
          <a:p>
            <a:pPr marL="248863" indent="-248863" defTabSz="829544">
              <a:buClr>
                <a:srgbClr val="0F47F2"/>
              </a:buClr>
              <a:buFont typeface="+mj-lt"/>
              <a:buAutoNum type="arabicPeriod"/>
            </a:pPr>
            <a:endParaRPr lang="en-US" sz="1270" kern="0" dirty="0">
              <a:solidFill>
                <a:srgbClr val="374151"/>
              </a:solidFill>
              <a:latin typeface="Calibri" panose="020F0502020204030204"/>
              <a:cs typeface="Arial"/>
              <a:sym typeface="Arial"/>
            </a:endParaRPr>
          </a:p>
          <a:p>
            <a:pPr marL="248863" indent="-248863" defTabSz="829544">
              <a:buClr>
                <a:srgbClr val="0F47F2"/>
              </a:buClr>
              <a:buFont typeface="+mj-lt"/>
              <a:buAutoNum type="arabicPeriod"/>
            </a:pPr>
            <a:r>
              <a:rPr lang="en-US" sz="1270" kern="0" dirty="0">
                <a:solidFill>
                  <a:srgbClr val="000000"/>
                </a:solidFill>
                <a:latin typeface="Calibri" panose="020F0502020204030204"/>
                <a:ea typeface="Calibri"/>
                <a:cs typeface="Calibri"/>
                <a:sym typeface="Calibri"/>
              </a:rPr>
              <a:t>Calculating the percentage area of each municipality and the estimated population within designated buffer zones based on specific geographic coordinates. </a:t>
            </a:r>
          </a:p>
          <a:p>
            <a:pPr marL="248863" indent="-248863" defTabSz="829544">
              <a:buClr>
                <a:srgbClr val="0F47F2"/>
              </a:buClr>
              <a:buFont typeface="+mj-lt"/>
              <a:buAutoNum type="arabicPeriod"/>
            </a:pPr>
            <a:endParaRPr lang="en-US" sz="1270" kern="0" dirty="0">
              <a:solidFill>
                <a:srgbClr val="000000"/>
              </a:solidFill>
              <a:latin typeface="Calibri" panose="020F0502020204030204"/>
              <a:ea typeface="Calibri"/>
              <a:cs typeface="Calibri"/>
              <a:sym typeface="Calibri"/>
            </a:endParaRPr>
          </a:p>
          <a:p>
            <a:pPr marL="248863" indent="-248863" defTabSz="829544">
              <a:buClr>
                <a:srgbClr val="0F47F2"/>
              </a:buClr>
              <a:buFont typeface="+mj-lt"/>
              <a:buAutoNum type="arabicPeriod"/>
            </a:pPr>
            <a:r>
              <a:rPr lang="en-US" sz="1270" kern="0" dirty="0">
                <a:solidFill>
                  <a:srgbClr val="000000"/>
                </a:solidFill>
                <a:latin typeface="Calibri" panose="020F0502020204030204"/>
                <a:ea typeface="Calibri"/>
                <a:cs typeface="Calibri"/>
                <a:sym typeface="Calibri"/>
              </a:rPr>
              <a:t>Visualizing the collected data into a geospatial to identify patterns, hotspot areas with higher needs, and make data-driven decisions regarding the optimal placement of our unemployment centers </a:t>
            </a:r>
          </a:p>
        </p:txBody>
      </p:sp>
      <p:sp>
        <p:nvSpPr>
          <p:cNvPr id="15" name="TextBox 14">
            <a:extLst>
              <a:ext uri="{FF2B5EF4-FFF2-40B4-BE49-F238E27FC236}">
                <a16:creationId xmlns:a16="http://schemas.microsoft.com/office/drawing/2014/main" id="{CA83556E-610A-3C17-BC93-8075A7655F0B}"/>
              </a:ext>
            </a:extLst>
          </p:cNvPr>
          <p:cNvSpPr txBox="1"/>
          <p:nvPr/>
        </p:nvSpPr>
        <p:spPr>
          <a:xfrm>
            <a:off x="4334427" y="2420773"/>
            <a:ext cx="3474411" cy="3875485"/>
          </a:xfrm>
          <a:prstGeom prst="rect">
            <a:avLst/>
          </a:prstGeom>
          <a:noFill/>
        </p:spPr>
        <p:txBody>
          <a:bodyPr wrap="square">
            <a:spAutoFit/>
          </a:bodyPr>
          <a:lstStyle/>
          <a:p>
            <a:pPr defTabSz="829544">
              <a:buClr>
                <a:srgbClr val="00B9FF"/>
              </a:buClr>
            </a:pPr>
            <a:r>
              <a:rPr lang="en-US" sz="1452" kern="0" dirty="0">
                <a:solidFill>
                  <a:srgbClr val="444444"/>
                </a:solidFill>
                <a:latin typeface="Calibri" panose="020F0502020204030204"/>
                <a:ea typeface="Calibri"/>
                <a:cs typeface="Calibri"/>
                <a:sym typeface="Calibri"/>
              </a:rPr>
              <a:t>Infomineo’ s Data Analytics team addressed the client’s need by:</a:t>
            </a:r>
          </a:p>
          <a:p>
            <a:pPr defTabSz="829544">
              <a:spcBef>
                <a:spcPts val="544"/>
              </a:spcBef>
              <a:buClr>
                <a:srgbClr val="00B9FF"/>
              </a:buClr>
            </a:pPr>
            <a:r>
              <a:rPr lang="en-US" sz="1452" b="1" kern="0" dirty="0">
                <a:solidFill>
                  <a:srgbClr val="000000"/>
                </a:solidFill>
                <a:latin typeface="Calibri" panose="020F0502020204030204"/>
                <a:cs typeface="Arial"/>
                <a:sym typeface="Arial"/>
              </a:rPr>
              <a:t>Indicator Identification</a:t>
            </a:r>
            <a:endParaRPr lang="en-US" sz="1452" kern="0" dirty="0">
              <a:solidFill>
                <a:srgbClr val="000000"/>
              </a:solidFill>
              <a:latin typeface="Calibri" panose="020F0502020204030204"/>
              <a:cs typeface="Arial"/>
              <a:sym typeface="Arial"/>
            </a:endParaRPr>
          </a:p>
          <a:p>
            <a:pPr defTabSz="829544">
              <a:buClr>
                <a:srgbClr val="00B9FF"/>
              </a:buClr>
            </a:pPr>
            <a:r>
              <a:rPr lang="en-US" sz="1270" kern="0" dirty="0">
                <a:solidFill>
                  <a:srgbClr val="374151"/>
                </a:solidFill>
                <a:latin typeface="Calibri" panose="020F0502020204030204"/>
                <a:cs typeface="Arial"/>
                <a:sym typeface="Arial"/>
              </a:rPr>
              <a:t>Selecting relevant criteria such as population statistics, socio-economic factors, and geographic boundaries.</a:t>
            </a:r>
          </a:p>
          <a:p>
            <a:pPr defTabSz="829544">
              <a:spcBef>
                <a:spcPts val="544"/>
              </a:spcBef>
              <a:buClr>
                <a:srgbClr val="00B9FF"/>
              </a:buClr>
            </a:pPr>
            <a:r>
              <a:rPr lang="en-US" sz="1452" b="1" kern="0" dirty="0">
                <a:solidFill>
                  <a:srgbClr val="000000"/>
                </a:solidFill>
                <a:latin typeface="Calibri" panose="020F0502020204030204"/>
                <a:cs typeface="Arial"/>
                <a:sym typeface="Arial"/>
              </a:rPr>
              <a:t>Modelling</a:t>
            </a:r>
          </a:p>
          <a:p>
            <a:pPr marL="311079" lvl="2" indent="-311079" defTabSz="829544">
              <a:spcBef>
                <a:spcPts val="544"/>
              </a:spcBef>
              <a:buClr>
                <a:srgbClr val="0F47F2"/>
              </a:buClr>
              <a:buFont typeface="+mj-lt"/>
              <a:buAutoNum type="arabicPeriod"/>
            </a:pPr>
            <a:r>
              <a:rPr lang="en-US" sz="1270" kern="0" dirty="0">
                <a:solidFill>
                  <a:srgbClr val="374151"/>
                </a:solidFill>
                <a:latin typeface="Calibri" panose="020F0502020204030204"/>
                <a:cs typeface="Arial"/>
                <a:sym typeface="Arial"/>
              </a:rPr>
              <a:t>Calculation of the percentage area of each municipality within designated buffer zones based geographic coordinates. </a:t>
            </a:r>
          </a:p>
          <a:p>
            <a:pPr marL="311079" lvl="2" indent="-311079" defTabSz="829544">
              <a:spcBef>
                <a:spcPts val="544"/>
              </a:spcBef>
              <a:buClr>
                <a:srgbClr val="0F47F2"/>
              </a:buClr>
              <a:buFont typeface="+mj-lt"/>
              <a:buAutoNum type="arabicPeriod"/>
            </a:pPr>
            <a:r>
              <a:rPr lang="en-US" sz="1270" kern="0" dirty="0">
                <a:solidFill>
                  <a:srgbClr val="374151"/>
                </a:solidFill>
                <a:latin typeface="Calibri" panose="020F0502020204030204"/>
                <a:cs typeface="Arial"/>
                <a:sym typeface="Arial"/>
              </a:rPr>
              <a:t>Development of an algorithm that accounted for a homogeneous distribution of the population.</a:t>
            </a:r>
          </a:p>
          <a:p>
            <a:pPr defTabSz="829544">
              <a:spcBef>
                <a:spcPts val="544"/>
              </a:spcBef>
              <a:buClr>
                <a:srgbClr val="00B9FF"/>
              </a:buClr>
            </a:pPr>
            <a:r>
              <a:rPr lang="en-US" sz="1452" b="1" kern="0" dirty="0">
                <a:solidFill>
                  <a:srgbClr val="000000"/>
                </a:solidFill>
                <a:latin typeface="Calibri" panose="020F0502020204030204"/>
                <a:cs typeface="Arial"/>
                <a:sym typeface="Arial"/>
              </a:rPr>
              <a:t>Geocoding &amp; Visualization</a:t>
            </a:r>
          </a:p>
          <a:p>
            <a:pPr defTabSz="829544">
              <a:buClr>
                <a:srgbClr val="00B9FF"/>
              </a:buClr>
            </a:pPr>
            <a:r>
              <a:rPr lang="en-US" sz="1270" kern="0" dirty="0">
                <a:solidFill>
                  <a:srgbClr val="374151"/>
                </a:solidFill>
                <a:latin typeface="Calibri" panose="020F0502020204030204"/>
                <a:cs typeface="Arial"/>
                <a:sym typeface="Arial"/>
              </a:rPr>
              <a:t>Use of geocoding techniques to transform location data into precise geographical coordinates. </a:t>
            </a:r>
          </a:p>
        </p:txBody>
      </p:sp>
      <p:sp>
        <p:nvSpPr>
          <p:cNvPr id="22" name="TextBox 21">
            <a:extLst>
              <a:ext uri="{FF2B5EF4-FFF2-40B4-BE49-F238E27FC236}">
                <a16:creationId xmlns:a16="http://schemas.microsoft.com/office/drawing/2014/main" id="{E039BA2E-7086-C3FB-6014-E1E058F2ED37}"/>
              </a:ext>
            </a:extLst>
          </p:cNvPr>
          <p:cNvSpPr txBox="1"/>
          <p:nvPr/>
        </p:nvSpPr>
        <p:spPr>
          <a:xfrm>
            <a:off x="621450" y="2452794"/>
            <a:ext cx="3542977" cy="1069524"/>
          </a:xfrm>
          <a:prstGeom prst="rect">
            <a:avLst/>
          </a:prstGeom>
          <a:noFill/>
        </p:spPr>
        <p:txBody>
          <a:bodyPr wrap="square">
            <a:spAutoFit/>
          </a:bodyPr>
          <a:lstStyle/>
          <a:p>
            <a:pPr defTabSz="829544">
              <a:buClr>
                <a:srgbClr val="000000"/>
              </a:buClr>
            </a:pPr>
            <a:r>
              <a:rPr lang="en-US" sz="1270" kern="0" dirty="0">
                <a:solidFill>
                  <a:srgbClr val="000000"/>
                </a:solidFill>
                <a:latin typeface="Calibri" panose="020F0502020204030204"/>
                <a:cs typeface="Arial"/>
                <a:sym typeface="Arial"/>
              </a:rPr>
              <a:t>The client needed to identify optimal locations for unemployment centers and accurately assessing the population in need and its characteristics.</a:t>
            </a:r>
          </a:p>
          <a:p>
            <a:pPr defTabSz="829544">
              <a:buClr>
                <a:srgbClr val="000000"/>
              </a:buClr>
            </a:pPr>
            <a:endParaRPr lang="en-US" sz="1270" kern="0" dirty="0">
              <a:solidFill>
                <a:srgbClr val="000000"/>
              </a:solidFill>
              <a:latin typeface="Calibri" panose="020F0502020204030204"/>
              <a:cs typeface="Arial"/>
              <a:sym typeface="Arial"/>
            </a:endParaRPr>
          </a:p>
          <a:p>
            <a:pPr defTabSz="829544">
              <a:buClr>
                <a:srgbClr val="000000"/>
              </a:buClr>
            </a:pPr>
            <a:r>
              <a:rPr lang="en-US" sz="1270" kern="0" dirty="0">
                <a:solidFill>
                  <a:srgbClr val="000000"/>
                </a:solidFill>
                <a:latin typeface="Calibri" panose="020F0502020204030204"/>
                <a:cs typeface="Arial"/>
                <a:sym typeface="Arial"/>
              </a:rPr>
              <a:t>The firm was looking for : </a:t>
            </a:r>
          </a:p>
        </p:txBody>
      </p:sp>
    </p:spTree>
    <p:extLst>
      <p:ext uri="{BB962C8B-B14F-4D97-AF65-F5344CB8AC3E}">
        <p14:creationId xmlns:p14="http://schemas.microsoft.com/office/powerpoint/2010/main" val="15571264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897BCE-14ED-1B6A-033C-C9FB90316777}"/>
              </a:ext>
            </a:extLst>
          </p:cNvPr>
          <p:cNvGraphicFramePr>
            <a:graphicFrameLocks noChangeAspect="1"/>
          </p:cNvGraphicFramePr>
          <p:nvPr>
            <p:custDataLst>
              <p:tags r:id="rId1"/>
            </p:custDataLst>
            <p:extLst>
              <p:ext uri="{D42A27DB-BD31-4B8C-83A1-F6EECF244321}">
                <p14:modId xmlns:p14="http://schemas.microsoft.com/office/powerpoint/2010/main" val="703538623"/>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54897BCE-14ED-1B6A-033C-C9FB90316777}"/>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F842A9F8-55E4-BB28-EC78-56CEB8BFD4DB}"/>
              </a:ext>
            </a:extLst>
          </p:cNvPr>
          <p:cNvPicPr preferRelativeResize="0">
            <a:picLocks/>
          </p:cNvPicPr>
          <p:nvPr/>
        </p:nvPicPr>
        <p:blipFill>
          <a:blip r:embed="rId5"/>
          <a:stretch>
            <a:fillRect/>
          </a:stretch>
        </p:blipFill>
        <p:spPr>
          <a:xfrm>
            <a:off x="6705600" y="2166569"/>
            <a:ext cx="4508274" cy="37327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19" name="Group 18">
            <a:extLst>
              <a:ext uri="{FF2B5EF4-FFF2-40B4-BE49-F238E27FC236}">
                <a16:creationId xmlns:a16="http://schemas.microsoft.com/office/drawing/2014/main" id="{27EAAA40-79B3-2C9D-FA74-0AE0E793AD04}"/>
              </a:ext>
            </a:extLst>
          </p:cNvPr>
          <p:cNvGrpSpPr>
            <a:grpSpLocks/>
          </p:cNvGrpSpPr>
          <p:nvPr/>
        </p:nvGrpSpPr>
        <p:grpSpPr>
          <a:xfrm>
            <a:off x="10787985" y="1829320"/>
            <a:ext cx="703197" cy="703197"/>
            <a:chOff x="803725" y="5176815"/>
            <a:chExt cx="503992" cy="503992"/>
          </a:xfrm>
        </p:grpSpPr>
        <p:sp>
          <p:nvSpPr>
            <p:cNvPr id="17" name="Google Shape;557;p30">
              <a:extLst>
                <a:ext uri="{FF2B5EF4-FFF2-40B4-BE49-F238E27FC236}">
                  <a16:creationId xmlns:a16="http://schemas.microsoft.com/office/drawing/2014/main" id="{7F98F1BF-71FC-BAD4-C84C-63DC9F86450F}"/>
                </a:ext>
              </a:extLst>
            </p:cNvPr>
            <p:cNvSpPr/>
            <p:nvPr/>
          </p:nvSpPr>
          <p:spPr>
            <a:xfrm>
              <a:off x="803725" y="5176815"/>
              <a:ext cx="503992" cy="503992"/>
            </a:xfrm>
            <a:prstGeom prst="ellipse">
              <a:avLst/>
            </a:prstGeom>
            <a:solidFill>
              <a:schemeClr val="bg2"/>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buClr>
                  <a:srgbClr val="000000"/>
                </a:buClr>
              </a:pPr>
              <a:endParaRPr sz="1452" kern="0" dirty="0">
                <a:solidFill>
                  <a:srgbClr val="FFFFFF"/>
                </a:solidFill>
                <a:latin typeface="Calibri" panose="020F0502020204030204"/>
                <a:ea typeface="Calibri"/>
                <a:cs typeface="Calibri"/>
                <a:sym typeface="Calibri"/>
              </a:endParaRPr>
            </a:p>
          </p:txBody>
        </p:sp>
        <p:pic>
          <p:nvPicPr>
            <p:cNvPr id="18" name="Graphic 17">
              <a:extLst>
                <a:ext uri="{FF2B5EF4-FFF2-40B4-BE49-F238E27FC236}">
                  <a16:creationId xmlns:a16="http://schemas.microsoft.com/office/drawing/2014/main" id="{9C643D3A-401F-4836-719A-B2DB77A0F8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4187" y="5259959"/>
              <a:ext cx="303068" cy="337705"/>
            </a:xfrm>
            <a:prstGeom prst="rect">
              <a:avLst/>
            </a:prstGeom>
          </p:spPr>
        </p:pic>
      </p:grpSp>
      <p:sp>
        <p:nvSpPr>
          <p:cNvPr id="8" name="Google Shape;831;p25">
            <a:extLst>
              <a:ext uri="{FF2B5EF4-FFF2-40B4-BE49-F238E27FC236}">
                <a16:creationId xmlns:a16="http://schemas.microsoft.com/office/drawing/2014/main" id="{EBCA1D99-A0B8-1FB3-6D1B-DDEED9A6ADC7}"/>
              </a:ext>
            </a:extLst>
          </p:cNvPr>
          <p:cNvSpPr>
            <a:spLocks/>
          </p:cNvSpPr>
          <p:nvPr/>
        </p:nvSpPr>
        <p:spPr>
          <a:xfrm>
            <a:off x="444580" y="1945327"/>
            <a:ext cx="5391279" cy="4748745"/>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lang="en-US" sz="1270" kern="0" dirty="0">
              <a:solidFill>
                <a:srgbClr val="000000"/>
              </a:solidFill>
              <a:latin typeface="Arial"/>
              <a:cs typeface="Arial"/>
              <a:sym typeface="Arial"/>
            </a:endParaRPr>
          </a:p>
        </p:txBody>
      </p:sp>
      <p:sp>
        <p:nvSpPr>
          <p:cNvPr id="7" name="Title 6">
            <a:extLst>
              <a:ext uri="{FF2B5EF4-FFF2-40B4-BE49-F238E27FC236}">
                <a16:creationId xmlns:a16="http://schemas.microsoft.com/office/drawing/2014/main" id="{335220E9-E185-4F64-7AFF-A5004A0078A9}"/>
              </a:ext>
            </a:extLst>
          </p:cNvPr>
          <p:cNvSpPr>
            <a:spLocks noGrp="1"/>
          </p:cNvSpPr>
          <p:nvPr>
            <p:ph type="title"/>
          </p:nvPr>
        </p:nvSpPr>
        <p:spPr>
          <a:xfrm>
            <a:off x="531814" y="560664"/>
            <a:ext cx="11089972" cy="664797"/>
          </a:xfrm>
        </p:spPr>
        <p:txBody>
          <a:bodyPr vert="horz"/>
          <a:lstStyle/>
          <a:p>
            <a:r>
              <a:rPr lang="en-US" sz="2400" kern="1200" dirty="0">
                <a:solidFill>
                  <a:schemeClr val="bg2"/>
                </a:solidFill>
                <a:latin typeface="Franklin Gothic Demi" panose="020B0703020102020204" pitchFamily="34" charset="0"/>
                <a:ea typeface="+mj-ea"/>
                <a:cs typeface="Calibri" panose="020F0502020204030204" pitchFamily="34" charset="0"/>
              </a:rPr>
              <a:t>Geospatial Analysis of Labor Catchment: </a:t>
            </a:r>
            <a:br>
              <a:rPr lang="en-US" sz="2400" kern="1200" dirty="0">
                <a:solidFill>
                  <a:schemeClr val="bg2"/>
                </a:solidFill>
                <a:latin typeface="Franklin Gothic Demi" panose="020B0703020102020204" pitchFamily="34" charset="0"/>
                <a:ea typeface="+mj-ea"/>
                <a:cs typeface="Calibri" panose="020F0502020204030204" pitchFamily="34" charset="0"/>
              </a:rPr>
            </a:br>
            <a:r>
              <a:rPr lang="en-US" sz="2400" kern="1200" dirty="0">
                <a:solidFill>
                  <a:schemeClr val="bg2"/>
                </a:solidFill>
                <a:latin typeface="Franklin Gothic Demi" panose="020B0703020102020204" pitchFamily="34" charset="0"/>
                <a:ea typeface="+mj-ea"/>
                <a:cs typeface="Calibri" panose="020F0502020204030204" pitchFamily="34" charset="0"/>
              </a:rPr>
              <a:t>Assessing Employment and Demographic Patterns</a:t>
            </a:r>
          </a:p>
        </p:txBody>
      </p:sp>
      <p:sp>
        <p:nvSpPr>
          <p:cNvPr id="4" name="TextBox 3">
            <a:extLst>
              <a:ext uri="{FF2B5EF4-FFF2-40B4-BE49-F238E27FC236}">
                <a16:creationId xmlns:a16="http://schemas.microsoft.com/office/drawing/2014/main" id="{A99FB528-C289-D77E-367D-2A0552058CFE}"/>
              </a:ext>
            </a:extLst>
          </p:cNvPr>
          <p:cNvSpPr txBox="1"/>
          <p:nvPr/>
        </p:nvSpPr>
        <p:spPr>
          <a:xfrm>
            <a:off x="588363" y="2597358"/>
            <a:ext cx="5047553" cy="3770263"/>
          </a:xfrm>
          <a:prstGeom prst="rect">
            <a:avLst/>
          </a:prstGeom>
          <a:noFill/>
        </p:spPr>
        <p:txBody>
          <a:bodyPr wrap="square">
            <a:spAutoFit/>
          </a:bodyPr>
          <a:lstStyle/>
          <a:p>
            <a:pPr marL="285750" indent="-285750" defTabSz="829544">
              <a:buClr>
                <a:schemeClr val="tx2"/>
              </a:buClr>
              <a:buFont typeface="Wingdings" panose="05000000000000000000" pitchFamily="2" charset="2"/>
              <a:buChar char="§"/>
            </a:pPr>
            <a:r>
              <a:rPr lang="en-US" sz="1600" b="1" kern="0" dirty="0">
                <a:solidFill>
                  <a:srgbClr val="000000"/>
                </a:solidFill>
                <a:latin typeface="Calibri" panose="020F0502020204030204"/>
                <a:cs typeface="Arial"/>
                <a:sym typeface="Arial"/>
              </a:rPr>
              <a:t>Extensive municipal data acquisition: </a:t>
            </a:r>
            <a:r>
              <a:rPr lang="en-US" sz="1600" kern="0" dirty="0">
                <a:solidFill>
                  <a:srgbClr val="000000"/>
                </a:solidFill>
                <a:latin typeface="Calibri" panose="020F0502020204030204"/>
                <a:cs typeface="Arial"/>
                <a:sym typeface="Arial"/>
              </a:rPr>
              <a:t>Gather comprehensive data on municipality boundaries and population statistics.</a:t>
            </a:r>
          </a:p>
          <a:p>
            <a:pPr marL="285750" indent="-285750" defTabSz="829544">
              <a:spcBef>
                <a:spcPts val="600"/>
              </a:spcBef>
              <a:buClr>
                <a:schemeClr val="tx2"/>
              </a:buClr>
              <a:buFont typeface="Wingdings" panose="05000000000000000000" pitchFamily="2" charset="2"/>
              <a:buChar char="§"/>
            </a:pPr>
            <a:r>
              <a:rPr lang="en-US" sz="1600" b="1" kern="0" dirty="0">
                <a:solidFill>
                  <a:srgbClr val="000000"/>
                </a:solidFill>
                <a:latin typeface="Calibri" panose="020F0502020204030204"/>
                <a:cs typeface="Arial"/>
                <a:sym typeface="Arial"/>
              </a:rPr>
              <a:t>Relevant Data Compilation</a:t>
            </a:r>
            <a:r>
              <a:rPr lang="en-US" sz="1600" kern="0" dirty="0">
                <a:solidFill>
                  <a:srgbClr val="000000"/>
                </a:solidFill>
                <a:latin typeface="Calibri" panose="020F0502020204030204"/>
                <a:cs typeface="Arial"/>
                <a:sym typeface="Arial"/>
              </a:rPr>
              <a:t>: Compile additional data on unemployment rates, poverty levels, education background, and regional wages.</a:t>
            </a:r>
          </a:p>
          <a:p>
            <a:pPr marL="285750" indent="-285750" defTabSz="829544">
              <a:spcBef>
                <a:spcPts val="600"/>
              </a:spcBef>
              <a:buClr>
                <a:schemeClr val="tx2"/>
              </a:buClr>
              <a:buFont typeface="Wingdings" panose="05000000000000000000" pitchFamily="2" charset="2"/>
              <a:buChar char="§"/>
            </a:pPr>
            <a:r>
              <a:rPr lang="en-US" sz="1600" b="1" kern="0" dirty="0">
                <a:solidFill>
                  <a:srgbClr val="000000"/>
                </a:solidFill>
                <a:latin typeface="Calibri" panose="020F0502020204030204"/>
                <a:cs typeface="Arial"/>
                <a:sym typeface="Arial"/>
              </a:rPr>
              <a:t>User-Friendly Interface</a:t>
            </a:r>
            <a:r>
              <a:rPr lang="en-US" sz="1600" kern="0" dirty="0">
                <a:solidFill>
                  <a:srgbClr val="000000"/>
                </a:solidFill>
                <a:latin typeface="Calibri" panose="020F0502020204030204"/>
                <a:cs typeface="Arial"/>
                <a:sym typeface="Arial"/>
              </a:rPr>
              <a:t>: Develop a user-friendly interface for easy excel report requests and uploads. Users can efficiently extract relevant data by inputting specific locations or batches of coordinates for buffer zones.</a:t>
            </a:r>
          </a:p>
          <a:p>
            <a:pPr marL="285750" indent="-285750" defTabSz="829544">
              <a:spcBef>
                <a:spcPts val="600"/>
              </a:spcBef>
              <a:buClr>
                <a:schemeClr val="tx2"/>
              </a:buClr>
              <a:buFont typeface="Wingdings" panose="05000000000000000000" pitchFamily="2" charset="2"/>
              <a:buChar char="§"/>
            </a:pPr>
            <a:r>
              <a:rPr lang="en-US" sz="1600" b="1" kern="0" dirty="0">
                <a:solidFill>
                  <a:srgbClr val="000000"/>
                </a:solidFill>
                <a:latin typeface="Calibri" panose="020F0502020204030204"/>
                <a:cs typeface="Arial"/>
                <a:sym typeface="Arial"/>
              </a:rPr>
              <a:t>Interactive Mapping</a:t>
            </a:r>
            <a:r>
              <a:rPr lang="en-US" sz="1600" kern="0" dirty="0">
                <a:solidFill>
                  <a:srgbClr val="000000"/>
                </a:solidFill>
                <a:latin typeface="Calibri" panose="020F0502020204030204"/>
                <a:cs typeface="Arial"/>
                <a:sym typeface="Arial"/>
              </a:rPr>
              <a:t>:  Create an interactive map that provides a visually immersive exploration of the collected data. </a:t>
            </a:r>
          </a:p>
        </p:txBody>
      </p:sp>
      <p:sp>
        <p:nvSpPr>
          <p:cNvPr id="6" name="Google Shape;545;p30">
            <a:extLst>
              <a:ext uri="{FF2B5EF4-FFF2-40B4-BE49-F238E27FC236}">
                <a16:creationId xmlns:a16="http://schemas.microsoft.com/office/drawing/2014/main" id="{AB29E1ED-7EE6-123D-AFA8-72F10C0C173A}"/>
              </a:ext>
            </a:extLst>
          </p:cNvPr>
          <p:cNvSpPr>
            <a:spLocks/>
          </p:cNvSpPr>
          <p:nvPr/>
        </p:nvSpPr>
        <p:spPr>
          <a:xfrm>
            <a:off x="416501" y="1815645"/>
            <a:ext cx="5391279" cy="716872"/>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b="1" dirty="0">
                <a:solidFill>
                  <a:schemeClr val="bg1"/>
                </a:solidFill>
                <a:latin typeface="Calibri" panose="020F0502020204030204" pitchFamily="34" charset="0"/>
                <a:cs typeface="Calibri" panose="020F0502020204030204" pitchFamily="34" charset="0"/>
              </a:rPr>
              <a:t>Infomineo Approach</a:t>
            </a:r>
          </a:p>
        </p:txBody>
      </p:sp>
    </p:spTree>
    <p:extLst>
      <p:ext uri="{BB962C8B-B14F-4D97-AF65-F5344CB8AC3E}">
        <p14:creationId xmlns:p14="http://schemas.microsoft.com/office/powerpoint/2010/main" val="3112309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18353E-AED7-4A4A-8678-960B5FA4B8F3}"/>
              </a:ext>
            </a:extLst>
          </p:cNvPr>
          <p:cNvGraphicFramePr>
            <a:graphicFrameLocks noChangeAspect="1"/>
          </p:cNvGraphicFramePr>
          <p:nvPr>
            <p:custDataLst>
              <p:tags r:id="rId1"/>
            </p:custDataLst>
            <p:extLst>
              <p:ext uri="{D42A27DB-BD31-4B8C-83A1-F6EECF244321}">
                <p14:modId xmlns:p14="http://schemas.microsoft.com/office/powerpoint/2010/main" val="1477963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D118353E-AED7-4A4A-8678-960B5FA4B8F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536C2C-F896-4E60-984C-D84CCAD8C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Title 3">
            <a:extLst>
              <a:ext uri="{FF2B5EF4-FFF2-40B4-BE49-F238E27FC236}">
                <a16:creationId xmlns:a16="http://schemas.microsoft.com/office/drawing/2014/main" id="{05A2FE30-D496-684B-8A91-C05FB484EE23}"/>
              </a:ext>
            </a:extLst>
          </p:cNvPr>
          <p:cNvSpPr>
            <a:spLocks noGrp="1"/>
          </p:cNvSpPr>
          <p:nvPr>
            <p:ph type="title"/>
          </p:nvPr>
        </p:nvSpPr>
        <p:spPr>
          <a:xfrm>
            <a:off x="737591" y="4547017"/>
            <a:ext cx="8494899" cy="692497"/>
          </a:xfrm>
        </p:spPr>
        <p:txBody>
          <a:bodyPr vert="horz"/>
          <a:lstStyle/>
          <a:p>
            <a:r>
              <a:rPr lang="en-US" dirty="0"/>
              <a:t>Our portfolio of databases</a:t>
            </a:r>
          </a:p>
        </p:txBody>
      </p:sp>
    </p:spTree>
    <p:extLst>
      <p:ext uri="{BB962C8B-B14F-4D97-AF65-F5344CB8AC3E}">
        <p14:creationId xmlns:p14="http://schemas.microsoft.com/office/powerpoint/2010/main" val="972600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3C8A70-C8E8-4622-AD36-914E6277A9CA}"/>
              </a:ext>
            </a:extLst>
          </p:cNvPr>
          <p:cNvGraphicFramePr>
            <a:graphicFrameLocks noChangeAspect="1"/>
          </p:cNvGraphicFramePr>
          <p:nvPr>
            <p:custDataLst>
              <p:tags r:id="rId1"/>
            </p:custDataLst>
            <p:extLst>
              <p:ext uri="{D42A27DB-BD31-4B8C-83A1-F6EECF244321}">
                <p14:modId xmlns:p14="http://schemas.microsoft.com/office/powerpoint/2010/main" val="134439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DA3C8A70-C8E8-4622-AD36-914E6277A9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05AB12EB-7E82-4CBD-8AD3-6343457880B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3" name="Title 2">
            <a:extLst>
              <a:ext uri="{FF2B5EF4-FFF2-40B4-BE49-F238E27FC236}">
                <a16:creationId xmlns:a16="http://schemas.microsoft.com/office/drawing/2014/main" id="{49321564-E89B-4D6D-AB4A-8AD3BF0515D7}"/>
              </a:ext>
            </a:extLst>
          </p:cNvPr>
          <p:cNvSpPr>
            <a:spLocks noGrp="1"/>
          </p:cNvSpPr>
          <p:nvPr>
            <p:ph type="title"/>
          </p:nvPr>
        </p:nvSpPr>
        <p:spPr>
          <a:xfrm>
            <a:off x="531813" y="560588"/>
            <a:ext cx="11089972" cy="387798"/>
          </a:xfrm>
        </p:spPr>
        <p:txBody>
          <a:bodyPr vert="horz"/>
          <a:lstStyle/>
          <a:p>
            <a:r>
              <a:rPr lang="en-US" sz="2800" dirty="0"/>
              <a:t>Infomineo gives you access to the main premium databases</a:t>
            </a:r>
            <a:r>
              <a:rPr lang="en-US" sz="2800" baseline="30000" dirty="0"/>
              <a:t>1</a:t>
            </a:r>
            <a:endParaRPr lang="en-IN" sz="2800" baseline="30000" dirty="0"/>
          </a:p>
        </p:txBody>
      </p:sp>
      <p:sp>
        <p:nvSpPr>
          <p:cNvPr id="2" name="Footer Placeholder 1">
            <a:extLst>
              <a:ext uri="{FF2B5EF4-FFF2-40B4-BE49-F238E27FC236}">
                <a16:creationId xmlns:a16="http://schemas.microsoft.com/office/drawing/2014/main" id="{177FEEAE-565D-4EB6-ACD0-1D08A029569B}"/>
              </a:ext>
            </a:extLst>
          </p:cNvPr>
          <p:cNvSpPr>
            <a:spLocks noGrp="1"/>
          </p:cNvSpPr>
          <p:nvPr>
            <p:ph type="ftr" sz="quarter" idx="3"/>
          </p:nvPr>
        </p:nvSpPr>
        <p:spPr>
          <a:xfrm>
            <a:off x="550863" y="6479463"/>
            <a:ext cx="6644448" cy="124650"/>
          </a:xfrm>
        </p:spPr>
        <p:txBody>
          <a:bodyPr/>
          <a:lstStyle/>
          <a:p>
            <a:pPr>
              <a:lnSpc>
                <a:spcPct val="90000"/>
              </a:lnSpc>
            </a:pPr>
            <a:r>
              <a:rPr lang="en-US" sz="900" dirty="0"/>
              <a:t>1  Further premium sources can be added based on the </a:t>
            </a:r>
            <a:r>
              <a:rPr lang="en-US" sz="900" u="sng" dirty="0"/>
              <a:t>recurrent needs</a:t>
            </a:r>
            <a:r>
              <a:rPr lang="en-US" sz="900" dirty="0"/>
              <a:t> of McKinsey teams or can be accessed on a tripartite license basis.</a:t>
            </a:r>
          </a:p>
        </p:txBody>
      </p:sp>
      <p:sp>
        <p:nvSpPr>
          <p:cNvPr id="1163" name="Rectangle: Rounded Corners 1162">
            <a:extLst>
              <a:ext uri="{FF2B5EF4-FFF2-40B4-BE49-F238E27FC236}">
                <a16:creationId xmlns:a16="http://schemas.microsoft.com/office/drawing/2014/main" id="{9604FBAE-FBD3-B6BA-151F-5D5840C5EF2A}"/>
              </a:ext>
            </a:extLst>
          </p:cNvPr>
          <p:cNvSpPr/>
          <p:nvPr/>
        </p:nvSpPr>
        <p:spPr>
          <a:xfrm>
            <a:off x="550864" y="1519250"/>
            <a:ext cx="2692318" cy="2318627"/>
          </a:xfrm>
          <a:prstGeom prst="roundRect">
            <a:avLst>
              <a:gd name="adj" fmla="val 6931"/>
            </a:avLst>
          </a:prstGeom>
          <a:gradFill flip="none" rotWithShape="1">
            <a:gsLst>
              <a:gs pos="0">
                <a:schemeClr val="tx2">
                  <a:lumMod val="20000"/>
                  <a:lumOff val="80000"/>
                  <a:alpha val="31000"/>
                </a:schemeClr>
              </a:gs>
              <a:gs pos="100000">
                <a:schemeClr val="bg1"/>
              </a:gs>
            </a:gsLst>
            <a:lin ang="5400000" scaled="1"/>
            <a:tileRect/>
          </a:gradFill>
          <a:ln w="9525" cap="flat" cmpd="sng" algn="ctr">
            <a:noFill/>
            <a:prstDash val="solid"/>
          </a:ln>
          <a:effectLst/>
        </p:spPr>
        <p:txBody>
          <a:bodyPr lIns="34236" tIns="34236" rIns="34236" rtlCol="0" anchor="ctr" anchorCtr="0"/>
          <a:lstStyle/>
          <a:p>
            <a:pPr algn="ctr" defTabSz="913029"/>
            <a:endParaRPr lang="en-IN" sz="1400" b="1" kern="0" dirty="0">
              <a:solidFill>
                <a:prstClr val="white"/>
              </a:solidFill>
              <a:latin typeface="EYInterstate Light"/>
              <a:cs typeface="Sakkal Majalla"/>
            </a:endParaRPr>
          </a:p>
        </p:txBody>
      </p:sp>
      <p:sp>
        <p:nvSpPr>
          <p:cNvPr id="1142" name="Rectangle: Diagonal Corners Rounded 1141">
            <a:extLst>
              <a:ext uri="{FF2B5EF4-FFF2-40B4-BE49-F238E27FC236}">
                <a16:creationId xmlns:a16="http://schemas.microsoft.com/office/drawing/2014/main" id="{1348FC82-F19A-79BA-0DC0-7CBA01BFC1A7}"/>
              </a:ext>
            </a:extLst>
          </p:cNvPr>
          <p:cNvSpPr/>
          <p:nvPr/>
        </p:nvSpPr>
        <p:spPr>
          <a:xfrm>
            <a:off x="531813" y="1519251"/>
            <a:ext cx="2621089" cy="509026"/>
          </a:xfrm>
          <a:prstGeom prst="round2DiagRect">
            <a:avLst>
              <a:gd name="adj1" fmla="val 10494"/>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nchorCtr="0"/>
          <a:lstStyle/>
          <a:p>
            <a:pPr algn="ctr" defTabSz="913486"/>
            <a:endParaRPr lang="en-US" sz="1400" b="1" dirty="0">
              <a:solidFill>
                <a:schemeClr val="bg1"/>
              </a:solidFill>
              <a:cs typeface="Dreaming Outloud Script Pro" panose="020B0604020202020204" pitchFamily="66" charset="0"/>
            </a:endParaRPr>
          </a:p>
        </p:txBody>
      </p:sp>
      <p:sp>
        <p:nvSpPr>
          <p:cNvPr id="81" name="Rectangle 80">
            <a:extLst>
              <a:ext uri="{FF2B5EF4-FFF2-40B4-BE49-F238E27FC236}">
                <a16:creationId xmlns:a16="http://schemas.microsoft.com/office/drawing/2014/main" id="{1ADEAF2F-E964-4423-8ECA-A98E4E2EF690}"/>
              </a:ext>
            </a:extLst>
          </p:cNvPr>
          <p:cNvSpPr/>
          <p:nvPr/>
        </p:nvSpPr>
        <p:spPr>
          <a:xfrm>
            <a:off x="667233" y="2140701"/>
            <a:ext cx="244053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00" i="0" dirty="0">
                <a:solidFill>
                  <a:srgbClr val="202124"/>
                </a:solidFill>
                <a:effectLst/>
                <a:cs typeface="Calibri" panose="020F0502020204030204" pitchFamily="34" charset="0"/>
              </a:rPr>
              <a:t>Database encompassing financial news, market insights, company performance data, and sector-specific data</a:t>
            </a:r>
            <a:endParaRPr lang="en-US" sz="1000" dirty="0">
              <a:cs typeface="Calibri" panose="020F0502020204030204" pitchFamily="34" charset="0"/>
            </a:endParaRPr>
          </a:p>
        </p:txBody>
      </p:sp>
      <p:sp>
        <p:nvSpPr>
          <p:cNvPr id="1323" name="Rectangle 1322">
            <a:extLst>
              <a:ext uri="{FF2B5EF4-FFF2-40B4-BE49-F238E27FC236}">
                <a16:creationId xmlns:a16="http://schemas.microsoft.com/office/drawing/2014/main" id="{AABB085C-1C35-B3D0-81C4-823215AC1194}"/>
              </a:ext>
            </a:extLst>
          </p:cNvPr>
          <p:cNvSpPr/>
          <p:nvPr/>
        </p:nvSpPr>
        <p:spPr>
          <a:xfrm>
            <a:off x="667232" y="2702849"/>
            <a:ext cx="2533167"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tx2"/>
              </a:buClr>
              <a:buSzPct val="90000"/>
            </a:pPr>
            <a:r>
              <a:rPr lang="en-US" sz="1000" b="1" dirty="0">
                <a:solidFill>
                  <a:schemeClr val="tx2"/>
                </a:solidFill>
                <a:cs typeface="Calibri" panose="020F0502020204030204" pitchFamily="34" charset="0"/>
              </a:rPr>
              <a:t>Use cas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List of companies based on criteria: location, industry, size, etc.</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List of M&amp;A transactions in a specific industry</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Qualitative and quantitative information on compani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Automated excel watchlist based on proprietary formulas</a:t>
            </a:r>
          </a:p>
        </p:txBody>
      </p:sp>
      <p:pic>
        <p:nvPicPr>
          <p:cNvPr id="57" name="Picture 56">
            <a:extLst>
              <a:ext uri="{FF2B5EF4-FFF2-40B4-BE49-F238E27FC236}">
                <a16:creationId xmlns:a16="http://schemas.microsoft.com/office/drawing/2014/main" id="{2B4E10DB-015A-4FF5-8035-DB07CA8F92B8}"/>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67233" y="1602728"/>
            <a:ext cx="1301267" cy="530800"/>
          </a:xfrm>
          <a:prstGeom prst="rect">
            <a:avLst/>
          </a:prstGeom>
        </p:spPr>
      </p:pic>
      <p:sp>
        <p:nvSpPr>
          <p:cNvPr id="1346" name="Rectangle: Rounded Corners 1345">
            <a:extLst>
              <a:ext uri="{FF2B5EF4-FFF2-40B4-BE49-F238E27FC236}">
                <a16:creationId xmlns:a16="http://schemas.microsoft.com/office/drawing/2014/main" id="{5B21BC8E-A540-4F10-E323-6EF05B9F0952}"/>
              </a:ext>
            </a:extLst>
          </p:cNvPr>
          <p:cNvSpPr/>
          <p:nvPr/>
        </p:nvSpPr>
        <p:spPr>
          <a:xfrm>
            <a:off x="550864" y="3978785"/>
            <a:ext cx="2692318" cy="2318627"/>
          </a:xfrm>
          <a:prstGeom prst="roundRect">
            <a:avLst>
              <a:gd name="adj" fmla="val 6931"/>
            </a:avLst>
          </a:prstGeom>
          <a:gradFill flip="none" rotWithShape="1">
            <a:gsLst>
              <a:gs pos="0">
                <a:schemeClr val="tx2">
                  <a:lumMod val="20000"/>
                  <a:lumOff val="80000"/>
                  <a:alpha val="31000"/>
                </a:schemeClr>
              </a:gs>
              <a:gs pos="100000">
                <a:schemeClr val="bg1"/>
              </a:gs>
            </a:gsLst>
            <a:lin ang="5400000" scaled="1"/>
            <a:tileRect/>
          </a:gradFill>
          <a:ln w="9525" cap="flat" cmpd="sng" algn="ctr">
            <a:noFill/>
            <a:prstDash val="solid"/>
          </a:ln>
          <a:effectLst/>
        </p:spPr>
        <p:txBody>
          <a:bodyPr lIns="34236" tIns="34236" rIns="34236" rtlCol="0" anchor="ctr" anchorCtr="0"/>
          <a:lstStyle/>
          <a:p>
            <a:pPr algn="ctr" defTabSz="913029"/>
            <a:endParaRPr lang="en-IN" sz="1400" b="1" kern="0" dirty="0">
              <a:solidFill>
                <a:prstClr val="white"/>
              </a:solidFill>
              <a:latin typeface="EYInterstate Light"/>
              <a:cs typeface="Sakkal Majalla"/>
            </a:endParaRPr>
          </a:p>
        </p:txBody>
      </p:sp>
      <p:sp>
        <p:nvSpPr>
          <p:cNvPr id="1347" name="Rectangle: Diagonal Corners Rounded 1346">
            <a:extLst>
              <a:ext uri="{FF2B5EF4-FFF2-40B4-BE49-F238E27FC236}">
                <a16:creationId xmlns:a16="http://schemas.microsoft.com/office/drawing/2014/main" id="{BE4C4783-5795-A41F-5053-61A3BA81D2F4}"/>
              </a:ext>
            </a:extLst>
          </p:cNvPr>
          <p:cNvSpPr/>
          <p:nvPr/>
        </p:nvSpPr>
        <p:spPr>
          <a:xfrm>
            <a:off x="531813" y="3978786"/>
            <a:ext cx="2621089" cy="509026"/>
          </a:xfrm>
          <a:prstGeom prst="round2DiagRect">
            <a:avLst>
              <a:gd name="adj1" fmla="val 10494"/>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nchorCtr="0"/>
          <a:lstStyle/>
          <a:p>
            <a:pPr algn="ctr" defTabSz="913486"/>
            <a:endParaRPr lang="en-US" sz="1400" b="1" dirty="0">
              <a:solidFill>
                <a:schemeClr val="bg1"/>
              </a:solidFill>
              <a:cs typeface="Dreaming Outloud Script Pro" panose="020B0604020202020204" pitchFamily="66" charset="0"/>
            </a:endParaRPr>
          </a:p>
        </p:txBody>
      </p:sp>
      <p:sp>
        <p:nvSpPr>
          <p:cNvPr id="1348" name="Rectangle 1347">
            <a:extLst>
              <a:ext uri="{FF2B5EF4-FFF2-40B4-BE49-F238E27FC236}">
                <a16:creationId xmlns:a16="http://schemas.microsoft.com/office/drawing/2014/main" id="{331B0009-B886-E975-6040-47D4B3809DEA}"/>
              </a:ext>
            </a:extLst>
          </p:cNvPr>
          <p:cNvSpPr/>
          <p:nvPr/>
        </p:nvSpPr>
        <p:spPr>
          <a:xfrm>
            <a:off x="667233" y="4559596"/>
            <a:ext cx="2440530"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00" dirty="0">
                <a:solidFill>
                  <a:srgbClr val="202124"/>
                </a:solidFill>
                <a:cs typeface="Calibri" panose="020F0502020204030204" pitchFamily="34" charset="0"/>
              </a:rPr>
              <a:t>I</a:t>
            </a:r>
            <a:r>
              <a:rPr lang="en-US" sz="1000" b="0" i="0" dirty="0">
                <a:solidFill>
                  <a:srgbClr val="202124"/>
                </a:solidFill>
                <a:effectLst/>
                <a:cs typeface="Calibri" panose="020F0502020204030204" pitchFamily="34" charset="0"/>
              </a:rPr>
              <a:t>nvestments and funding information, founding members and leadership, M&amp;A, news, and industry trends from early-stage startups to Fortune 500</a:t>
            </a:r>
            <a:endParaRPr lang="en-US" sz="1000" dirty="0">
              <a:cs typeface="Calibri" panose="020F0502020204030204" pitchFamily="34" charset="0"/>
            </a:endParaRPr>
          </a:p>
        </p:txBody>
      </p:sp>
      <p:sp>
        <p:nvSpPr>
          <p:cNvPr id="1349" name="Rectangle 1348">
            <a:extLst>
              <a:ext uri="{FF2B5EF4-FFF2-40B4-BE49-F238E27FC236}">
                <a16:creationId xmlns:a16="http://schemas.microsoft.com/office/drawing/2014/main" id="{13C985AA-FA70-E052-24E2-7EA21836551F}"/>
              </a:ext>
            </a:extLst>
          </p:cNvPr>
          <p:cNvSpPr/>
          <p:nvPr/>
        </p:nvSpPr>
        <p:spPr>
          <a:xfrm>
            <a:off x="667233" y="5253824"/>
            <a:ext cx="2440530"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tx2"/>
              </a:buClr>
              <a:buSzPct val="90000"/>
            </a:pPr>
            <a:r>
              <a:rPr lang="en-US" sz="1000" b="1" dirty="0">
                <a:solidFill>
                  <a:schemeClr val="tx2"/>
                </a:solidFill>
                <a:cs typeface="Calibri" panose="020F0502020204030204" pitchFamily="34" charset="0"/>
              </a:rPr>
              <a:t>Use cas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Total amount raised in a country by funding round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M&amp;A trends in a high-technology industry</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Funding trends and flows by industry and country</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Investors attractiveness overview </a:t>
            </a:r>
          </a:p>
        </p:txBody>
      </p:sp>
      <p:sp>
        <p:nvSpPr>
          <p:cNvPr id="1352" name="Rectangle: Rounded Corners 1351">
            <a:extLst>
              <a:ext uri="{FF2B5EF4-FFF2-40B4-BE49-F238E27FC236}">
                <a16:creationId xmlns:a16="http://schemas.microsoft.com/office/drawing/2014/main" id="{0BF5E1F2-1D78-17E0-B39D-0B0BC1496F71}"/>
              </a:ext>
            </a:extLst>
          </p:cNvPr>
          <p:cNvSpPr/>
          <p:nvPr/>
        </p:nvSpPr>
        <p:spPr>
          <a:xfrm>
            <a:off x="3343732" y="1519250"/>
            <a:ext cx="2692318" cy="2318627"/>
          </a:xfrm>
          <a:prstGeom prst="roundRect">
            <a:avLst>
              <a:gd name="adj" fmla="val 6931"/>
            </a:avLst>
          </a:prstGeom>
          <a:gradFill flip="none" rotWithShape="1">
            <a:gsLst>
              <a:gs pos="0">
                <a:schemeClr val="tx2">
                  <a:lumMod val="20000"/>
                  <a:lumOff val="80000"/>
                  <a:alpha val="31000"/>
                </a:schemeClr>
              </a:gs>
              <a:gs pos="100000">
                <a:schemeClr val="bg1"/>
              </a:gs>
            </a:gsLst>
            <a:lin ang="5400000" scaled="1"/>
            <a:tileRect/>
          </a:gradFill>
          <a:ln w="9525" cap="flat" cmpd="sng" algn="ctr">
            <a:noFill/>
            <a:prstDash val="solid"/>
          </a:ln>
          <a:effectLst/>
        </p:spPr>
        <p:txBody>
          <a:bodyPr lIns="34236" tIns="34236" rIns="34236" rtlCol="0" anchor="ctr" anchorCtr="0"/>
          <a:lstStyle/>
          <a:p>
            <a:pPr algn="ctr" defTabSz="913029"/>
            <a:endParaRPr lang="en-IN" sz="1400" b="1" kern="0" dirty="0">
              <a:solidFill>
                <a:prstClr val="white"/>
              </a:solidFill>
              <a:latin typeface="EYInterstate Light"/>
              <a:cs typeface="Sakkal Majalla"/>
            </a:endParaRPr>
          </a:p>
        </p:txBody>
      </p:sp>
      <p:sp>
        <p:nvSpPr>
          <p:cNvPr id="1353" name="Rectangle: Diagonal Corners Rounded 1352">
            <a:extLst>
              <a:ext uri="{FF2B5EF4-FFF2-40B4-BE49-F238E27FC236}">
                <a16:creationId xmlns:a16="http://schemas.microsoft.com/office/drawing/2014/main" id="{2AF74CF4-1D0D-4519-4D79-DA44293140B0}"/>
              </a:ext>
            </a:extLst>
          </p:cNvPr>
          <p:cNvSpPr/>
          <p:nvPr/>
        </p:nvSpPr>
        <p:spPr>
          <a:xfrm>
            <a:off x="3324681" y="1519251"/>
            <a:ext cx="2621089" cy="509026"/>
          </a:xfrm>
          <a:prstGeom prst="round2DiagRect">
            <a:avLst>
              <a:gd name="adj1" fmla="val 10494"/>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nchorCtr="0"/>
          <a:lstStyle/>
          <a:p>
            <a:pPr algn="ctr" defTabSz="913486"/>
            <a:endParaRPr lang="en-US" sz="1400" b="1" dirty="0">
              <a:solidFill>
                <a:schemeClr val="bg1"/>
              </a:solidFill>
              <a:cs typeface="Dreaming Outloud Script Pro" panose="020B0604020202020204" pitchFamily="66" charset="0"/>
            </a:endParaRPr>
          </a:p>
        </p:txBody>
      </p:sp>
      <p:sp>
        <p:nvSpPr>
          <p:cNvPr id="1354" name="Rectangle 1353">
            <a:extLst>
              <a:ext uri="{FF2B5EF4-FFF2-40B4-BE49-F238E27FC236}">
                <a16:creationId xmlns:a16="http://schemas.microsoft.com/office/drawing/2014/main" id="{4470C058-A4F2-F9C4-05BB-8F1C0760F295}"/>
              </a:ext>
            </a:extLst>
          </p:cNvPr>
          <p:cNvSpPr/>
          <p:nvPr/>
        </p:nvSpPr>
        <p:spPr>
          <a:xfrm>
            <a:off x="3460101" y="2140701"/>
            <a:ext cx="244053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00" i="0" dirty="0">
                <a:solidFill>
                  <a:srgbClr val="202124"/>
                </a:solidFill>
                <a:effectLst/>
                <a:cs typeface="Calibri" panose="020F0502020204030204" pitchFamily="34" charset="0"/>
              </a:rPr>
              <a:t>Information on over 400 million companies and entities worldwide, including financials on over 41 </a:t>
            </a:r>
            <a:r>
              <a:rPr lang="en-US" sz="1000" i="0" dirty="0" err="1">
                <a:solidFill>
                  <a:srgbClr val="202124"/>
                </a:solidFill>
                <a:effectLst/>
                <a:cs typeface="Calibri" panose="020F0502020204030204" pitchFamily="34" charset="0"/>
              </a:rPr>
              <a:t>mn</a:t>
            </a:r>
            <a:r>
              <a:rPr lang="en-US" sz="1000" i="0" dirty="0">
                <a:solidFill>
                  <a:srgbClr val="202124"/>
                </a:solidFill>
                <a:effectLst/>
                <a:cs typeface="Calibri" panose="020F0502020204030204" pitchFamily="34" charset="0"/>
              </a:rPr>
              <a:t> of them</a:t>
            </a:r>
          </a:p>
        </p:txBody>
      </p:sp>
      <p:sp>
        <p:nvSpPr>
          <p:cNvPr id="1355" name="Rectangle 1354">
            <a:extLst>
              <a:ext uri="{FF2B5EF4-FFF2-40B4-BE49-F238E27FC236}">
                <a16:creationId xmlns:a16="http://schemas.microsoft.com/office/drawing/2014/main" id="{41FCF178-B3AD-AE59-8C6F-D7B5273CAEA4}"/>
              </a:ext>
            </a:extLst>
          </p:cNvPr>
          <p:cNvSpPr/>
          <p:nvPr/>
        </p:nvSpPr>
        <p:spPr>
          <a:xfrm>
            <a:off x="3460101" y="2702849"/>
            <a:ext cx="2440530"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tx2"/>
              </a:buClr>
              <a:buSzPct val="90000"/>
            </a:pPr>
            <a:r>
              <a:rPr lang="en-US" sz="1000" b="1" dirty="0">
                <a:solidFill>
                  <a:schemeClr val="tx2"/>
                </a:solidFill>
                <a:cs typeface="Calibri" panose="020F0502020204030204" pitchFamily="34" charset="0"/>
              </a:rPr>
              <a:t>Use cas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Screening of companies based on criteria: location, industry, size, etc.</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Qualitative and quantitative information on compani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Identification of top companies in a sector</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Long list of PE owned companies in a given geography</a:t>
            </a:r>
          </a:p>
        </p:txBody>
      </p:sp>
      <p:sp>
        <p:nvSpPr>
          <p:cNvPr id="1358" name="Rectangle: Rounded Corners 1357">
            <a:extLst>
              <a:ext uri="{FF2B5EF4-FFF2-40B4-BE49-F238E27FC236}">
                <a16:creationId xmlns:a16="http://schemas.microsoft.com/office/drawing/2014/main" id="{0B500396-015B-51F0-4BF0-91E83AE4222B}"/>
              </a:ext>
            </a:extLst>
          </p:cNvPr>
          <p:cNvSpPr/>
          <p:nvPr/>
        </p:nvSpPr>
        <p:spPr>
          <a:xfrm>
            <a:off x="3343732" y="3978785"/>
            <a:ext cx="2692318" cy="2318627"/>
          </a:xfrm>
          <a:prstGeom prst="roundRect">
            <a:avLst>
              <a:gd name="adj" fmla="val 6931"/>
            </a:avLst>
          </a:prstGeom>
          <a:gradFill flip="none" rotWithShape="1">
            <a:gsLst>
              <a:gs pos="0">
                <a:schemeClr val="tx2">
                  <a:lumMod val="20000"/>
                  <a:lumOff val="80000"/>
                  <a:alpha val="31000"/>
                </a:schemeClr>
              </a:gs>
              <a:gs pos="100000">
                <a:schemeClr val="bg1"/>
              </a:gs>
            </a:gsLst>
            <a:lin ang="5400000" scaled="1"/>
            <a:tileRect/>
          </a:gradFill>
          <a:ln w="9525" cap="flat" cmpd="sng" algn="ctr">
            <a:noFill/>
            <a:prstDash val="solid"/>
          </a:ln>
          <a:effectLst/>
        </p:spPr>
        <p:txBody>
          <a:bodyPr lIns="34236" tIns="34236" rIns="34236" rtlCol="0" anchor="ctr" anchorCtr="0"/>
          <a:lstStyle/>
          <a:p>
            <a:pPr algn="ctr" defTabSz="913029"/>
            <a:endParaRPr lang="en-IN" sz="1400" b="1" kern="0" dirty="0">
              <a:solidFill>
                <a:prstClr val="white"/>
              </a:solidFill>
              <a:latin typeface="EYInterstate Light"/>
              <a:cs typeface="Sakkal Majalla"/>
            </a:endParaRPr>
          </a:p>
        </p:txBody>
      </p:sp>
      <p:sp>
        <p:nvSpPr>
          <p:cNvPr id="1359" name="Rectangle: Diagonal Corners Rounded 1358">
            <a:extLst>
              <a:ext uri="{FF2B5EF4-FFF2-40B4-BE49-F238E27FC236}">
                <a16:creationId xmlns:a16="http://schemas.microsoft.com/office/drawing/2014/main" id="{D8A8046A-91BE-6FA6-EF90-B8C3F2C7D4FA}"/>
              </a:ext>
            </a:extLst>
          </p:cNvPr>
          <p:cNvSpPr/>
          <p:nvPr/>
        </p:nvSpPr>
        <p:spPr>
          <a:xfrm>
            <a:off x="3324681" y="3978786"/>
            <a:ext cx="2621089" cy="509026"/>
          </a:xfrm>
          <a:prstGeom prst="round2DiagRect">
            <a:avLst>
              <a:gd name="adj1" fmla="val 10494"/>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nchorCtr="0"/>
          <a:lstStyle/>
          <a:p>
            <a:pPr algn="ctr" defTabSz="913486"/>
            <a:endParaRPr lang="en-US" sz="1400" b="1" dirty="0">
              <a:solidFill>
                <a:schemeClr val="bg1"/>
              </a:solidFill>
              <a:cs typeface="Dreaming Outloud Script Pro" panose="020B0604020202020204" pitchFamily="66" charset="0"/>
            </a:endParaRPr>
          </a:p>
        </p:txBody>
      </p:sp>
      <p:sp>
        <p:nvSpPr>
          <p:cNvPr id="1360" name="Rectangle 1359">
            <a:extLst>
              <a:ext uri="{FF2B5EF4-FFF2-40B4-BE49-F238E27FC236}">
                <a16:creationId xmlns:a16="http://schemas.microsoft.com/office/drawing/2014/main" id="{959E5240-2093-E3EF-E8E0-F4B0833DBBBD}"/>
              </a:ext>
            </a:extLst>
          </p:cNvPr>
          <p:cNvSpPr/>
          <p:nvPr/>
        </p:nvSpPr>
        <p:spPr>
          <a:xfrm>
            <a:off x="3460101" y="4559596"/>
            <a:ext cx="244053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00" i="0" dirty="0">
                <a:solidFill>
                  <a:srgbClr val="202124"/>
                </a:solidFill>
                <a:effectLst/>
                <a:cs typeface="Calibri" panose="020F0502020204030204" pitchFamily="34" charset="0"/>
              </a:rPr>
              <a:t>Database of information regarding projects, companies and contacts in the construction and infrastructure field</a:t>
            </a:r>
            <a:endParaRPr lang="en-US" sz="1000" dirty="0">
              <a:cs typeface="Calibri" panose="020F0502020204030204" pitchFamily="34" charset="0"/>
            </a:endParaRPr>
          </a:p>
        </p:txBody>
      </p:sp>
      <p:sp>
        <p:nvSpPr>
          <p:cNvPr id="1361" name="Rectangle 1360">
            <a:extLst>
              <a:ext uri="{FF2B5EF4-FFF2-40B4-BE49-F238E27FC236}">
                <a16:creationId xmlns:a16="http://schemas.microsoft.com/office/drawing/2014/main" id="{9AECCBA9-1C21-7FE4-4E50-A17882650056}"/>
              </a:ext>
            </a:extLst>
          </p:cNvPr>
          <p:cNvSpPr/>
          <p:nvPr/>
        </p:nvSpPr>
        <p:spPr>
          <a:xfrm>
            <a:off x="3460101" y="5253824"/>
            <a:ext cx="2440530"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tx2"/>
              </a:buClr>
              <a:buSzPct val="90000"/>
            </a:pPr>
            <a:r>
              <a:rPr lang="en-US" sz="1000" b="1" dirty="0">
                <a:solidFill>
                  <a:schemeClr val="tx2"/>
                </a:solidFill>
                <a:cs typeface="Calibri" panose="020F0502020204030204" pitchFamily="34" charset="0"/>
              </a:rPr>
              <a:t>Use cas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List of projects in specific industries with their projects value and main stakeholder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Analyst reports on public compani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Report on market data and prices</a:t>
            </a:r>
          </a:p>
        </p:txBody>
      </p:sp>
      <p:sp>
        <p:nvSpPr>
          <p:cNvPr id="1372" name="Rectangle: Rounded Corners 1371">
            <a:extLst>
              <a:ext uri="{FF2B5EF4-FFF2-40B4-BE49-F238E27FC236}">
                <a16:creationId xmlns:a16="http://schemas.microsoft.com/office/drawing/2014/main" id="{7AE928A9-AFF2-8657-3138-FF7AE319E9C3}"/>
              </a:ext>
            </a:extLst>
          </p:cNvPr>
          <p:cNvSpPr/>
          <p:nvPr/>
        </p:nvSpPr>
        <p:spPr>
          <a:xfrm>
            <a:off x="6136600" y="1519250"/>
            <a:ext cx="2692318" cy="2318627"/>
          </a:xfrm>
          <a:prstGeom prst="roundRect">
            <a:avLst>
              <a:gd name="adj" fmla="val 6931"/>
            </a:avLst>
          </a:prstGeom>
          <a:gradFill flip="none" rotWithShape="1">
            <a:gsLst>
              <a:gs pos="0">
                <a:schemeClr val="tx2">
                  <a:lumMod val="20000"/>
                  <a:lumOff val="80000"/>
                  <a:alpha val="31000"/>
                </a:schemeClr>
              </a:gs>
              <a:gs pos="100000">
                <a:schemeClr val="bg1"/>
              </a:gs>
            </a:gsLst>
            <a:lin ang="5400000" scaled="1"/>
            <a:tileRect/>
          </a:gradFill>
          <a:ln w="9525" cap="flat" cmpd="sng" algn="ctr">
            <a:noFill/>
            <a:prstDash val="solid"/>
          </a:ln>
          <a:effectLst/>
        </p:spPr>
        <p:txBody>
          <a:bodyPr lIns="34236" tIns="34236" rIns="34236" rtlCol="0" anchor="ctr" anchorCtr="0"/>
          <a:lstStyle/>
          <a:p>
            <a:pPr algn="ctr" defTabSz="913029"/>
            <a:endParaRPr lang="en-IN" sz="1400" b="1" kern="0" dirty="0">
              <a:solidFill>
                <a:prstClr val="white"/>
              </a:solidFill>
              <a:latin typeface="EYInterstate Light"/>
              <a:cs typeface="Sakkal Majalla"/>
            </a:endParaRPr>
          </a:p>
        </p:txBody>
      </p:sp>
      <p:sp>
        <p:nvSpPr>
          <p:cNvPr id="1373" name="Rectangle: Diagonal Corners Rounded 1372">
            <a:extLst>
              <a:ext uri="{FF2B5EF4-FFF2-40B4-BE49-F238E27FC236}">
                <a16:creationId xmlns:a16="http://schemas.microsoft.com/office/drawing/2014/main" id="{024FE5DE-61DF-F3B4-0DD1-08259C59EFDC}"/>
              </a:ext>
            </a:extLst>
          </p:cNvPr>
          <p:cNvSpPr/>
          <p:nvPr/>
        </p:nvSpPr>
        <p:spPr>
          <a:xfrm>
            <a:off x="6117549" y="1519251"/>
            <a:ext cx="2621089" cy="509026"/>
          </a:xfrm>
          <a:prstGeom prst="round2DiagRect">
            <a:avLst>
              <a:gd name="adj1" fmla="val 10494"/>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nchorCtr="0"/>
          <a:lstStyle/>
          <a:p>
            <a:pPr algn="ctr" defTabSz="913486"/>
            <a:endParaRPr lang="en-US" sz="1400" b="1" dirty="0">
              <a:solidFill>
                <a:schemeClr val="bg1"/>
              </a:solidFill>
              <a:cs typeface="Dreaming Outloud Script Pro" panose="020B0604020202020204" pitchFamily="66" charset="0"/>
            </a:endParaRPr>
          </a:p>
        </p:txBody>
      </p:sp>
      <p:sp>
        <p:nvSpPr>
          <p:cNvPr id="1374" name="Rectangle 1373">
            <a:extLst>
              <a:ext uri="{FF2B5EF4-FFF2-40B4-BE49-F238E27FC236}">
                <a16:creationId xmlns:a16="http://schemas.microsoft.com/office/drawing/2014/main" id="{ED7E9AB2-E4F4-5421-501C-24E2D36D2CD0}"/>
              </a:ext>
            </a:extLst>
          </p:cNvPr>
          <p:cNvSpPr/>
          <p:nvPr/>
        </p:nvSpPr>
        <p:spPr>
          <a:xfrm>
            <a:off x="6252968" y="2140701"/>
            <a:ext cx="254107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00" dirty="0">
                <a:solidFill>
                  <a:srgbClr val="202124"/>
                </a:solidFill>
                <a:cs typeface="Calibri" panose="020F0502020204030204" pitchFamily="34" charset="0"/>
              </a:rPr>
              <a:t>Global news database covering over 33,000 sources globally, including premium and sectorial press. Allows for Boolean and advanced research</a:t>
            </a:r>
          </a:p>
        </p:txBody>
      </p:sp>
      <p:sp>
        <p:nvSpPr>
          <p:cNvPr id="1375" name="Rectangle 1374">
            <a:extLst>
              <a:ext uri="{FF2B5EF4-FFF2-40B4-BE49-F238E27FC236}">
                <a16:creationId xmlns:a16="http://schemas.microsoft.com/office/drawing/2014/main" id="{D6B59D9A-D65C-FB41-7FC7-E50973BE1305}"/>
              </a:ext>
            </a:extLst>
          </p:cNvPr>
          <p:cNvSpPr/>
          <p:nvPr/>
        </p:nvSpPr>
        <p:spPr>
          <a:xfrm>
            <a:off x="6252969" y="2702849"/>
            <a:ext cx="2440530"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tx2"/>
              </a:buClr>
              <a:buSzPct val="90000"/>
            </a:pPr>
            <a:r>
              <a:rPr lang="en-US" sz="1000" b="1" dirty="0">
                <a:solidFill>
                  <a:schemeClr val="tx2"/>
                </a:solidFill>
                <a:cs typeface="Calibri" panose="020F0502020204030204" pitchFamily="34" charset="0"/>
              </a:rPr>
              <a:t>Use cas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Weekly newsletter on a specific topic</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Alerts on companies and industri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Press sentiment analysi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Complementary historical news and development from a market player</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Market trends from specialized and premium sources</a:t>
            </a:r>
          </a:p>
        </p:txBody>
      </p:sp>
      <p:sp>
        <p:nvSpPr>
          <p:cNvPr id="1367" name="Rectangle: Rounded Corners 1366">
            <a:extLst>
              <a:ext uri="{FF2B5EF4-FFF2-40B4-BE49-F238E27FC236}">
                <a16:creationId xmlns:a16="http://schemas.microsoft.com/office/drawing/2014/main" id="{653EBEBE-2A6A-FEB6-389B-10BFD6C368BE}"/>
              </a:ext>
            </a:extLst>
          </p:cNvPr>
          <p:cNvSpPr/>
          <p:nvPr/>
        </p:nvSpPr>
        <p:spPr>
          <a:xfrm>
            <a:off x="6136600" y="3978785"/>
            <a:ext cx="2692318" cy="2318627"/>
          </a:xfrm>
          <a:prstGeom prst="roundRect">
            <a:avLst>
              <a:gd name="adj" fmla="val 6931"/>
            </a:avLst>
          </a:prstGeom>
          <a:gradFill flip="none" rotWithShape="1">
            <a:gsLst>
              <a:gs pos="0">
                <a:schemeClr val="tx2">
                  <a:lumMod val="20000"/>
                  <a:lumOff val="80000"/>
                  <a:alpha val="31000"/>
                </a:schemeClr>
              </a:gs>
              <a:gs pos="100000">
                <a:schemeClr val="bg1"/>
              </a:gs>
            </a:gsLst>
            <a:lin ang="5400000" scaled="1"/>
            <a:tileRect/>
          </a:gradFill>
          <a:ln w="9525" cap="flat" cmpd="sng" algn="ctr">
            <a:noFill/>
            <a:prstDash val="solid"/>
          </a:ln>
          <a:effectLst/>
        </p:spPr>
        <p:txBody>
          <a:bodyPr lIns="34236" tIns="34236" rIns="34236" rtlCol="0" anchor="ctr" anchorCtr="0"/>
          <a:lstStyle/>
          <a:p>
            <a:pPr algn="ctr" defTabSz="913029"/>
            <a:endParaRPr lang="en-IN" sz="1400" b="1" kern="0" dirty="0">
              <a:solidFill>
                <a:prstClr val="white"/>
              </a:solidFill>
              <a:latin typeface="EYInterstate Light"/>
              <a:cs typeface="Sakkal Majalla"/>
            </a:endParaRPr>
          </a:p>
        </p:txBody>
      </p:sp>
      <p:sp>
        <p:nvSpPr>
          <p:cNvPr id="1368" name="Rectangle: Diagonal Corners Rounded 1367">
            <a:extLst>
              <a:ext uri="{FF2B5EF4-FFF2-40B4-BE49-F238E27FC236}">
                <a16:creationId xmlns:a16="http://schemas.microsoft.com/office/drawing/2014/main" id="{43CD191E-77F0-EDE6-06BF-47571E0D5CA7}"/>
              </a:ext>
            </a:extLst>
          </p:cNvPr>
          <p:cNvSpPr/>
          <p:nvPr/>
        </p:nvSpPr>
        <p:spPr>
          <a:xfrm>
            <a:off x="6117549" y="3978786"/>
            <a:ext cx="2621089" cy="509026"/>
          </a:xfrm>
          <a:prstGeom prst="round2DiagRect">
            <a:avLst>
              <a:gd name="adj1" fmla="val 10494"/>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nchorCtr="0"/>
          <a:lstStyle/>
          <a:p>
            <a:pPr algn="ctr" defTabSz="913486"/>
            <a:endParaRPr lang="en-US" sz="1400" b="1" dirty="0">
              <a:solidFill>
                <a:schemeClr val="bg1"/>
              </a:solidFill>
              <a:cs typeface="Dreaming Outloud Script Pro" panose="020B0604020202020204" pitchFamily="66" charset="0"/>
            </a:endParaRPr>
          </a:p>
        </p:txBody>
      </p:sp>
      <p:sp>
        <p:nvSpPr>
          <p:cNvPr id="1369" name="Rectangle 1368">
            <a:extLst>
              <a:ext uri="{FF2B5EF4-FFF2-40B4-BE49-F238E27FC236}">
                <a16:creationId xmlns:a16="http://schemas.microsoft.com/office/drawing/2014/main" id="{04F3FA35-8AA0-CCE2-A952-277236B5F51F}"/>
              </a:ext>
            </a:extLst>
          </p:cNvPr>
          <p:cNvSpPr/>
          <p:nvPr/>
        </p:nvSpPr>
        <p:spPr>
          <a:xfrm>
            <a:off x="6252969" y="4559596"/>
            <a:ext cx="2440530" cy="415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1" algn="l" defTabSz="914400" rtl="0" eaLnBrk="1" fontAlgn="auto" latinLnBrk="0" hangingPunct="1">
              <a:lnSpc>
                <a:spcPct val="90000"/>
              </a:lnSpc>
              <a:spcBef>
                <a:spcPts val="0"/>
              </a:spcBef>
              <a:spcAft>
                <a:spcPts val="0"/>
              </a:spcAft>
              <a:buClr>
                <a:srgbClr val="0F47F2"/>
              </a:buClr>
              <a:buSzPts val="1260"/>
              <a:tabLst/>
              <a:defRPr/>
            </a:pPr>
            <a:r>
              <a:rPr lang="en-US" sz="1000" dirty="0">
                <a:solidFill>
                  <a:srgbClr val="202124"/>
                </a:solidFill>
                <a:cs typeface="Calibri" panose="020F0502020204030204" pitchFamily="34" charset="0"/>
                <a:sym typeface="Calibri"/>
              </a:rPr>
              <a:t>Investments and funding information about startups in emerging markets (Middle East, Africa, Pakistan and Turkey) </a:t>
            </a:r>
          </a:p>
        </p:txBody>
      </p:sp>
      <p:sp>
        <p:nvSpPr>
          <p:cNvPr id="1370" name="Rectangle 1369">
            <a:extLst>
              <a:ext uri="{FF2B5EF4-FFF2-40B4-BE49-F238E27FC236}">
                <a16:creationId xmlns:a16="http://schemas.microsoft.com/office/drawing/2014/main" id="{3B5D678D-415F-331A-EC55-38832971AD7F}"/>
              </a:ext>
            </a:extLst>
          </p:cNvPr>
          <p:cNvSpPr/>
          <p:nvPr/>
        </p:nvSpPr>
        <p:spPr>
          <a:xfrm>
            <a:off x="6252969" y="5253824"/>
            <a:ext cx="2440530" cy="1123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tx2"/>
              </a:buClr>
              <a:buSzPct val="90000"/>
            </a:pPr>
            <a:r>
              <a:rPr lang="en-US" sz="1000" b="1" dirty="0">
                <a:solidFill>
                  <a:schemeClr val="tx2"/>
                </a:solidFill>
                <a:cs typeface="Calibri" panose="020F0502020204030204" pitchFamily="34" charset="0"/>
              </a:rPr>
              <a:t>Use cases:</a:t>
            </a:r>
          </a:p>
          <a:p>
            <a:pPr marL="171450" marR="0" lvl="1" indent="-171450" fontAlgn="auto">
              <a:lnSpc>
                <a:spcPct val="90000"/>
              </a:lnSpc>
              <a:spcBef>
                <a:spcPts val="0"/>
              </a:spcBef>
              <a:spcAft>
                <a:spcPts val="0"/>
              </a:spcAft>
              <a:buClr>
                <a:schemeClr val="tx2"/>
              </a:buClr>
              <a:buSzPct val="90000"/>
              <a:buFont typeface="Wingdings" panose="05000000000000000000" pitchFamily="2" charset="2"/>
              <a:buChar char="§"/>
              <a:tabLst/>
              <a:defRPr/>
            </a:pPr>
            <a:r>
              <a:rPr lang="en-US" sz="1000" dirty="0">
                <a:solidFill>
                  <a:srgbClr val="202124"/>
                </a:solidFill>
                <a:cs typeface="Calibri" panose="020F0502020204030204" pitchFamily="34" charset="0"/>
                <a:sym typeface="Calibri"/>
              </a:rPr>
              <a:t>Topmost funded startups in the MENA region ? Their locations, sub-sectors they operate in ?</a:t>
            </a:r>
          </a:p>
          <a:p>
            <a:pPr marL="171450" marR="0" lvl="1" indent="-171450" fontAlgn="auto">
              <a:lnSpc>
                <a:spcPct val="90000"/>
              </a:lnSpc>
              <a:spcBef>
                <a:spcPts val="0"/>
              </a:spcBef>
              <a:spcAft>
                <a:spcPts val="0"/>
              </a:spcAft>
              <a:buClr>
                <a:schemeClr val="tx2"/>
              </a:buClr>
              <a:buSzPct val="90000"/>
              <a:buFont typeface="Wingdings" panose="05000000000000000000" pitchFamily="2" charset="2"/>
              <a:buChar char="§"/>
              <a:tabLst/>
              <a:defRPr/>
            </a:pPr>
            <a:r>
              <a:rPr lang="en-US" sz="1000" dirty="0">
                <a:solidFill>
                  <a:srgbClr val="202124"/>
                </a:solidFill>
                <a:cs typeface="Calibri" panose="020F0502020204030204" pitchFamily="34" charset="0"/>
                <a:sym typeface="Calibri"/>
              </a:rPr>
              <a:t>Identifying the sectors with the highest level of investment</a:t>
            </a:r>
          </a:p>
          <a:p>
            <a:pPr marL="171450" marR="0" lvl="1" indent="-171450" fontAlgn="auto">
              <a:lnSpc>
                <a:spcPct val="90000"/>
              </a:lnSpc>
              <a:spcBef>
                <a:spcPts val="0"/>
              </a:spcBef>
              <a:spcAft>
                <a:spcPts val="0"/>
              </a:spcAft>
              <a:buClr>
                <a:schemeClr val="tx2"/>
              </a:buClr>
              <a:buSzPct val="90000"/>
              <a:buFont typeface="Wingdings" panose="05000000000000000000" pitchFamily="2" charset="2"/>
              <a:buChar char="§"/>
              <a:tabLst/>
              <a:defRPr/>
            </a:pPr>
            <a:r>
              <a:rPr lang="en-US" sz="1000" dirty="0">
                <a:solidFill>
                  <a:srgbClr val="202124"/>
                </a:solidFill>
                <a:cs typeface="Calibri" panose="020F0502020204030204" pitchFamily="34" charset="0"/>
                <a:sym typeface="Calibri"/>
              </a:rPr>
              <a:t>Who are the international investors that are support the Saudi startups ?  </a:t>
            </a:r>
          </a:p>
        </p:txBody>
      </p:sp>
      <p:sp>
        <p:nvSpPr>
          <p:cNvPr id="1385" name="Rectangle: Rounded Corners 1384">
            <a:extLst>
              <a:ext uri="{FF2B5EF4-FFF2-40B4-BE49-F238E27FC236}">
                <a16:creationId xmlns:a16="http://schemas.microsoft.com/office/drawing/2014/main" id="{A4C16005-B930-4E2C-1B02-188D740DBAED}"/>
              </a:ext>
            </a:extLst>
          </p:cNvPr>
          <p:cNvSpPr/>
          <p:nvPr/>
        </p:nvSpPr>
        <p:spPr>
          <a:xfrm>
            <a:off x="8929467" y="1519250"/>
            <a:ext cx="2692318" cy="2318627"/>
          </a:xfrm>
          <a:prstGeom prst="roundRect">
            <a:avLst>
              <a:gd name="adj" fmla="val 6931"/>
            </a:avLst>
          </a:prstGeom>
          <a:gradFill flip="none" rotWithShape="1">
            <a:gsLst>
              <a:gs pos="0">
                <a:schemeClr val="tx2">
                  <a:lumMod val="20000"/>
                  <a:lumOff val="80000"/>
                  <a:alpha val="31000"/>
                </a:schemeClr>
              </a:gs>
              <a:gs pos="100000">
                <a:schemeClr val="bg1"/>
              </a:gs>
            </a:gsLst>
            <a:lin ang="5400000" scaled="1"/>
            <a:tileRect/>
          </a:gradFill>
          <a:ln w="9525" cap="flat" cmpd="sng" algn="ctr">
            <a:noFill/>
            <a:prstDash val="solid"/>
          </a:ln>
          <a:effectLst/>
        </p:spPr>
        <p:txBody>
          <a:bodyPr lIns="34236" tIns="34236" rIns="34236" rtlCol="0" anchor="ctr" anchorCtr="0"/>
          <a:lstStyle/>
          <a:p>
            <a:pPr algn="ctr" defTabSz="913029"/>
            <a:endParaRPr lang="en-IN" sz="1400" b="1" kern="0" dirty="0">
              <a:solidFill>
                <a:prstClr val="white"/>
              </a:solidFill>
              <a:latin typeface="EYInterstate Light"/>
              <a:cs typeface="Sakkal Majalla"/>
            </a:endParaRPr>
          </a:p>
        </p:txBody>
      </p:sp>
      <p:sp>
        <p:nvSpPr>
          <p:cNvPr id="1386" name="Rectangle: Diagonal Corners Rounded 1385">
            <a:extLst>
              <a:ext uri="{FF2B5EF4-FFF2-40B4-BE49-F238E27FC236}">
                <a16:creationId xmlns:a16="http://schemas.microsoft.com/office/drawing/2014/main" id="{EFEE93C1-674B-D3DD-EAA2-C48205747989}"/>
              </a:ext>
            </a:extLst>
          </p:cNvPr>
          <p:cNvSpPr/>
          <p:nvPr/>
        </p:nvSpPr>
        <p:spPr>
          <a:xfrm>
            <a:off x="8910416" y="1519251"/>
            <a:ext cx="2621089" cy="509026"/>
          </a:xfrm>
          <a:prstGeom prst="round2DiagRect">
            <a:avLst>
              <a:gd name="adj1" fmla="val 10494"/>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nchorCtr="0"/>
          <a:lstStyle/>
          <a:p>
            <a:pPr algn="ctr" defTabSz="913486"/>
            <a:endParaRPr lang="en-US" sz="1400" b="1" dirty="0">
              <a:solidFill>
                <a:schemeClr val="bg1"/>
              </a:solidFill>
              <a:cs typeface="Dreaming Outloud Script Pro" panose="020B0604020202020204" pitchFamily="66" charset="0"/>
            </a:endParaRPr>
          </a:p>
        </p:txBody>
      </p:sp>
      <p:sp>
        <p:nvSpPr>
          <p:cNvPr id="1387" name="Rectangle 1386">
            <a:extLst>
              <a:ext uri="{FF2B5EF4-FFF2-40B4-BE49-F238E27FC236}">
                <a16:creationId xmlns:a16="http://schemas.microsoft.com/office/drawing/2014/main" id="{85A6E8CE-1857-09C0-C2E2-52F0CCE7CE98}"/>
              </a:ext>
            </a:extLst>
          </p:cNvPr>
          <p:cNvSpPr/>
          <p:nvPr/>
        </p:nvSpPr>
        <p:spPr>
          <a:xfrm>
            <a:off x="9045836" y="2140701"/>
            <a:ext cx="244053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000" dirty="0">
                <a:solidFill>
                  <a:srgbClr val="202124"/>
                </a:solidFill>
                <a:cs typeface="Calibri" panose="020F0502020204030204" pitchFamily="34" charset="0"/>
              </a:rPr>
              <a:t>Aggregator for i</a:t>
            </a:r>
            <a:r>
              <a:rPr lang="en-US" sz="1000" i="0" dirty="0">
                <a:solidFill>
                  <a:srgbClr val="202124"/>
                </a:solidFill>
                <a:effectLst/>
                <a:cs typeface="Calibri" panose="020F0502020204030204" pitchFamily="34" charset="0"/>
              </a:rPr>
              <a:t>ndustrial studies, </a:t>
            </a:r>
            <a:r>
              <a:rPr lang="en-US" sz="1000" dirty="0">
                <a:solidFill>
                  <a:srgbClr val="202124"/>
                </a:solidFill>
                <a:cs typeface="Calibri" panose="020F0502020204030204" pitchFamily="34" charset="0"/>
              </a:rPr>
              <a:t>market and </a:t>
            </a:r>
            <a:r>
              <a:rPr lang="en-US" sz="1000" i="0" dirty="0">
                <a:solidFill>
                  <a:srgbClr val="202124"/>
                </a:solidFill>
                <a:effectLst/>
                <a:cs typeface="Calibri" panose="020F0502020204030204" pitchFamily="34" charset="0"/>
              </a:rPr>
              <a:t>consumer statistics on 60,000 global topics from over 22,500 sources</a:t>
            </a:r>
            <a:endParaRPr lang="en-US" sz="1000" dirty="0">
              <a:cs typeface="Calibri" panose="020F0502020204030204" pitchFamily="34" charset="0"/>
            </a:endParaRPr>
          </a:p>
        </p:txBody>
      </p:sp>
      <p:sp>
        <p:nvSpPr>
          <p:cNvPr id="1388" name="Rectangle 1387">
            <a:extLst>
              <a:ext uri="{FF2B5EF4-FFF2-40B4-BE49-F238E27FC236}">
                <a16:creationId xmlns:a16="http://schemas.microsoft.com/office/drawing/2014/main" id="{C322119F-4F74-A098-E03B-DB3B5B53BCB9}"/>
              </a:ext>
            </a:extLst>
          </p:cNvPr>
          <p:cNvSpPr/>
          <p:nvPr/>
        </p:nvSpPr>
        <p:spPr>
          <a:xfrm>
            <a:off x="9045836" y="2702849"/>
            <a:ext cx="2440530"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tx2"/>
              </a:buClr>
              <a:buSzPct val="90000"/>
            </a:pPr>
            <a:r>
              <a:rPr lang="en-US" sz="1000" b="1" dirty="0">
                <a:solidFill>
                  <a:schemeClr val="tx2"/>
                </a:solidFill>
                <a:cs typeface="Calibri" panose="020F0502020204030204" pitchFamily="34" charset="0"/>
              </a:rPr>
              <a:t>Use case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Screening available statistics on a given business topic or country economy</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Consumer trends and survey result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Digital market outlook and forecasts</a:t>
            </a:r>
          </a:p>
          <a:p>
            <a:pPr marL="171450" indent="-171450">
              <a:buClr>
                <a:schemeClr val="tx2"/>
              </a:buClr>
              <a:buSzPct val="90000"/>
              <a:buFont typeface="Wingdings" panose="05000000000000000000" pitchFamily="2" charset="2"/>
              <a:buChar char="§"/>
            </a:pPr>
            <a:r>
              <a:rPr lang="en-US" sz="1000" dirty="0">
                <a:solidFill>
                  <a:srgbClr val="202124"/>
                </a:solidFill>
                <a:cs typeface="Calibri" panose="020F0502020204030204" pitchFamily="34" charset="0"/>
              </a:rPr>
              <a:t>Retail historical indicators and trends</a:t>
            </a:r>
            <a:endParaRPr lang="en-US" sz="1000" dirty="0">
              <a:cs typeface="Calibri" panose="020F0502020204030204" pitchFamily="34" charset="0"/>
            </a:endParaRPr>
          </a:p>
        </p:txBody>
      </p:sp>
      <p:sp>
        <p:nvSpPr>
          <p:cNvPr id="1380" name="Rectangle: Rounded Corners 1379">
            <a:extLst>
              <a:ext uri="{FF2B5EF4-FFF2-40B4-BE49-F238E27FC236}">
                <a16:creationId xmlns:a16="http://schemas.microsoft.com/office/drawing/2014/main" id="{D2724820-F808-76EF-4A70-4E7CFC2B604E}"/>
              </a:ext>
            </a:extLst>
          </p:cNvPr>
          <p:cNvSpPr/>
          <p:nvPr/>
        </p:nvSpPr>
        <p:spPr>
          <a:xfrm>
            <a:off x="8929467" y="3978785"/>
            <a:ext cx="2692318" cy="2318627"/>
          </a:xfrm>
          <a:prstGeom prst="roundRect">
            <a:avLst>
              <a:gd name="adj" fmla="val 6931"/>
            </a:avLst>
          </a:prstGeom>
          <a:gradFill flip="none" rotWithShape="1">
            <a:gsLst>
              <a:gs pos="0">
                <a:schemeClr val="tx2">
                  <a:lumMod val="20000"/>
                  <a:lumOff val="80000"/>
                  <a:alpha val="31000"/>
                </a:schemeClr>
              </a:gs>
              <a:gs pos="100000">
                <a:schemeClr val="bg1"/>
              </a:gs>
            </a:gsLst>
            <a:lin ang="5400000" scaled="1"/>
            <a:tileRect/>
          </a:gradFill>
          <a:ln w="9525" cap="flat" cmpd="sng" algn="ctr">
            <a:noFill/>
            <a:prstDash val="solid"/>
          </a:ln>
          <a:effectLst/>
        </p:spPr>
        <p:txBody>
          <a:bodyPr lIns="34236" tIns="34236" rIns="34236" rtlCol="0" anchor="ctr" anchorCtr="0"/>
          <a:lstStyle/>
          <a:p>
            <a:pPr algn="ctr" defTabSz="913029"/>
            <a:endParaRPr lang="en-IN" sz="1400" b="1" kern="0" dirty="0">
              <a:solidFill>
                <a:prstClr val="white"/>
              </a:solidFill>
              <a:latin typeface="EYInterstate Light"/>
              <a:cs typeface="Sakkal Majalla"/>
            </a:endParaRPr>
          </a:p>
        </p:txBody>
      </p:sp>
      <p:sp>
        <p:nvSpPr>
          <p:cNvPr id="1381" name="Rectangle: Diagonal Corners Rounded 1380">
            <a:extLst>
              <a:ext uri="{FF2B5EF4-FFF2-40B4-BE49-F238E27FC236}">
                <a16:creationId xmlns:a16="http://schemas.microsoft.com/office/drawing/2014/main" id="{3984DC4A-D663-3BB5-322E-1E14797C0699}"/>
              </a:ext>
            </a:extLst>
          </p:cNvPr>
          <p:cNvSpPr/>
          <p:nvPr/>
        </p:nvSpPr>
        <p:spPr>
          <a:xfrm>
            <a:off x="8910416" y="3978786"/>
            <a:ext cx="2621089" cy="509026"/>
          </a:xfrm>
          <a:prstGeom prst="round2DiagRect">
            <a:avLst>
              <a:gd name="adj1" fmla="val 10494"/>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b" anchorCtr="0"/>
          <a:lstStyle/>
          <a:p>
            <a:pPr algn="ctr" defTabSz="913486"/>
            <a:endParaRPr lang="en-US" sz="1400" b="1" dirty="0">
              <a:solidFill>
                <a:schemeClr val="bg1"/>
              </a:solidFill>
              <a:cs typeface="Dreaming Outloud Script Pro" panose="020B0604020202020204" pitchFamily="66" charset="0"/>
            </a:endParaRPr>
          </a:p>
        </p:txBody>
      </p:sp>
      <p:sp>
        <p:nvSpPr>
          <p:cNvPr id="1383" name="Rectangle 1382">
            <a:extLst>
              <a:ext uri="{FF2B5EF4-FFF2-40B4-BE49-F238E27FC236}">
                <a16:creationId xmlns:a16="http://schemas.microsoft.com/office/drawing/2014/main" id="{CD974ADF-5A81-A0E1-F5B3-C73033FE45B4}"/>
              </a:ext>
            </a:extLst>
          </p:cNvPr>
          <p:cNvSpPr/>
          <p:nvPr/>
        </p:nvSpPr>
        <p:spPr>
          <a:xfrm>
            <a:off x="9045836" y="5253824"/>
            <a:ext cx="2440530"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buClr>
                <a:schemeClr val="tx2"/>
              </a:buClr>
              <a:buSzPct val="90000"/>
            </a:pPr>
            <a:r>
              <a:rPr lang="en-US" sz="1000" b="1" dirty="0">
                <a:solidFill>
                  <a:schemeClr val="tx2"/>
                </a:solidFill>
                <a:cs typeface="Calibri" panose="020F0502020204030204" pitchFamily="34" charset="0"/>
              </a:rPr>
              <a:t>Use cases: </a:t>
            </a:r>
            <a:r>
              <a:rPr lang="en-US" sz="1000" dirty="0">
                <a:solidFill>
                  <a:srgbClr val="202124"/>
                </a:solidFill>
                <a:cs typeface="Calibri" panose="020F0502020204030204" pitchFamily="34" charset="0"/>
              </a:rPr>
              <a:t>The platform provides news articles and analyses on the below topics with an international coverage </a:t>
            </a:r>
          </a:p>
          <a:p>
            <a:pPr marL="171450" marR="0" lvl="1" indent="-171450" fontAlgn="auto">
              <a:lnSpc>
                <a:spcPct val="90000"/>
              </a:lnSpc>
              <a:spcBef>
                <a:spcPts val="0"/>
              </a:spcBef>
              <a:spcAft>
                <a:spcPts val="0"/>
              </a:spcAft>
              <a:buClr>
                <a:schemeClr val="tx2"/>
              </a:buClr>
              <a:buSzPct val="90000"/>
              <a:buFont typeface="Wingdings" panose="05000000000000000000" pitchFamily="2" charset="2"/>
              <a:buChar char="§"/>
              <a:tabLst/>
              <a:defRPr/>
            </a:pPr>
            <a:r>
              <a:rPr lang="en-US" sz="1000" i="0" dirty="0">
                <a:solidFill>
                  <a:srgbClr val="0D0D0D"/>
                </a:solidFill>
                <a:effectLst/>
                <a:latin typeface="EconSansOS"/>
              </a:rPr>
              <a:t>Business &amp; Economics</a:t>
            </a:r>
          </a:p>
          <a:p>
            <a:pPr marL="171450" marR="0" lvl="1" indent="-171450" fontAlgn="auto">
              <a:lnSpc>
                <a:spcPct val="90000"/>
              </a:lnSpc>
              <a:spcBef>
                <a:spcPts val="0"/>
              </a:spcBef>
              <a:spcAft>
                <a:spcPts val="0"/>
              </a:spcAft>
              <a:buClr>
                <a:schemeClr val="tx2"/>
              </a:buClr>
              <a:buSzPct val="90000"/>
              <a:buFont typeface="Wingdings" panose="05000000000000000000" pitchFamily="2" charset="2"/>
              <a:buChar char="§"/>
              <a:tabLst/>
              <a:defRPr/>
            </a:pPr>
            <a:r>
              <a:rPr lang="en-US" sz="1000" dirty="0">
                <a:solidFill>
                  <a:srgbClr val="0D0D0D"/>
                </a:solidFill>
                <a:latin typeface="EconSansOS"/>
                <a:cs typeface="Calibri" panose="020F0502020204030204" pitchFamily="34" charset="0"/>
                <a:sym typeface="Calibri"/>
              </a:rPr>
              <a:t>Politics</a:t>
            </a:r>
          </a:p>
          <a:p>
            <a:pPr marL="171450" marR="0" lvl="1" indent="-171450" fontAlgn="auto">
              <a:lnSpc>
                <a:spcPct val="90000"/>
              </a:lnSpc>
              <a:spcBef>
                <a:spcPts val="0"/>
              </a:spcBef>
              <a:spcAft>
                <a:spcPts val="0"/>
              </a:spcAft>
              <a:buClr>
                <a:schemeClr val="tx2"/>
              </a:buClr>
              <a:buSzPct val="90000"/>
              <a:buFont typeface="Wingdings" panose="05000000000000000000" pitchFamily="2" charset="2"/>
              <a:buChar char="§"/>
              <a:tabLst/>
              <a:defRPr/>
            </a:pPr>
            <a:r>
              <a:rPr lang="en-US" sz="1000" dirty="0">
                <a:solidFill>
                  <a:srgbClr val="0D0D0D"/>
                </a:solidFill>
                <a:latin typeface="EconSansOS"/>
                <a:cs typeface="Calibri" panose="020F0502020204030204" pitchFamily="34" charset="0"/>
                <a:sym typeface="Calibri"/>
              </a:rPr>
              <a:t>Technology  </a:t>
            </a:r>
          </a:p>
          <a:p>
            <a:pPr marL="171450" marR="0" lvl="1" indent="-171450" fontAlgn="auto">
              <a:lnSpc>
                <a:spcPct val="90000"/>
              </a:lnSpc>
              <a:spcBef>
                <a:spcPts val="0"/>
              </a:spcBef>
              <a:spcAft>
                <a:spcPts val="0"/>
              </a:spcAft>
              <a:buClr>
                <a:schemeClr val="tx2"/>
              </a:buClr>
              <a:buSzPct val="90000"/>
              <a:buFont typeface="Wingdings" panose="05000000000000000000" pitchFamily="2" charset="2"/>
              <a:buChar char="§"/>
              <a:tabLst/>
              <a:defRPr/>
            </a:pPr>
            <a:r>
              <a:rPr lang="en-US" sz="1000" dirty="0">
                <a:solidFill>
                  <a:srgbClr val="0D0D0D"/>
                </a:solidFill>
                <a:latin typeface="EconSansOS"/>
                <a:cs typeface="Calibri" panose="020F0502020204030204" pitchFamily="34" charset="0"/>
                <a:sym typeface="Calibri"/>
              </a:rPr>
              <a:t>Culture</a:t>
            </a:r>
            <a:endParaRPr lang="en-US" sz="1000" dirty="0">
              <a:solidFill>
                <a:srgbClr val="202124"/>
              </a:solidFill>
              <a:cs typeface="Calibri" panose="020F0502020204030204" pitchFamily="34" charset="0"/>
              <a:sym typeface="Calibri"/>
            </a:endParaRPr>
          </a:p>
        </p:txBody>
      </p:sp>
      <p:pic>
        <p:nvPicPr>
          <p:cNvPr id="1392" name="Picture 1391">
            <a:extLst>
              <a:ext uri="{FF2B5EF4-FFF2-40B4-BE49-F238E27FC236}">
                <a16:creationId xmlns:a16="http://schemas.microsoft.com/office/drawing/2014/main" id="{B5973A8A-6819-556B-19A1-7A3D7730A06A}"/>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229642" y="1636090"/>
            <a:ext cx="1052765" cy="414089"/>
          </a:xfrm>
          <a:prstGeom prst="rect">
            <a:avLst/>
          </a:prstGeom>
        </p:spPr>
      </p:pic>
      <p:pic>
        <p:nvPicPr>
          <p:cNvPr id="71" name="Picture 70">
            <a:extLst>
              <a:ext uri="{FF2B5EF4-FFF2-40B4-BE49-F238E27FC236}">
                <a16:creationId xmlns:a16="http://schemas.microsoft.com/office/drawing/2014/main" id="{46C697BA-DED5-4C0E-AAF4-83024475A50D}"/>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9009884" y="1654107"/>
            <a:ext cx="1088521" cy="367024"/>
          </a:xfrm>
          <a:prstGeom prst="rect">
            <a:avLst/>
          </a:prstGeom>
        </p:spPr>
      </p:pic>
      <p:pic>
        <p:nvPicPr>
          <p:cNvPr id="1394" name="Picture 1393">
            <a:extLst>
              <a:ext uri="{FF2B5EF4-FFF2-40B4-BE49-F238E27FC236}">
                <a16:creationId xmlns:a16="http://schemas.microsoft.com/office/drawing/2014/main" id="{3D4F5EE4-9419-BA44-186F-58E4A192715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84580" y="4084037"/>
            <a:ext cx="1054461" cy="357307"/>
          </a:xfrm>
          <a:prstGeom prst="rect">
            <a:avLst/>
          </a:prstGeom>
        </p:spPr>
      </p:pic>
      <p:pic>
        <p:nvPicPr>
          <p:cNvPr id="1395" name="Picture 1394">
            <a:extLst>
              <a:ext uri="{FF2B5EF4-FFF2-40B4-BE49-F238E27FC236}">
                <a16:creationId xmlns:a16="http://schemas.microsoft.com/office/drawing/2014/main" id="{EFE62267-B356-737A-1407-96487D880EE6}"/>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3452563" y="4113452"/>
            <a:ext cx="1363277" cy="298837"/>
          </a:xfrm>
          <a:prstGeom prst="rect">
            <a:avLst/>
          </a:prstGeom>
        </p:spPr>
      </p:pic>
      <p:pic>
        <p:nvPicPr>
          <p:cNvPr id="1396" name="Picture 16" descr="MAGNiTT - Headquarter Locations, Competitors, Financials, Employees">
            <a:extLst>
              <a:ext uri="{FF2B5EF4-FFF2-40B4-BE49-F238E27FC236}">
                <a16:creationId xmlns:a16="http://schemas.microsoft.com/office/drawing/2014/main" id="{AC5EA5FD-D8F0-2776-2688-9635A5B97EEC}"/>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4280" y="4149671"/>
            <a:ext cx="1080000" cy="249785"/>
          </a:xfrm>
          <a:prstGeom prst="rect">
            <a:avLst/>
          </a:prstGeom>
          <a:noFill/>
          <a:extLst>
            <a:ext uri="{909E8E84-426E-40DD-AFC4-6F175D3DCCD1}">
              <a14:hiddenFill xmlns:a14="http://schemas.microsoft.com/office/drawing/2010/main">
                <a:solidFill>
                  <a:srgbClr val="FFFFFF"/>
                </a:solidFill>
              </a14:hiddenFill>
            </a:ext>
          </a:extLst>
        </p:spPr>
      </p:pic>
      <p:pic>
        <p:nvPicPr>
          <p:cNvPr id="1397" name="Picture 2" descr="The Economist - Wikipedia">
            <a:extLst>
              <a:ext uri="{FF2B5EF4-FFF2-40B4-BE49-F238E27FC236}">
                <a16:creationId xmlns:a16="http://schemas.microsoft.com/office/drawing/2014/main" id="{88412289-1F3E-6CDD-48A3-0A9C1B8DD32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70153" y="4147364"/>
            <a:ext cx="825030" cy="36059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Orbis | Compare Private Company Data | Bureau van Dijk">
            <a:extLst>
              <a:ext uri="{FF2B5EF4-FFF2-40B4-BE49-F238E27FC236}">
                <a16:creationId xmlns:a16="http://schemas.microsoft.com/office/drawing/2014/main" id="{77BE25CD-89E9-0584-0826-66D78CB84E2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969" t="26313" r="14527" b="26423"/>
          <a:stretch/>
        </p:blipFill>
        <p:spPr bwMode="auto">
          <a:xfrm>
            <a:off x="3410065" y="1588049"/>
            <a:ext cx="1032184" cy="491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6392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18353E-AED7-4A4A-8678-960B5FA4B8F3}"/>
              </a:ext>
            </a:extLst>
          </p:cNvPr>
          <p:cNvGraphicFramePr>
            <a:graphicFrameLocks noChangeAspect="1"/>
          </p:cNvGraphicFramePr>
          <p:nvPr>
            <p:custDataLst>
              <p:tags r:id="rId1"/>
            </p:custDataLst>
            <p:extLst>
              <p:ext uri="{D42A27DB-BD31-4B8C-83A1-F6EECF244321}">
                <p14:modId xmlns:p14="http://schemas.microsoft.com/office/powerpoint/2010/main" val="1747112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D118353E-AED7-4A4A-8678-960B5FA4B8F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536C2C-F896-4E60-984C-D84CCAD8C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Title 3">
            <a:extLst>
              <a:ext uri="{FF2B5EF4-FFF2-40B4-BE49-F238E27FC236}">
                <a16:creationId xmlns:a16="http://schemas.microsoft.com/office/drawing/2014/main" id="{05A2FE30-D496-684B-8A91-C05FB484EE23}"/>
              </a:ext>
            </a:extLst>
          </p:cNvPr>
          <p:cNvSpPr>
            <a:spLocks noGrp="1"/>
          </p:cNvSpPr>
          <p:nvPr>
            <p:ph type="title"/>
          </p:nvPr>
        </p:nvSpPr>
        <p:spPr>
          <a:xfrm>
            <a:off x="737591" y="4200768"/>
            <a:ext cx="8494899" cy="1384995"/>
          </a:xfrm>
        </p:spPr>
        <p:txBody>
          <a:bodyPr vert="horz"/>
          <a:lstStyle/>
          <a:p>
            <a:r>
              <a:rPr lang="en-US" dirty="0"/>
              <a:t>Feedback from the McK teams</a:t>
            </a:r>
          </a:p>
        </p:txBody>
      </p:sp>
    </p:spTree>
    <p:extLst>
      <p:ext uri="{BB962C8B-B14F-4D97-AF65-F5344CB8AC3E}">
        <p14:creationId xmlns:p14="http://schemas.microsoft.com/office/powerpoint/2010/main" val="387577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87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52D8E32-1516-4EA7-8E65-6E1F580DFB1B}"/>
              </a:ext>
            </a:extLst>
          </p:cNvPr>
          <p:cNvGraphicFramePr>
            <a:graphicFrameLocks noChangeAspect="1"/>
          </p:cNvGraphicFramePr>
          <p:nvPr>
            <p:custDataLst>
              <p:tags r:id="rId1"/>
            </p:custDataLst>
            <p:extLst>
              <p:ext uri="{D42A27DB-BD31-4B8C-83A1-F6EECF244321}">
                <p14:modId xmlns:p14="http://schemas.microsoft.com/office/powerpoint/2010/main" val="3850600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95" imgH="394" progId="TCLayout.ActiveDocument.1">
                  <p:embed/>
                </p:oleObj>
              </mc:Choice>
              <mc:Fallback>
                <p:oleObj name="think-cell Slide" r:id="rId36" imgW="395" imgH="394" progId="TCLayout.ActiveDocument.1">
                  <p:embed/>
                  <p:pic>
                    <p:nvPicPr>
                      <p:cNvPr id="2" name="Object 1" hidden="1">
                        <a:extLst>
                          <a:ext uri="{FF2B5EF4-FFF2-40B4-BE49-F238E27FC236}">
                            <a16:creationId xmlns:a16="http://schemas.microsoft.com/office/drawing/2014/main" id="{552D8E32-1516-4EA7-8E65-6E1F580DFB1B}"/>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877" name="Google Shape;877;p11"/>
          <p:cNvSpPr txBox="1">
            <a:spLocks noGrp="1"/>
          </p:cNvSpPr>
          <p:nvPr>
            <p:ph type="title"/>
          </p:nvPr>
        </p:nvSpPr>
        <p:spPr>
          <a:xfrm>
            <a:off x="539399" y="562840"/>
            <a:ext cx="5373027" cy="1218795"/>
          </a:xfrm>
          <a:prstGeom prst="rect">
            <a:avLst/>
          </a:prstGeom>
          <a:noFill/>
          <a:ln>
            <a:noFill/>
          </a:ln>
        </p:spPr>
        <p:txBody>
          <a:bodyPr spcFirstLastPara="1" vert="horz" wrap="square" lIns="0" tIns="0" rIns="0" bIns="0" rtlCol="0" anchor="t" anchorCtr="0">
            <a:spAutoFit/>
          </a:bodyPr>
          <a:lstStyle/>
          <a:p>
            <a:pPr>
              <a:buClr>
                <a:schemeClr val="dk2"/>
              </a:buClr>
            </a:pPr>
            <a:r>
              <a:rPr lang="en-US" sz="2200" kern="1200" dirty="0">
                <a:latin typeface="Franklin Gothic Demi" panose="020B0703020102020204" pitchFamily="34" charset="0"/>
                <a:ea typeface="+mj-ea"/>
                <a:cs typeface="Calibri" panose="020F0502020204030204" pitchFamily="34" charset="0"/>
              </a:rPr>
              <a:t>Over the past 3 years, +95% of the client feedback on the quality of the dedicated-team’s support is rated either as Excellent or Good </a:t>
            </a:r>
            <a:endParaRPr lang="en-IN" sz="2200" kern="1200" dirty="0">
              <a:latin typeface="Franklin Gothic Demi" panose="020B0703020102020204" pitchFamily="34" charset="0"/>
              <a:ea typeface="+mj-ea"/>
              <a:cs typeface="Calibri" panose="020F0502020204030204" pitchFamily="34" charset="0"/>
            </a:endParaRPr>
          </a:p>
        </p:txBody>
      </p:sp>
      <p:sp>
        <p:nvSpPr>
          <p:cNvPr id="873" name="Google Shape;873;p11"/>
          <p:cNvSpPr txBox="1">
            <a:spLocks noGrp="1"/>
          </p:cNvSpPr>
          <p:nvPr>
            <p:ph type="body" idx="4294967295"/>
          </p:nvPr>
        </p:nvSpPr>
        <p:spPr>
          <a:xfrm>
            <a:off x="539400" y="6424613"/>
            <a:ext cx="5411788" cy="307975"/>
          </a:xfrm>
          <a:prstGeom prst="rect">
            <a:avLst/>
          </a:prstGeom>
          <a:noFill/>
          <a:ln>
            <a:noFill/>
          </a:ln>
        </p:spPr>
        <p:txBody>
          <a:bodyPr spcFirstLastPara="1" wrap="square" lIns="0" tIns="0" rIns="0" bIns="0" anchor="t" anchorCtr="0">
            <a:spAutoFit/>
          </a:bodyPr>
          <a:lstStyle/>
          <a:p>
            <a:pPr marL="0" indent="0">
              <a:lnSpc>
                <a:spcPct val="100000"/>
              </a:lnSpc>
              <a:spcBef>
                <a:spcPts val="0"/>
              </a:spcBef>
              <a:buSzPts val="1000"/>
            </a:pPr>
            <a:r>
              <a:rPr lang="en-US" sz="1000" dirty="0"/>
              <a:t>Notes</a:t>
            </a:r>
            <a:r>
              <a:rPr lang="en-US" sz="1000" b="0" dirty="0"/>
              <a:t>: </a:t>
            </a:r>
            <a:r>
              <a:rPr lang="en-US" sz="1000" b="0" i="1" dirty="0"/>
              <a:t>The client satisfaction survey is shared with the requestor at the end of each request. For 2021, the response rate was between 12 to 14%. </a:t>
            </a:r>
            <a:endParaRPr dirty="0"/>
          </a:p>
        </p:txBody>
      </p:sp>
      <p:sp>
        <p:nvSpPr>
          <p:cNvPr id="875" name="Google Shape;875;p11"/>
          <p:cNvSpPr txBox="1">
            <a:spLocks noGrp="1"/>
          </p:cNvSpPr>
          <p:nvPr>
            <p:ph type="body" idx="4294967295"/>
          </p:nvPr>
        </p:nvSpPr>
        <p:spPr>
          <a:xfrm>
            <a:off x="539400" y="1863725"/>
            <a:ext cx="5062538" cy="277813"/>
          </a:xfrm>
          <a:prstGeom prst="rect">
            <a:avLst/>
          </a:prstGeom>
          <a:noFill/>
          <a:ln>
            <a:noFill/>
          </a:ln>
        </p:spPr>
        <p:txBody>
          <a:bodyPr spcFirstLastPara="1" wrap="square" lIns="0" tIns="0" rIns="0" bIns="0" anchor="t" anchorCtr="0">
            <a:spAutoFit/>
          </a:bodyPr>
          <a:lstStyle/>
          <a:p>
            <a:pPr marL="0" indent="0">
              <a:lnSpc>
                <a:spcPct val="100000"/>
              </a:lnSpc>
              <a:spcBef>
                <a:spcPts val="0"/>
              </a:spcBef>
            </a:pPr>
            <a:r>
              <a:rPr lang="en-US" sz="1800" dirty="0">
                <a:solidFill>
                  <a:schemeClr val="accent1"/>
                </a:solidFill>
                <a:latin typeface="Calibri" panose="020F0502020204030204" pitchFamily="34" charset="0"/>
                <a:cs typeface="Calibri" panose="020F0502020204030204" pitchFamily="34" charset="0"/>
              </a:rPr>
              <a:t>Results of the satisfaction survey (2020-2022) </a:t>
            </a:r>
            <a:endParaRPr sz="1800" dirty="0">
              <a:solidFill>
                <a:schemeClr val="accent1"/>
              </a:solidFill>
              <a:latin typeface="Calibri" panose="020F0502020204030204" pitchFamily="34" charset="0"/>
              <a:cs typeface="Calibri" panose="020F0502020204030204" pitchFamily="34" charset="0"/>
            </a:endParaRPr>
          </a:p>
        </p:txBody>
      </p:sp>
      <p:sp>
        <p:nvSpPr>
          <p:cNvPr id="876" name="Google Shape;876;p11"/>
          <p:cNvSpPr txBox="1">
            <a:spLocks noGrp="1"/>
          </p:cNvSpPr>
          <p:nvPr>
            <p:ph type="body" idx="4294967295"/>
          </p:nvPr>
        </p:nvSpPr>
        <p:spPr>
          <a:xfrm>
            <a:off x="7357871" y="759842"/>
            <a:ext cx="4287895" cy="306387"/>
          </a:xfrm>
          <a:prstGeom prst="rect">
            <a:avLst/>
          </a:prstGeom>
          <a:noFill/>
          <a:ln>
            <a:noFill/>
          </a:ln>
        </p:spPr>
        <p:txBody>
          <a:bodyPr spcFirstLastPara="1" wrap="square" lIns="0" tIns="0" rIns="0" bIns="0" anchor="t" anchorCtr="0">
            <a:spAutoFit/>
          </a:bodyPr>
          <a:lstStyle/>
          <a:p>
            <a:pPr marL="0" indent="0">
              <a:lnSpc>
                <a:spcPct val="100000"/>
              </a:lnSpc>
              <a:spcBef>
                <a:spcPts val="0"/>
              </a:spcBef>
            </a:pPr>
            <a:r>
              <a:rPr lang="en-US" sz="2000" dirty="0">
                <a:solidFill>
                  <a:schemeClr val="bg2"/>
                </a:solidFill>
                <a:latin typeface="Calibri" panose="020F0502020204030204" pitchFamily="34" charset="0"/>
                <a:cs typeface="Calibri" panose="020F0502020204030204" pitchFamily="34" charset="0"/>
              </a:rPr>
              <a:t>Selection of client feedback quotes</a:t>
            </a:r>
            <a:endParaRPr sz="2000" dirty="0">
              <a:solidFill>
                <a:schemeClr val="bg2"/>
              </a:solidFill>
              <a:latin typeface="Calibri" panose="020F0502020204030204" pitchFamily="34" charset="0"/>
              <a:cs typeface="Calibri" panose="020F0502020204030204" pitchFamily="34" charset="0"/>
            </a:endParaRPr>
          </a:p>
        </p:txBody>
      </p:sp>
      <p:sp>
        <p:nvSpPr>
          <p:cNvPr id="893" name="Google Shape;893;p11"/>
          <p:cNvSpPr txBox="1"/>
          <p:nvPr/>
        </p:nvSpPr>
        <p:spPr>
          <a:xfrm>
            <a:off x="539400" y="2217806"/>
            <a:ext cx="5412138" cy="473976"/>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
                <a:srgbClr val="444444"/>
              </a:buClr>
              <a:buSzPts val="1000"/>
              <a:buFontTx/>
              <a:buNone/>
              <a:tabLst/>
              <a:defRPr/>
            </a:pPr>
            <a:r>
              <a:rPr kumimoji="0" lang="en-US" sz="1400" b="0" i="1" u="none" strike="noStrike" kern="1200" cap="none" spc="0" normalizeH="0" baseline="0" noProof="0" dirty="0">
                <a:ln>
                  <a:noFill/>
                </a:ln>
                <a:solidFill>
                  <a:srgbClr val="444444"/>
                </a:solidFill>
                <a:effectLst/>
                <a:uLnTx/>
                <a:uFillTx/>
                <a:latin typeface="Calibri" panose="020F0502020204030204" pitchFamily="34" charset="0"/>
                <a:ea typeface="Open Sans"/>
                <a:cs typeface="Calibri" panose="020F0502020204030204" pitchFamily="34" charset="0"/>
                <a:sym typeface="Open Sans"/>
              </a:rPr>
              <a:t>The dimensions assessed are the following: </a:t>
            </a:r>
            <a:r>
              <a:rPr kumimoji="0" lang="en-US" sz="1400" b="1" i="1" u="none" strike="noStrike" kern="1200" cap="none" spc="0" normalizeH="0" baseline="0" noProof="0" dirty="0">
                <a:ln>
                  <a:noFill/>
                </a:ln>
                <a:solidFill>
                  <a:schemeClr val="accent6"/>
                </a:solidFill>
                <a:effectLst/>
                <a:uLnTx/>
                <a:uFillTx/>
                <a:latin typeface="Calibri" panose="020F0502020204030204" pitchFamily="34" charset="0"/>
                <a:ea typeface="Open Sans"/>
                <a:cs typeface="Calibri" panose="020F0502020204030204" pitchFamily="34" charset="0"/>
                <a:sym typeface="Open Sans"/>
              </a:rPr>
              <a:t>Quality/ Resourcefulness / Insight</a:t>
            </a:r>
            <a:r>
              <a:rPr kumimoji="0" lang="en-US" sz="1400" b="0" i="1" u="none" strike="noStrike" kern="1200" cap="none" spc="0" normalizeH="0" baseline="0" noProof="0" dirty="0">
                <a:ln>
                  <a:noFill/>
                </a:ln>
                <a:solidFill>
                  <a:schemeClr val="accent6"/>
                </a:solidFill>
                <a:effectLst/>
                <a:uLnTx/>
                <a:uFillTx/>
                <a:latin typeface="Calibri" panose="020F0502020204030204" pitchFamily="34" charset="0"/>
                <a:ea typeface="Open Sans"/>
                <a:cs typeface="Calibri" panose="020F0502020204030204" pitchFamily="34" charset="0"/>
                <a:sym typeface="Open Sans"/>
              </a:rPr>
              <a:t>; </a:t>
            </a:r>
            <a:r>
              <a:rPr kumimoji="0" lang="en-US" sz="1400" b="1" i="1" u="none" strike="noStrike" kern="1200" cap="none" spc="0" normalizeH="0" baseline="0" noProof="0" dirty="0">
                <a:ln>
                  <a:noFill/>
                </a:ln>
                <a:solidFill>
                  <a:schemeClr val="accent6"/>
                </a:solidFill>
                <a:effectLst/>
                <a:uLnTx/>
                <a:uFillTx/>
                <a:latin typeface="Calibri" panose="020F0502020204030204" pitchFamily="34" charset="0"/>
                <a:ea typeface="Open Sans"/>
                <a:cs typeface="Calibri" panose="020F0502020204030204" pitchFamily="34" charset="0"/>
                <a:sym typeface="Open Sans"/>
              </a:rPr>
              <a:t>Timeliness</a:t>
            </a:r>
            <a:r>
              <a:rPr kumimoji="0" lang="en-US" sz="1400" b="0" i="1" u="none" strike="noStrike" kern="1200" cap="none" spc="0" normalizeH="0" baseline="0" noProof="0" dirty="0">
                <a:ln>
                  <a:noFill/>
                </a:ln>
                <a:solidFill>
                  <a:schemeClr val="accent6"/>
                </a:solidFill>
                <a:effectLst/>
                <a:uLnTx/>
                <a:uFillTx/>
                <a:latin typeface="Calibri" panose="020F0502020204030204" pitchFamily="34" charset="0"/>
                <a:ea typeface="Open Sans"/>
                <a:cs typeface="Calibri" panose="020F0502020204030204" pitchFamily="34" charset="0"/>
                <a:sym typeface="Open Sans"/>
              </a:rPr>
              <a:t> and </a:t>
            </a:r>
            <a:r>
              <a:rPr kumimoji="0" lang="en-US" sz="1400" b="1" i="1" u="none" strike="noStrike" kern="1200" cap="none" spc="0" normalizeH="0" baseline="0" noProof="0" dirty="0">
                <a:ln>
                  <a:noFill/>
                </a:ln>
                <a:solidFill>
                  <a:schemeClr val="accent6"/>
                </a:solidFill>
                <a:effectLst/>
                <a:uLnTx/>
                <a:uFillTx/>
                <a:latin typeface="Calibri" panose="020F0502020204030204" pitchFamily="34" charset="0"/>
                <a:ea typeface="Open Sans"/>
                <a:cs typeface="Calibri" panose="020F0502020204030204" pitchFamily="34" charset="0"/>
                <a:sym typeface="Open Sans"/>
              </a:rPr>
              <a:t>Communication / Interaction </a:t>
            </a:r>
            <a:endParaRPr kumimoji="0" sz="1400" b="0" i="0" u="none" strike="noStrike" kern="1200" cap="none" spc="0" normalizeH="0" baseline="0" noProof="0" dirty="0">
              <a:ln>
                <a:noFill/>
              </a:ln>
              <a:solidFill>
                <a:schemeClr val="accent6"/>
              </a:solidFill>
              <a:effectLst/>
              <a:uLnTx/>
              <a:uFillTx/>
              <a:latin typeface="Calibri" panose="020F0502020204030204" pitchFamily="34" charset="0"/>
              <a:ea typeface="+mn-ea"/>
              <a:cs typeface="Calibri" panose="020F0502020204030204" pitchFamily="34" charset="0"/>
            </a:endParaRPr>
          </a:p>
        </p:txBody>
      </p:sp>
      <p:graphicFrame>
        <p:nvGraphicFramePr>
          <p:cNvPr id="30" name="Chart 29">
            <a:extLst>
              <a:ext uri="{FF2B5EF4-FFF2-40B4-BE49-F238E27FC236}">
                <a16:creationId xmlns:a16="http://schemas.microsoft.com/office/drawing/2014/main" id="{3072B757-CB28-2A4D-E5DC-DB047A014A03}"/>
              </a:ext>
            </a:extLst>
          </p:cNvPr>
          <p:cNvGraphicFramePr/>
          <p:nvPr>
            <p:custDataLst>
              <p:tags r:id="rId2"/>
            </p:custDataLst>
          </p:nvPr>
        </p:nvGraphicFramePr>
        <p:xfrm>
          <a:off x="1187450" y="2782888"/>
          <a:ext cx="4152900" cy="2471737"/>
        </p:xfrm>
        <a:graphic>
          <a:graphicData uri="http://schemas.openxmlformats.org/drawingml/2006/chart">
            <c:chart xmlns:c="http://schemas.openxmlformats.org/drawingml/2006/chart" xmlns:r="http://schemas.openxmlformats.org/officeDocument/2006/relationships" r:id="rId38"/>
          </a:graphicData>
        </a:graphic>
      </p:graphicFrame>
      <p:sp>
        <p:nvSpPr>
          <p:cNvPr id="34" name="Google Shape;26;p45">
            <a:extLst>
              <a:ext uri="{FF2B5EF4-FFF2-40B4-BE49-F238E27FC236}">
                <a16:creationId xmlns:a16="http://schemas.microsoft.com/office/drawing/2014/main" id="{8ED12523-F30D-4DDF-858A-190610DA52AD}"/>
              </a:ext>
            </a:extLst>
          </p:cNvPr>
          <p:cNvSpPr txBox="1">
            <a:spLocks noGrp="1"/>
          </p:cNvSpPr>
          <p:nvPr>
            <p:custDataLst>
              <p:tags r:id="rId3"/>
            </p:custDataLst>
          </p:nvPr>
        </p:nvSpPr>
        <p:spPr bwMode="auto">
          <a:xfrm>
            <a:off x="841375" y="4803775"/>
            <a:ext cx="3397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E74DCC4A-F0C8-4F87-B0BF-36AC55FD04F7}" type="datetime'''''''''''''''''P''''''''''''o''''o''''''r '''''''">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Poor </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65" name="Google Shape;26;p45">
            <a:extLst>
              <a:ext uri="{FF2B5EF4-FFF2-40B4-BE49-F238E27FC236}">
                <a16:creationId xmlns:a16="http://schemas.microsoft.com/office/drawing/2014/main" id="{4ED85788-7F8C-4EC9-A7F1-4E48A1FB2821}"/>
              </a:ext>
            </a:extLst>
          </p:cNvPr>
          <p:cNvSpPr txBox="1">
            <a:spLocks noGrp="1"/>
          </p:cNvSpPr>
          <p:nvPr>
            <p:custDataLst>
              <p:tags r:id="rId4"/>
            </p:custDataLst>
          </p:nvPr>
        </p:nvSpPr>
        <p:spPr bwMode="gray">
          <a:xfrm>
            <a:off x="1295400" y="4660900"/>
            <a:ext cx="231775"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10F546F1-B0A9-4741-B0CA-B046700E482B}" type="datetime'''0''''''''''''''''''''''''''''''%'''''''''''">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0%</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25" name="Google Shape;26;p45">
            <a:extLst>
              <a:ext uri="{FF2B5EF4-FFF2-40B4-BE49-F238E27FC236}">
                <a16:creationId xmlns:a16="http://schemas.microsoft.com/office/drawing/2014/main" id="{4F1E9460-25DE-4B7A-A43F-2C718DF25C03}"/>
              </a:ext>
            </a:extLst>
          </p:cNvPr>
          <p:cNvSpPr txBox="1">
            <a:spLocks noGrp="1"/>
          </p:cNvSpPr>
          <p:nvPr>
            <p:custDataLst>
              <p:tags r:id="rId5"/>
            </p:custDataLst>
          </p:nvPr>
        </p:nvSpPr>
        <p:spPr bwMode="auto">
          <a:xfrm>
            <a:off x="798513" y="3651250"/>
            <a:ext cx="3825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F5639A57-26C3-4222-A61B-A452C2FAF958}" type="datetime'''''''''''''''''''''''''''''''''''''Go''o''''''''''''d'''''' '">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Good </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23" name="Google Shape;26;p45">
            <a:extLst>
              <a:ext uri="{FF2B5EF4-FFF2-40B4-BE49-F238E27FC236}">
                <a16:creationId xmlns:a16="http://schemas.microsoft.com/office/drawing/2014/main" id="{3B6191E5-D65C-46E3-AAAE-AB10CBF28EAE}"/>
              </a:ext>
            </a:extLst>
          </p:cNvPr>
          <p:cNvSpPr txBox="1">
            <a:spLocks noGrp="1"/>
          </p:cNvSpPr>
          <p:nvPr>
            <p:custDataLst>
              <p:tags r:id="rId6"/>
            </p:custDataLst>
          </p:nvPr>
        </p:nvSpPr>
        <p:spPr bwMode="auto">
          <a:xfrm>
            <a:off x="558800" y="3073400"/>
            <a:ext cx="6223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80A296EE-0860-4AE1-A138-8C6DFC6AA345}" type="datetime'''E''''xc''''''''''''''''''e''''l''''''le''''n''t'''''''''' '">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Excellent </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26" name="Google Shape;26;p45">
            <a:extLst>
              <a:ext uri="{FF2B5EF4-FFF2-40B4-BE49-F238E27FC236}">
                <a16:creationId xmlns:a16="http://schemas.microsoft.com/office/drawing/2014/main" id="{F734EF4B-B43D-4FD3-A305-39B8F93BB434}"/>
              </a:ext>
            </a:extLst>
          </p:cNvPr>
          <p:cNvSpPr txBox="1">
            <a:spLocks noGrp="1"/>
          </p:cNvSpPr>
          <p:nvPr>
            <p:custDataLst>
              <p:tags r:id="rId7"/>
            </p:custDataLst>
          </p:nvPr>
        </p:nvSpPr>
        <p:spPr bwMode="auto">
          <a:xfrm>
            <a:off x="615950" y="4227513"/>
            <a:ext cx="5651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5F0A9E84-1450-4D9F-BF4A-DE3ADD205097}" type="datetime'''''''''''''''''''''A''v''e''''''r''a''''''g''e'''''' '">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Average </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112" name="Google Shape;26;p45">
            <a:extLst>
              <a:ext uri="{FF2B5EF4-FFF2-40B4-BE49-F238E27FC236}">
                <a16:creationId xmlns:a16="http://schemas.microsoft.com/office/drawing/2014/main" id="{0843B994-46C8-451C-BC2E-6D248151B319}"/>
              </a:ext>
            </a:extLst>
          </p:cNvPr>
          <p:cNvSpPr txBox="1">
            <a:spLocks noGrp="1"/>
          </p:cNvSpPr>
          <p:nvPr>
            <p:custDataLst>
              <p:tags r:id="rId8"/>
            </p:custDataLst>
          </p:nvPr>
        </p:nvSpPr>
        <p:spPr bwMode="gray">
          <a:xfrm>
            <a:off x="5189538" y="2930525"/>
            <a:ext cx="30638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3F4EE7CB-65ED-4FF4-9114-330760032381}" type="datetime'8''''''''''3''''''''''''''''''''%'''">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83%</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122" name="Google Shape;26;p45">
            <a:extLst>
              <a:ext uri="{FF2B5EF4-FFF2-40B4-BE49-F238E27FC236}">
                <a16:creationId xmlns:a16="http://schemas.microsoft.com/office/drawing/2014/main" id="{E3FD26B7-24BD-48F6-BE9C-71B50C1C153F}"/>
              </a:ext>
            </a:extLst>
          </p:cNvPr>
          <p:cNvSpPr txBox="1">
            <a:spLocks noGrp="1"/>
          </p:cNvSpPr>
          <p:nvPr>
            <p:custDataLst>
              <p:tags r:id="rId9"/>
            </p:custDataLst>
          </p:nvPr>
        </p:nvSpPr>
        <p:spPr bwMode="gray">
          <a:xfrm>
            <a:off x="5235575" y="3081338"/>
            <a:ext cx="30638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E3E79784-EE31-4413-A52E-5E261DD68228}" type="datetime'''''''''''''8''''''''''''''''''''''''''''''4''''''''%'">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84%</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4" name="Google Shape;26;p45">
            <a:extLst>
              <a:ext uri="{FF2B5EF4-FFF2-40B4-BE49-F238E27FC236}">
                <a16:creationId xmlns:a16="http://schemas.microsoft.com/office/drawing/2014/main" id="{D7BE75B7-A5D0-68BF-6FBA-C1C4127C1698}"/>
              </a:ext>
            </a:extLst>
          </p:cNvPr>
          <p:cNvSpPr txBox="1">
            <a:spLocks noGrp="1"/>
          </p:cNvSpPr>
          <p:nvPr>
            <p:custDataLst>
              <p:tags r:id="rId10"/>
            </p:custDataLst>
          </p:nvPr>
        </p:nvSpPr>
        <p:spPr bwMode="gray">
          <a:xfrm>
            <a:off x="5283200" y="3233738"/>
            <a:ext cx="30638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lnSpc>
                <a:spcPct val="90000"/>
              </a:lnSpc>
              <a:spcBef>
                <a:spcPct val="0"/>
              </a:spcBef>
              <a:spcAft>
                <a:spcPct val="0"/>
              </a:spcAft>
              <a:defRPr/>
            </a:pPr>
            <a:fld id="{01255379-EA78-49BD-97D1-CE781F012ACF}" type="datetime'8''''5''''''''''''''''''''''''''''''''''''''''''''''%'''''''">
              <a:rPr lang="en-US" altLang="en-US" sz="1050" b="1" smtClean="0">
                <a:solidFill>
                  <a:srgbClr val="444444"/>
                </a:solidFill>
                <a:latin typeface="+mn-lt"/>
                <a:ea typeface="+mn-ea"/>
                <a:cs typeface="+mn-cs"/>
              </a:rPr>
              <a:pPr lvl="0">
                <a:lnSpc>
                  <a:spcPct val="90000"/>
                </a:lnSpc>
                <a:spcBef>
                  <a:spcPct val="0"/>
                </a:spcBef>
                <a:spcAft>
                  <a:spcPct val="0"/>
                </a:spcAft>
                <a:defRPr/>
              </a:pPr>
              <a:t>85%</a:t>
            </a:fld>
            <a:endParaRPr lang="en-US" sz="1050" b="1" strike="noStrike" normalizeH="0" noProof="0" dirty="0">
              <a:ln>
                <a:noFill/>
              </a:ln>
              <a:solidFill>
                <a:srgbClr val="444444"/>
              </a:solidFill>
              <a:effectLst/>
              <a:uLnTx/>
              <a:uFillTx/>
              <a:latin typeface="+mn-lt"/>
              <a:ea typeface="+mn-ea"/>
              <a:cs typeface="+mn-cs"/>
              <a:sym typeface="Arial"/>
            </a:endParaRPr>
          </a:p>
        </p:txBody>
      </p:sp>
      <p:sp>
        <p:nvSpPr>
          <p:cNvPr id="123" name="Google Shape;26;p45">
            <a:extLst>
              <a:ext uri="{FF2B5EF4-FFF2-40B4-BE49-F238E27FC236}">
                <a16:creationId xmlns:a16="http://schemas.microsoft.com/office/drawing/2014/main" id="{E4BBAFD5-F6ED-4502-9723-1B3189C2737F}"/>
              </a:ext>
            </a:extLst>
          </p:cNvPr>
          <p:cNvSpPr txBox="1">
            <a:spLocks noGrp="1"/>
          </p:cNvSpPr>
          <p:nvPr>
            <p:custDataLst>
              <p:tags r:id="rId11"/>
            </p:custDataLst>
          </p:nvPr>
        </p:nvSpPr>
        <p:spPr bwMode="gray">
          <a:xfrm>
            <a:off x="1998663" y="3506788"/>
            <a:ext cx="30638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D946EF6F-3D21-4A72-BCB8-C0796C3A6123}" type="datetime'''''1''''''''''''''''5''''''%'''''''''''">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15%</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124" name="Google Shape;26;p45">
            <a:extLst>
              <a:ext uri="{FF2B5EF4-FFF2-40B4-BE49-F238E27FC236}">
                <a16:creationId xmlns:a16="http://schemas.microsoft.com/office/drawing/2014/main" id="{ED294647-636B-4C67-ACB5-CCD84A3E4C4E}"/>
              </a:ext>
            </a:extLst>
          </p:cNvPr>
          <p:cNvSpPr txBox="1">
            <a:spLocks noGrp="1"/>
          </p:cNvSpPr>
          <p:nvPr>
            <p:custDataLst>
              <p:tags r:id="rId12"/>
            </p:custDataLst>
          </p:nvPr>
        </p:nvSpPr>
        <p:spPr bwMode="gray">
          <a:xfrm>
            <a:off x="1952625" y="3659188"/>
            <a:ext cx="30638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E26BBFD3-0C23-4370-AE33-BDDFE2FBCDDD}" type="datetime'''''''''''''''''''''''''''''''1''''4''''''''''''''''''%'">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14%</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14" name="Google Shape;26;p45">
            <a:extLst>
              <a:ext uri="{FF2B5EF4-FFF2-40B4-BE49-F238E27FC236}">
                <a16:creationId xmlns:a16="http://schemas.microsoft.com/office/drawing/2014/main" id="{9826C1A7-0F53-4A93-4A04-F3889673C235}"/>
              </a:ext>
            </a:extLst>
          </p:cNvPr>
          <p:cNvSpPr txBox="1">
            <a:spLocks noGrp="1"/>
          </p:cNvSpPr>
          <p:nvPr>
            <p:custDataLst>
              <p:tags r:id="rId13"/>
            </p:custDataLst>
          </p:nvPr>
        </p:nvSpPr>
        <p:spPr bwMode="gray">
          <a:xfrm>
            <a:off x="1952625" y="3811588"/>
            <a:ext cx="30638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lnSpc>
                <a:spcPct val="90000"/>
              </a:lnSpc>
              <a:spcBef>
                <a:spcPct val="0"/>
              </a:spcBef>
              <a:spcAft>
                <a:spcPct val="0"/>
              </a:spcAft>
              <a:defRPr/>
            </a:pPr>
            <a:fld id="{D0C09B01-2AE0-4FF9-8B78-22432AB4DA95}" type="datetime'14%'''''''''''''''''''''''''''''''''''''''''''''''''''''''''''">
              <a:rPr lang="en-US" altLang="en-US" sz="1050" b="1" smtClean="0">
                <a:solidFill>
                  <a:srgbClr val="444444"/>
                </a:solidFill>
                <a:latin typeface="+mn-lt"/>
                <a:ea typeface="+mn-ea"/>
                <a:cs typeface="+mn-cs"/>
              </a:rPr>
              <a:pPr lvl="0">
                <a:lnSpc>
                  <a:spcPct val="90000"/>
                </a:lnSpc>
                <a:spcBef>
                  <a:spcPct val="0"/>
                </a:spcBef>
                <a:spcAft>
                  <a:spcPct val="0"/>
                </a:spcAft>
                <a:defRPr/>
              </a:pPr>
              <a:t>14%</a:t>
            </a:fld>
            <a:endParaRPr lang="en-US" sz="1050" b="1" strike="noStrike" normalizeH="0" noProof="0" dirty="0">
              <a:ln>
                <a:noFill/>
              </a:ln>
              <a:solidFill>
                <a:srgbClr val="444444"/>
              </a:solidFill>
              <a:effectLst/>
              <a:uLnTx/>
              <a:uFillTx/>
              <a:latin typeface="+mn-lt"/>
              <a:ea typeface="+mn-ea"/>
              <a:cs typeface="+mn-cs"/>
              <a:sym typeface="Arial"/>
            </a:endParaRPr>
          </a:p>
        </p:txBody>
      </p:sp>
      <p:sp>
        <p:nvSpPr>
          <p:cNvPr id="125" name="Google Shape;26;p45">
            <a:extLst>
              <a:ext uri="{FF2B5EF4-FFF2-40B4-BE49-F238E27FC236}">
                <a16:creationId xmlns:a16="http://schemas.microsoft.com/office/drawing/2014/main" id="{EB51879B-7D34-48E9-AECD-CA046757E71B}"/>
              </a:ext>
            </a:extLst>
          </p:cNvPr>
          <p:cNvSpPr txBox="1">
            <a:spLocks noGrp="1"/>
          </p:cNvSpPr>
          <p:nvPr>
            <p:custDataLst>
              <p:tags r:id="rId14"/>
            </p:custDataLst>
          </p:nvPr>
        </p:nvSpPr>
        <p:spPr bwMode="gray">
          <a:xfrm>
            <a:off x="1389063" y="4084638"/>
            <a:ext cx="231775"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6E00A683-AF87-4CDD-B117-0E260AE8D0A3}" type="datetime'''''''''''''''''''''''''''''2%'''''''''''''''''''''''''''''''">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2%</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126" name="Google Shape;26;p45">
            <a:extLst>
              <a:ext uri="{FF2B5EF4-FFF2-40B4-BE49-F238E27FC236}">
                <a16:creationId xmlns:a16="http://schemas.microsoft.com/office/drawing/2014/main" id="{1E35F50A-A832-4130-A87C-F2B83779D82E}"/>
              </a:ext>
            </a:extLst>
          </p:cNvPr>
          <p:cNvSpPr txBox="1">
            <a:spLocks noGrp="1"/>
          </p:cNvSpPr>
          <p:nvPr>
            <p:custDataLst>
              <p:tags r:id="rId15"/>
            </p:custDataLst>
          </p:nvPr>
        </p:nvSpPr>
        <p:spPr bwMode="gray">
          <a:xfrm>
            <a:off x="1436688" y="4235450"/>
            <a:ext cx="231775"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185C5E98-D9ED-429F-8B1D-B30288F63320}" type="datetime'''''''''''''''''''''''''3''''''%'''''''">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3%</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17" name="Google Shape;26;p45">
            <a:extLst>
              <a:ext uri="{FF2B5EF4-FFF2-40B4-BE49-F238E27FC236}">
                <a16:creationId xmlns:a16="http://schemas.microsoft.com/office/drawing/2014/main" id="{9BD6AF8B-8504-0F42-2090-30C80DC358E1}"/>
              </a:ext>
            </a:extLst>
          </p:cNvPr>
          <p:cNvSpPr txBox="1">
            <a:spLocks noGrp="1"/>
          </p:cNvSpPr>
          <p:nvPr>
            <p:custDataLst>
              <p:tags r:id="rId16"/>
            </p:custDataLst>
          </p:nvPr>
        </p:nvSpPr>
        <p:spPr bwMode="gray">
          <a:xfrm>
            <a:off x="1343025" y="4387850"/>
            <a:ext cx="231775"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lnSpc>
                <a:spcPct val="90000"/>
              </a:lnSpc>
              <a:spcBef>
                <a:spcPct val="0"/>
              </a:spcBef>
              <a:spcAft>
                <a:spcPct val="0"/>
              </a:spcAft>
              <a:defRPr/>
            </a:pPr>
            <a:fld id="{F82ED7AE-61E5-41DE-BAEA-1DC023DB1426}" type="datetime'''''''''''''1''''%'''''''''''''''''''">
              <a:rPr lang="en-US" altLang="en-US" sz="1050" b="1" smtClean="0">
                <a:solidFill>
                  <a:srgbClr val="444444"/>
                </a:solidFill>
                <a:latin typeface="+mn-lt"/>
                <a:ea typeface="+mn-ea"/>
                <a:cs typeface="+mn-cs"/>
              </a:rPr>
              <a:pPr/>
              <a:t>1%</a:t>
            </a:fld>
            <a:endParaRPr lang="en-US" sz="1050" b="1" strike="noStrike" normalizeH="0" noProof="0" dirty="0">
              <a:ln>
                <a:noFill/>
              </a:ln>
              <a:solidFill>
                <a:srgbClr val="444444"/>
              </a:solidFill>
              <a:effectLst/>
              <a:uLnTx/>
              <a:uFillTx/>
              <a:latin typeface="+mn-lt"/>
              <a:ea typeface="+mn-ea"/>
              <a:cs typeface="+mn-cs"/>
              <a:sym typeface="Arial"/>
            </a:endParaRPr>
          </a:p>
        </p:txBody>
      </p:sp>
      <p:sp>
        <p:nvSpPr>
          <p:cNvPr id="54" name="Google Shape;26;p45">
            <a:extLst>
              <a:ext uri="{FF2B5EF4-FFF2-40B4-BE49-F238E27FC236}">
                <a16:creationId xmlns:a16="http://schemas.microsoft.com/office/drawing/2014/main" id="{F7B0449C-0753-4FA2-867D-9CA2F26A53DF}"/>
              </a:ext>
            </a:extLst>
          </p:cNvPr>
          <p:cNvSpPr txBox="1">
            <a:spLocks noGrp="1"/>
          </p:cNvSpPr>
          <p:nvPr>
            <p:custDataLst>
              <p:tags r:id="rId17"/>
            </p:custDataLst>
          </p:nvPr>
        </p:nvSpPr>
        <p:spPr bwMode="gray">
          <a:xfrm>
            <a:off x="1295400" y="4811713"/>
            <a:ext cx="231775"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C2009F2A-18F8-480C-BF76-B5DFFB0EDCDF}" type="datetime'''''''''''''''''''''''''''0''''''''''''''%'''">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0%</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20" name="Google Shape;26;p45">
            <a:extLst>
              <a:ext uri="{FF2B5EF4-FFF2-40B4-BE49-F238E27FC236}">
                <a16:creationId xmlns:a16="http://schemas.microsoft.com/office/drawing/2014/main" id="{CA2F6BD4-C405-636F-70C5-7F7B5ED88910}"/>
              </a:ext>
            </a:extLst>
          </p:cNvPr>
          <p:cNvSpPr txBox="1">
            <a:spLocks noGrp="1"/>
          </p:cNvSpPr>
          <p:nvPr>
            <p:custDataLst>
              <p:tags r:id="rId18"/>
            </p:custDataLst>
          </p:nvPr>
        </p:nvSpPr>
        <p:spPr bwMode="gray">
          <a:xfrm>
            <a:off x="1295400" y="4964113"/>
            <a:ext cx="231775"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AC03FE55-27B4-40F8-86F4-FB93E57792C1}" type="datetime'''''''''''0''''''''''''''''%'''''">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0%</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11" name="Rectangle 10">
            <a:extLst>
              <a:ext uri="{FF2B5EF4-FFF2-40B4-BE49-F238E27FC236}">
                <a16:creationId xmlns:a16="http://schemas.microsoft.com/office/drawing/2014/main" id="{89D97D3A-2223-4A25-A585-32D4ED44BAEA}"/>
              </a:ext>
            </a:extLst>
          </p:cNvPr>
          <p:cNvSpPr/>
          <p:nvPr>
            <p:custDataLst>
              <p:tags r:id="rId19"/>
            </p:custDataLst>
          </p:nvPr>
        </p:nvSpPr>
        <p:spPr bwMode="auto">
          <a:xfrm>
            <a:off x="4103688" y="6089650"/>
            <a:ext cx="187325" cy="139700"/>
          </a:xfrm>
          <a:prstGeom prst="rect">
            <a:avLst/>
          </a:prstGeom>
          <a:solidFill>
            <a:schemeClr val="hlink"/>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693B604E-277B-4F83-96EB-4932483B1A0E}"/>
              </a:ext>
            </a:extLst>
          </p:cNvPr>
          <p:cNvSpPr/>
          <p:nvPr>
            <p:custDataLst>
              <p:tags r:id="rId20"/>
            </p:custDataLst>
          </p:nvPr>
        </p:nvSpPr>
        <p:spPr bwMode="auto">
          <a:xfrm>
            <a:off x="3465513" y="6089650"/>
            <a:ext cx="187325" cy="1397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D1E2392C-FC8A-27A9-6B98-1F141581E0B7}"/>
              </a:ext>
            </a:extLst>
          </p:cNvPr>
          <p:cNvSpPr/>
          <p:nvPr>
            <p:custDataLst>
              <p:tags r:id="rId21"/>
            </p:custDataLst>
          </p:nvPr>
        </p:nvSpPr>
        <p:spPr bwMode="auto">
          <a:xfrm>
            <a:off x="4741863" y="6089650"/>
            <a:ext cx="187325" cy="139700"/>
          </a:xfrm>
          <a:prstGeom prst="rect">
            <a:avLst/>
          </a:prstGeom>
          <a:solidFill>
            <a:schemeClr val="accent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Google Shape;26;p45">
            <a:extLst>
              <a:ext uri="{FF2B5EF4-FFF2-40B4-BE49-F238E27FC236}">
                <a16:creationId xmlns:a16="http://schemas.microsoft.com/office/drawing/2014/main" id="{B581C986-C25F-4019-B3BF-818E737B0686}"/>
              </a:ext>
            </a:extLst>
          </p:cNvPr>
          <p:cNvSpPr txBox="1">
            <a:spLocks noGrp="1"/>
          </p:cNvSpPr>
          <p:nvPr>
            <p:custDataLst>
              <p:tags r:id="rId22"/>
            </p:custDataLst>
          </p:nvPr>
        </p:nvSpPr>
        <p:spPr bwMode="auto">
          <a:xfrm>
            <a:off x="4341813" y="6084888"/>
            <a:ext cx="2984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76E58728-6289-4645-94FE-0F8224C438AB}" type="datetime'2''''''''0''''2''''1'''''''''''''''''''''''''">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2021</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39" name="Google Shape;26;p45">
            <a:extLst>
              <a:ext uri="{FF2B5EF4-FFF2-40B4-BE49-F238E27FC236}">
                <a16:creationId xmlns:a16="http://schemas.microsoft.com/office/drawing/2014/main" id="{83B8A00B-0EC0-4C03-885B-BCC6C5EE7DC7}"/>
              </a:ext>
            </a:extLst>
          </p:cNvPr>
          <p:cNvSpPr txBox="1">
            <a:spLocks noGrp="1"/>
          </p:cNvSpPr>
          <p:nvPr>
            <p:custDataLst>
              <p:tags r:id="rId23"/>
            </p:custDataLst>
          </p:nvPr>
        </p:nvSpPr>
        <p:spPr bwMode="auto">
          <a:xfrm>
            <a:off x="3703638" y="6084888"/>
            <a:ext cx="2984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F99373D2-41A6-4AE2-B839-09D63E4EE81B}" type="datetime'''''''''''''2''''''''''''0''''''''''''''''''''''''''20'''''">
              <a:rPr lang="en-US" altLang="en-US" sz="1050" b="1" u="none" strike="noStrike" normalizeH="0" noProof="0" smtClean="0">
                <a:ln>
                  <a:noFill/>
                </a:ln>
                <a:solidFill>
                  <a:srgbClr val="444444"/>
                </a:solidFill>
                <a:effectLst/>
                <a:uLnTx/>
                <a:uFillTx/>
                <a:latin typeface="+mn-lt"/>
                <a:ea typeface="+mn-ea"/>
                <a:cs typeface="+mn-cs"/>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2020</a:t>
            </a:fld>
            <a:endParaRPr lang="en-US" sz="1050" b="1" u="none" strike="noStrike" normalizeH="0" noProof="0" dirty="0">
              <a:ln>
                <a:noFill/>
              </a:ln>
              <a:solidFill>
                <a:srgbClr val="444444"/>
              </a:solidFill>
              <a:effectLst/>
              <a:uLnTx/>
              <a:uFillTx/>
              <a:latin typeface="+mn-lt"/>
              <a:ea typeface="+mn-ea"/>
              <a:cs typeface="+mn-cs"/>
              <a:sym typeface="Arial"/>
            </a:endParaRPr>
          </a:p>
        </p:txBody>
      </p:sp>
      <p:sp>
        <p:nvSpPr>
          <p:cNvPr id="3" name="Google Shape;26;p45">
            <a:extLst>
              <a:ext uri="{FF2B5EF4-FFF2-40B4-BE49-F238E27FC236}">
                <a16:creationId xmlns:a16="http://schemas.microsoft.com/office/drawing/2014/main" id="{F9BAB082-6E02-0C51-0040-BA3E2CFDE23F}"/>
              </a:ext>
            </a:extLst>
          </p:cNvPr>
          <p:cNvSpPr txBox="1">
            <a:spLocks noGrp="1"/>
          </p:cNvSpPr>
          <p:nvPr>
            <p:custDataLst>
              <p:tags r:id="rId24"/>
            </p:custDataLst>
          </p:nvPr>
        </p:nvSpPr>
        <p:spPr bwMode="auto">
          <a:xfrm>
            <a:off x="4979988" y="6084888"/>
            <a:ext cx="2984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spcBef>
                <a:spcPct val="0"/>
              </a:spcBef>
              <a:spcAft>
                <a:spcPct val="0"/>
              </a:spcAft>
              <a:defRPr/>
            </a:pPr>
            <a:fld id="{FC6ECC89-C508-4FC7-AA13-2D438843CBC9}" type="datetime'2''''0''''''''''2''''''''2'''''''''''''''''''''''''''''">
              <a:rPr lang="en-US" altLang="en-US" sz="1050" b="1" smtClean="0">
                <a:solidFill>
                  <a:srgbClr val="444444"/>
                </a:solidFill>
                <a:latin typeface="+mn-lt"/>
                <a:ea typeface="+mn-ea"/>
                <a:cs typeface="+mn-cs"/>
              </a:rPr>
              <a:pPr lvl="0">
                <a:spcBef>
                  <a:spcPct val="0"/>
                </a:spcBef>
                <a:spcAft>
                  <a:spcPct val="0"/>
                </a:spcAft>
                <a:defRPr/>
              </a:pPr>
              <a:t>2022</a:t>
            </a:fld>
            <a:endParaRPr lang="en-US" sz="1050" b="1" strike="noStrike" normalizeH="0" noProof="0" dirty="0">
              <a:ln>
                <a:noFill/>
              </a:ln>
              <a:solidFill>
                <a:srgbClr val="444444"/>
              </a:solidFill>
              <a:effectLst/>
              <a:uLnTx/>
              <a:uFillTx/>
              <a:latin typeface="+mn-lt"/>
              <a:ea typeface="+mn-ea"/>
              <a:cs typeface="+mn-cs"/>
              <a:sym typeface="Arial"/>
            </a:endParaRPr>
          </a:p>
        </p:txBody>
      </p:sp>
      <p:graphicFrame>
        <p:nvGraphicFramePr>
          <p:cNvPr id="42" name="Chart 41">
            <a:extLst>
              <a:ext uri="{FF2B5EF4-FFF2-40B4-BE49-F238E27FC236}">
                <a16:creationId xmlns:a16="http://schemas.microsoft.com/office/drawing/2014/main" id="{F3F0ECC4-A818-CFC9-DBDD-0E46DDD6330D}"/>
              </a:ext>
            </a:extLst>
          </p:cNvPr>
          <p:cNvGraphicFramePr/>
          <p:nvPr>
            <p:custDataLst>
              <p:tags r:id="rId25"/>
            </p:custDataLst>
          </p:nvPr>
        </p:nvGraphicFramePr>
        <p:xfrm>
          <a:off x="1187450" y="5413375"/>
          <a:ext cx="3721100" cy="473075"/>
        </p:xfrm>
        <a:graphic>
          <a:graphicData uri="http://schemas.openxmlformats.org/drawingml/2006/chart">
            <c:chart xmlns:c="http://schemas.openxmlformats.org/drawingml/2006/chart" xmlns:r="http://schemas.openxmlformats.org/officeDocument/2006/relationships" r:id="rId39"/>
          </a:graphicData>
        </a:graphic>
      </p:graphicFrame>
      <p:sp>
        <p:nvSpPr>
          <p:cNvPr id="33" name="Google Shape;26;p45">
            <a:extLst>
              <a:ext uri="{FF2B5EF4-FFF2-40B4-BE49-F238E27FC236}">
                <a16:creationId xmlns:a16="http://schemas.microsoft.com/office/drawing/2014/main" id="{B4B41B61-86DF-912F-6B79-3DED55AE87B6}"/>
              </a:ext>
            </a:extLst>
          </p:cNvPr>
          <p:cNvSpPr txBox="1">
            <a:spLocks noGrp="1"/>
          </p:cNvSpPr>
          <p:nvPr>
            <p:custDataLst>
              <p:tags r:id="rId26"/>
            </p:custDataLst>
          </p:nvPr>
        </p:nvSpPr>
        <p:spPr bwMode="auto">
          <a:xfrm>
            <a:off x="4076700" y="5848350"/>
            <a:ext cx="3111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3B68B156-18E2-4A49-BF93-A73C6280BCE1}" type="datetime'''''''''2''''''''''''''''0''''''''''''2''''''''''''2'''">
              <a:rPr kumimoji="0" lang="en-US" altLang="en-US" sz="1050" b="1" i="0" u="none" strike="noStrike" kern="1200" cap="none" spc="0" normalizeH="0" baseline="0" noProof="0" smtClean="0">
                <a:ln>
                  <a:noFill/>
                </a:ln>
                <a:solidFill>
                  <a:srgbClr val="444444"/>
                </a:solidFill>
                <a:effectLst/>
                <a:uLnTx/>
                <a:uFillTx/>
                <a:latin typeface="Arial"/>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2022</a:t>
            </a:fld>
            <a:endParaRPr kumimoji="0" lang="en-US" sz="1050" b="1" i="0" u="none" strike="noStrike" kern="1200" cap="none" spc="0" normalizeH="0" baseline="0" noProof="0" dirty="0">
              <a:ln>
                <a:noFill/>
              </a:ln>
              <a:solidFill>
                <a:srgbClr val="444444"/>
              </a:solidFill>
              <a:effectLst/>
              <a:uLnTx/>
              <a:uFillTx/>
              <a:latin typeface="Arial"/>
              <a:ea typeface="+mn-ea"/>
              <a:cs typeface="Arial"/>
              <a:sym typeface="Arial"/>
            </a:endParaRPr>
          </a:p>
        </p:txBody>
      </p:sp>
      <p:sp>
        <p:nvSpPr>
          <p:cNvPr id="31" name="Google Shape;26;p45">
            <a:extLst>
              <a:ext uri="{FF2B5EF4-FFF2-40B4-BE49-F238E27FC236}">
                <a16:creationId xmlns:a16="http://schemas.microsoft.com/office/drawing/2014/main" id="{5F820BA4-65D1-DFF3-5647-E6C0D32FEFF0}"/>
              </a:ext>
            </a:extLst>
          </p:cNvPr>
          <p:cNvSpPr txBox="1">
            <a:spLocks noGrp="1"/>
          </p:cNvSpPr>
          <p:nvPr>
            <p:custDataLst>
              <p:tags r:id="rId27"/>
            </p:custDataLst>
          </p:nvPr>
        </p:nvSpPr>
        <p:spPr bwMode="auto">
          <a:xfrm>
            <a:off x="1706563" y="5848350"/>
            <a:ext cx="3111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11649BA6-16AA-46EB-8848-2B1D3D71D194}" type="datetime'''2''''0''''''2''''''''''''''''''''''''''''''0'''''''''''''">
              <a:rPr kumimoji="0" lang="en-US" altLang="en-US" sz="1050" b="1" i="0" u="none" strike="noStrike" kern="1200" cap="none" spc="0" normalizeH="0" baseline="0" noProof="0" smtClean="0">
                <a:ln>
                  <a:noFill/>
                </a:ln>
                <a:solidFill>
                  <a:srgbClr val="444444"/>
                </a:solidFill>
                <a:effectLst/>
                <a:uLnTx/>
                <a:uFillTx/>
                <a:latin typeface="Arial"/>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2020</a:t>
            </a:fld>
            <a:endParaRPr kumimoji="0" lang="en-US" sz="1050" b="1" i="0" u="none" strike="noStrike" kern="1200" cap="none" spc="0" normalizeH="0" baseline="0" noProof="0" dirty="0">
              <a:ln>
                <a:noFill/>
              </a:ln>
              <a:solidFill>
                <a:srgbClr val="444444"/>
              </a:solidFill>
              <a:effectLst/>
              <a:uLnTx/>
              <a:uFillTx/>
              <a:latin typeface="Arial"/>
              <a:ea typeface="+mn-ea"/>
              <a:cs typeface="Arial"/>
              <a:sym typeface="Arial"/>
            </a:endParaRPr>
          </a:p>
        </p:txBody>
      </p:sp>
      <p:sp>
        <p:nvSpPr>
          <p:cNvPr id="32" name="Google Shape;26;p45">
            <a:extLst>
              <a:ext uri="{FF2B5EF4-FFF2-40B4-BE49-F238E27FC236}">
                <a16:creationId xmlns:a16="http://schemas.microsoft.com/office/drawing/2014/main" id="{A569188B-FA94-362A-1D43-ADFE586594E0}"/>
              </a:ext>
            </a:extLst>
          </p:cNvPr>
          <p:cNvSpPr txBox="1">
            <a:spLocks noGrp="1"/>
          </p:cNvSpPr>
          <p:nvPr>
            <p:custDataLst>
              <p:tags r:id="rId28"/>
            </p:custDataLst>
          </p:nvPr>
        </p:nvSpPr>
        <p:spPr bwMode="auto">
          <a:xfrm>
            <a:off x="2890838" y="5848350"/>
            <a:ext cx="3111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F54A187B-6E5A-48EC-8FF5-7D2248EAFC7F}" type="datetime'''''''2''''''0''''''''''''''''''''''''2''''1'''''''''''''''''">
              <a:rPr kumimoji="0" lang="en-US" altLang="en-US" sz="1050" b="1" i="0" u="none" strike="noStrike" kern="1200" cap="none" spc="0" normalizeH="0" baseline="0" noProof="0" smtClean="0">
                <a:ln>
                  <a:noFill/>
                </a:ln>
                <a:solidFill>
                  <a:srgbClr val="444444"/>
                </a:solidFill>
                <a:effectLst/>
                <a:uLnTx/>
                <a:uFillTx/>
                <a:latin typeface="Arial"/>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2021</a:t>
            </a:fld>
            <a:endParaRPr kumimoji="0" lang="en-US" sz="1050" b="1" i="0" u="none" strike="noStrike" kern="1200" cap="none" spc="0" normalizeH="0" baseline="0" noProof="0" dirty="0">
              <a:ln>
                <a:noFill/>
              </a:ln>
              <a:solidFill>
                <a:srgbClr val="444444"/>
              </a:solidFill>
              <a:effectLst/>
              <a:uLnTx/>
              <a:uFillTx/>
              <a:latin typeface="Arial"/>
              <a:ea typeface="+mn-ea"/>
              <a:cs typeface="Arial"/>
              <a:sym typeface="Arial"/>
            </a:endParaRPr>
          </a:p>
        </p:txBody>
      </p:sp>
      <p:sp>
        <p:nvSpPr>
          <p:cNvPr id="35" name="Google Shape;26;p45">
            <a:extLst>
              <a:ext uri="{FF2B5EF4-FFF2-40B4-BE49-F238E27FC236}">
                <a16:creationId xmlns:a16="http://schemas.microsoft.com/office/drawing/2014/main" id="{01F68BB8-67E4-2B8F-97B7-3EDBAAB4DEC8}"/>
              </a:ext>
            </a:extLst>
          </p:cNvPr>
          <p:cNvSpPr txBox="1">
            <a:spLocks noGrp="1"/>
          </p:cNvSpPr>
          <p:nvPr>
            <p:custDataLst>
              <p:tags r:id="rId29"/>
            </p:custDataLst>
          </p:nvPr>
        </p:nvSpPr>
        <p:spPr bwMode="gray">
          <a:xfrm>
            <a:off x="1731963" y="5326063"/>
            <a:ext cx="26193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fld id="{1CB34208-3561-4986-8627-4E8176BD963C}" type="datetime'''''2''''''''''''5''2'''''''''''''''''''''''''">
              <a:rPr kumimoji="0" lang="en-US" altLang="en-US" sz="1050" b="1" i="0" u="none" strike="noStrike" kern="1200" cap="none" spc="0" normalizeH="0" baseline="0" noProof="0" smtClean="0">
                <a:ln>
                  <a:noFill/>
                </a:ln>
                <a:solidFill>
                  <a:srgbClr val="444444"/>
                </a:solidFill>
                <a:effectLst/>
                <a:uLnTx/>
                <a:uFillTx/>
                <a:latin typeface="Arial"/>
                <a:ea typeface="+mn-ea"/>
                <a:cs typeface="Arial"/>
                <a:sym typeface="Arial"/>
              </a:rPr>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t>252</a:t>
            </a:fld>
            <a:endParaRPr kumimoji="0" lang="en-US" sz="1050" b="1" i="0" u="none" strike="noStrike" kern="1200" cap="none" spc="0" normalizeH="0" baseline="0" noProof="0" dirty="0">
              <a:ln>
                <a:noFill/>
              </a:ln>
              <a:solidFill>
                <a:srgbClr val="444444"/>
              </a:solidFill>
              <a:effectLst/>
              <a:uLnTx/>
              <a:uFillTx/>
              <a:latin typeface="Arial"/>
              <a:ea typeface="+mn-ea"/>
              <a:cs typeface="Arial"/>
              <a:sym typeface="Arial"/>
            </a:endParaRPr>
          </a:p>
        </p:txBody>
      </p:sp>
      <p:sp>
        <p:nvSpPr>
          <p:cNvPr id="36" name="Google Shape;26;p45">
            <a:extLst>
              <a:ext uri="{FF2B5EF4-FFF2-40B4-BE49-F238E27FC236}">
                <a16:creationId xmlns:a16="http://schemas.microsoft.com/office/drawing/2014/main" id="{FD2BE07B-7535-AF70-36DF-E67E3266A7A2}"/>
              </a:ext>
            </a:extLst>
          </p:cNvPr>
          <p:cNvSpPr txBox="1">
            <a:spLocks noGrp="1"/>
          </p:cNvSpPr>
          <p:nvPr>
            <p:custDataLst>
              <p:tags r:id="rId30"/>
            </p:custDataLst>
          </p:nvPr>
        </p:nvSpPr>
        <p:spPr bwMode="gray">
          <a:xfrm>
            <a:off x="2916238" y="5514975"/>
            <a:ext cx="26193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fld id="{95CFB9EC-8DDB-471A-84F5-39AB9ABC0EBA}" type="datetime'''''''''''''''''''''''''''''''''''1''''''''''''9''''''''''1'''">
              <a:rPr kumimoji="0" lang="en-US" altLang="en-US" sz="1050" b="1" i="0" u="none" strike="noStrike" kern="1200" cap="none" spc="0" normalizeH="0" baseline="0" noProof="0" smtClean="0">
                <a:ln>
                  <a:noFill/>
                </a:ln>
                <a:solidFill>
                  <a:srgbClr val="444444"/>
                </a:solidFill>
                <a:effectLst/>
                <a:uLnTx/>
                <a:uFillTx/>
                <a:latin typeface="Arial"/>
                <a:ea typeface="+mn-ea"/>
                <a:cs typeface="Arial"/>
                <a:sym typeface="Arial"/>
              </a:rPr>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t>191</a:t>
            </a:fld>
            <a:endParaRPr kumimoji="0" lang="en-US" sz="1050" b="1" i="0" u="none" strike="noStrike" kern="1200" cap="none" spc="0" normalizeH="0" baseline="0" noProof="0" dirty="0">
              <a:ln>
                <a:noFill/>
              </a:ln>
              <a:solidFill>
                <a:srgbClr val="444444"/>
              </a:solidFill>
              <a:effectLst/>
              <a:uLnTx/>
              <a:uFillTx/>
              <a:latin typeface="Arial"/>
              <a:ea typeface="+mn-ea"/>
              <a:cs typeface="Arial"/>
              <a:sym typeface="Arial"/>
            </a:endParaRPr>
          </a:p>
        </p:txBody>
      </p:sp>
      <p:sp>
        <p:nvSpPr>
          <p:cNvPr id="37" name="Google Shape;26;p45">
            <a:extLst>
              <a:ext uri="{FF2B5EF4-FFF2-40B4-BE49-F238E27FC236}">
                <a16:creationId xmlns:a16="http://schemas.microsoft.com/office/drawing/2014/main" id="{43E19E87-391F-083B-E70B-57B4E8D91564}"/>
              </a:ext>
            </a:extLst>
          </p:cNvPr>
          <p:cNvSpPr txBox="1">
            <a:spLocks noGrp="1"/>
          </p:cNvSpPr>
          <p:nvPr>
            <p:custDataLst>
              <p:tags r:id="rId31"/>
            </p:custDataLst>
          </p:nvPr>
        </p:nvSpPr>
        <p:spPr bwMode="gray">
          <a:xfrm>
            <a:off x="4102100" y="5391150"/>
            <a:ext cx="261938" cy="144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9050" tIns="0" rIns="1905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lgn="ctr">
              <a:lnSpc>
                <a:spcPct val="90000"/>
              </a:lnSpc>
              <a:spcBef>
                <a:spcPct val="0"/>
              </a:spcBef>
              <a:spcAft>
                <a:spcPct val="0"/>
              </a:spcAft>
            </a:pPr>
            <a:fld id="{96328492-949E-4717-B090-1B25EEDEB1B1}" type="datetime'2''''''''59'''''''''''''''''''''''''''''''''''">
              <a:rPr lang="en-US" altLang="en-US" sz="1050" b="1" smtClean="0">
                <a:solidFill>
                  <a:srgbClr val="444444"/>
                </a:solidFill>
                <a:latin typeface="+mn-lt"/>
                <a:ea typeface="+mn-ea"/>
                <a:cs typeface="+mn-cs"/>
              </a:rPr>
              <a:pPr lvl="0" algn="ctr">
                <a:lnSpc>
                  <a:spcPct val="90000"/>
                </a:lnSpc>
                <a:spcBef>
                  <a:spcPct val="0"/>
                </a:spcBef>
                <a:spcAft>
                  <a:spcPct val="0"/>
                </a:spcAft>
              </a:pPr>
              <a:t>259</a:t>
            </a:fld>
            <a:endParaRPr kumimoji="0" lang="en-US" sz="1050" b="1" i="0" strike="noStrike" kern="1200" cap="none" spc="0" normalizeH="0" baseline="0" noProof="0" dirty="0">
              <a:ln>
                <a:noFill/>
              </a:ln>
              <a:solidFill>
                <a:srgbClr val="444444"/>
              </a:solidFill>
              <a:effectLst/>
              <a:uLnTx/>
              <a:uFillTx/>
              <a:latin typeface="+mn-lt"/>
              <a:ea typeface="+mn-ea"/>
              <a:cs typeface="+mn-cs"/>
              <a:sym typeface="Arial"/>
            </a:endParaRPr>
          </a:p>
        </p:txBody>
      </p:sp>
      <p:sp>
        <p:nvSpPr>
          <p:cNvPr id="38" name="Rectangle 37">
            <a:extLst>
              <a:ext uri="{FF2B5EF4-FFF2-40B4-BE49-F238E27FC236}">
                <a16:creationId xmlns:a16="http://schemas.microsoft.com/office/drawing/2014/main" id="{43FC324C-B582-0466-CE65-346127385E27}"/>
              </a:ext>
            </a:extLst>
          </p:cNvPr>
          <p:cNvSpPr/>
          <p:nvPr>
            <p:custDataLst>
              <p:tags r:id="rId32"/>
            </p:custDataLst>
          </p:nvPr>
        </p:nvSpPr>
        <p:spPr bwMode="auto">
          <a:xfrm>
            <a:off x="835025" y="6089650"/>
            <a:ext cx="187325" cy="139700"/>
          </a:xfrm>
          <a:prstGeom prst="rect">
            <a:avLst/>
          </a:prstGeom>
          <a:solidFill>
            <a:schemeClr val="accent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Google Shape;26;p45">
            <a:extLst>
              <a:ext uri="{FF2B5EF4-FFF2-40B4-BE49-F238E27FC236}">
                <a16:creationId xmlns:a16="http://schemas.microsoft.com/office/drawing/2014/main" id="{FA9FF94E-889F-B4E8-8C4E-9F9C84EAFE74}"/>
              </a:ext>
            </a:extLst>
          </p:cNvPr>
          <p:cNvSpPr txBox="1">
            <a:spLocks noGrp="1"/>
          </p:cNvSpPr>
          <p:nvPr>
            <p:custDataLst>
              <p:tags r:id="rId33"/>
            </p:custDataLst>
          </p:nvPr>
        </p:nvSpPr>
        <p:spPr bwMode="auto">
          <a:xfrm>
            <a:off x="1073150" y="6084888"/>
            <a:ext cx="19875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89C63ECF-BF06-498B-939A-EB88D0D6D872}" type="datetime'''''''N''''umber ''of r''''''''e''''spons''e''s rec''ei''ved '">
              <a:rPr kumimoji="0" lang="en-US" altLang="en-US" sz="1050" b="1"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Number of responses received </a:t>
            </a:fld>
            <a:endParaRPr kumimoji="0" lang="en-US" sz="1050" b="1"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8" name="Freeform 9">
            <a:extLst>
              <a:ext uri="{FF2B5EF4-FFF2-40B4-BE49-F238E27FC236}">
                <a16:creationId xmlns:a16="http://schemas.microsoft.com/office/drawing/2014/main" id="{234246B8-EC88-8CB1-0362-8F0DF9EB1274}"/>
              </a:ext>
            </a:extLst>
          </p:cNvPr>
          <p:cNvSpPr>
            <a:spLocks noChangeAspect="1" noEditPoints="1"/>
          </p:cNvSpPr>
          <p:nvPr/>
        </p:nvSpPr>
        <p:spPr bwMode="auto">
          <a:xfrm>
            <a:off x="10699751" y="5632196"/>
            <a:ext cx="968334" cy="752984"/>
          </a:xfrm>
          <a:custGeom>
            <a:avLst/>
            <a:gdLst>
              <a:gd name="T0" fmla="*/ 1120 w 1440"/>
              <a:gd name="T1" fmla="*/ 640 h 1120"/>
              <a:gd name="T2" fmla="*/ 920 w 1440"/>
              <a:gd name="T3" fmla="*/ 640 h 1120"/>
              <a:gd name="T4" fmla="*/ 800 w 1440"/>
              <a:gd name="T5" fmla="*/ 520 h 1120"/>
              <a:gd name="T6" fmla="*/ 800 w 1440"/>
              <a:gd name="T7" fmla="*/ 120 h 1120"/>
              <a:gd name="T8" fmla="*/ 920 w 1440"/>
              <a:gd name="T9" fmla="*/ 0 h 1120"/>
              <a:gd name="T10" fmla="*/ 1320 w 1440"/>
              <a:gd name="T11" fmla="*/ 0 h 1120"/>
              <a:gd name="T12" fmla="*/ 1440 w 1440"/>
              <a:gd name="T13" fmla="*/ 120 h 1120"/>
              <a:gd name="T14" fmla="*/ 1440 w 1440"/>
              <a:gd name="T15" fmla="*/ 640 h 1120"/>
              <a:gd name="T16" fmla="*/ 960 w 1440"/>
              <a:gd name="T17" fmla="*/ 1120 h 1120"/>
              <a:gd name="T18" fmla="*/ 880 w 1440"/>
              <a:gd name="T19" fmla="*/ 1120 h 1120"/>
              <a:gd name="T20" fmla="*/ 880 w 1440"/>
              <a:gd name="T21" fmla="*/ 800 h 1120"/>
              <a:gd name="T22" fmla="*/ 960 w 1440"/>
              <a:gd name="T23" fmla="*/ 800 h 1120"/>
              <a:gd name="T24" fmla="*/ 1120 w 1440"/>
              <a:gd name="T25" fmla="*/ 640 h 1120"/>
              <a:gd name="T26" fmla="*/ 320 w 1440"/>
              <a:gd name="T27" fmla="*/ 640 h 1120"/>
              <a:gd name="T28" fmla="*/ 120 w 1440"/>
              <a:gd name="T29" fmla="*/ 640 h 1120"/>
              <a:gd name="T30" fmla="*/ 0 w 1440"/>
              <a:gd name="T31" fmla="*/ 520 h 1120"/>
              <a:gd name="T32" fmla="*/ 0 w 1440"/>
              <a:gd name="T33" fmla="*/ 120 h 1120"/>
              <a:gd name="T34" fmla="*/ 120 w 1440"/>
              <a:gd name="T35" fmla="*/ 0 h 1120"/>
              <a:gd name="T36" fmla="*/ 520 w 1440"/>
              <a:gd name="T37" fmla="*/ 0 h 1120"/>
              <a:gd name="T38" fmla="*/ 640 w 1440"/>
              <a:gd name="T39" fmla="*/ 120 h 1120"/>
              <a:gd name="T40" fmla="*/ 640 w 1440"/>
              <a:gd name="T41" fmla="*/ 640 h 1120"/>
              <a:gd name="T42" fmla="*/ 160 w 1440"/>
              <a:gd name="T43" fmla="*/ 1120 h 1120"/>
              <a:gd name="T44" fmla="*/ 80 w 1440"/>
              <a:gd name="T45" fmla="*/ 1120 h 1120"/>
              <a:gd name="T46" fmla="*/ 80 w 1440"/>
              <a:gd name="T47" fmla="*/ 800 h 1120"/>
              <a:gd name="T48" fmla="*/ 160 w 1440"/>
              <a:gd name="T49" fmla="*/ 800 h 1120"/>
              <a:gd name="T50" fmla="*/ 320 w 1440"/>
              <a:gd name="T51" fmla="*/ 64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1120">
                <a:moveTo>
                  <a:pt x="1120" y="640"/>
                </a:moveTo>
                <a:cubicBezTo>
                  <a:pt x="920" y="640"/>
                  <a:pt x="920" y="640"/>
                  <a:pt x="920" y="640"/>
                </a:cubicBezTo>
                <a:cubicBezTo>
                  <a:pt x="854" y="640"/>
                  <a:pt x="800" y="586"/>
                  <a:pt x="800" y="520"/>
                </a:cubicBezTo>
                <a:cubicBezTo>
                  <a:pt x="800" y="120"/>
                  <a:pt x="800" y="120"/>
                  <a:pt x="800" y="120"/>
                </a:cubicBezTo>
                <a:cubicBezTo>
                  <a:pt x="800" y="54"/>
                  <a:pt x="854" y="0"/>
                  <a:pt x="920" y="0"/>
                </a:cubicBezTo>
                <a:cubicBezTo>
                  <a:pt x="1320" y="0"/>
                  <a:pt x="1320" y="0"/>
                  <a:pt x="1320" y="0"/>
                </a:cubicBezTo>
                <a:cubicBezTo>
                  <a:pt x="1386" y="0"/>
                  <a:pt x="1440" y="54"/>
                  <a:pt x="1440" y="120"/>
                </a:cubicBezTo>
                <a:cubicBezTo>
                  <a:pt x="1440" y="640"/>
                  <a:pt x="1440" y="640"/>
                  <a:pt x="1440" y="640"/>
                </a:cubicBezTo>
                <a:cubicBezTo>
                  <a:pt x="1440" y="905"/>
                  <a:pt x="1225" y="1120"/>
                  <a:pt x="960" y="1120"/>
                </a:cubicBezTo>
                <a:cubicBezTo>
                  <a:pt x="880" y="1120"/>
                  <a:pt x="880" y="1120"/>
                  <a:pt x="880" y="1120"/>
                </a:cubicBezTo>
                <a:cubicBezTo>
                  <a:pt x="880" y="800"/>
                  <a:pt x="880" y="800"/>
                  <a:pt x="880" y="800"/>
                </a:cubicBezTo>
                <a:cubicBezTo>
                  <a:pt x="960" y="800"/>
                  <a:pt x="960" y="800"/>
                  <a:pt x="960" y="800"/>
                </a:cubicBezTo>
                <a:cubicBezTo>
                  <a:pt x="1048" y="800"/>
                  <a:pt x="1120" y="728"/>
                  <a:pt x="1120" y="640"/>
                </a:cubicBezTo>
                <a:close/>
                <a:moveTo>
                  <a:pt x="320" y="640"/>
                </a:moveTo>
                <a:cubicBezTo>
                  <a:pt x="120" y="640"/>
                  <a:pt x="120" y="640"/>
                  <a:pt x="120" y="640"/>
                </a:cubicBezTo>
                <a:cubicBezTo>
                  <a:pt x="54" y="640"/>
                  <a:pt x="0" y="586"/>
                  <a:pt x="0" y="520"/>
                </a:cubicBezTo>
                <a:cubicBezTo>
                  <a:pt x="0" y="120"/>
                  <a:pt x="0" y="120"/>
                  <a:pt x="0" y="120"/>
                </a:cubicBezTo>
                <a:cubicBezTo>
                  <a:pt x="0" y="54"/>
                  <a:pt x="54" y="0"/>
                  <a:pt x="120" y="0"/>
                </a:cubicBezTo>
                <a:cubicBezTo>
                  <a:pt x="520" y="0"/>
                  <a:pt x="520" y="0"/>
                  <a:pt x="520" y="0"/>
                </a:cubicBezTo>
                <a:cubicBezTo>
                  <a:pt x="586" y="0"/>
                  <a:pt x="640" y="54"/>
                  <a:pt x="640" y="120"/>
                </a:cubicBezTo>
                <a:cubicBezTo>
                  <a:pt x="640" y="640"/>
                  <a:pt x="640" y="640"/>
                  <a:pt x="640" y="640"/>
                </a:cubicBezTo>
                <a:cubicBezTo>
                  <a:pt x="640" y="905"/>
                  <a:pt x="425" y="1120"/>
                  <a:pt x="160" y="1120"/>
                </a:cubicBezTo>
                <a:cubicBezTo>
                  <a:pt x="80" y="1120"/>
                  <a:pt x="80" y="1120"/>
                  <a:pt x="80" y="1120"/>
                </a:cubicBezTo>
                <a:cubicBezTo>
                  <a:pt x="80" y="800"/>
                  <a:pt x="80" y="800"/>
                  <a:pt x="80" y="800"/>
                </a:cubicBezTo>
                <a:cubicBezTo>
                  <a:pt x="160" y="800"/>
                  <a:pt x="160" y="800"/>
                  <a:pt x="160" y="800"/>
                </a:cubicBezTo>
                <a:cubicBezTo>
                  <a:pt x="248" y="800"/>
                  <a:pt x="320" y="728"/>
                  <a:pt x="320" y="64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5" name="SplitText_4_7c3b06cb-1750-4034-8813-8ffb17e30650">
            <a:extLst>
              <a:ext uri="{FF2B5EF4-FFF2-40B4-BE49-F238E27FC236}">
                <a16:creationId xmlns:a16="http://schemas.microsoft.com/office/drawing/2014/main" id="{9A7EFC0D-546B-D8B7-95FB-B416259A2AF0}"/>
              </a:ext>
            </a:extLst>
          </p:cNvPr>
          <p:cNvSpPr txBox="1">
            <a:spLocks/>
          </p:cNvSpPr>
          <p:nvPr/>
        </p:nvSpPr>
        <p:spPr>
          <a:xfrm>
            <a:off x="6243322" y="1493980"/>
            <a:ext cx="2464744" cy="677108"/>
          </a:xfrm>
          <a:prstGeom prst="rect">
            <a:avLst/>
          </a:prstGeom>
          <a:noFill/>
          <a:ln w="9525">
            <a:noFill/>
          </a:ln>
        </p:spPr>
        <p:txBody>
          <a:bodyPr vert="horz" wrap="square" lIns="0" tIns="0" rIns="0" bIns="0" rtlCol="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Thank you so much for your help!  The output looks perfect and will be </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very valuable for the overall insights we are working on</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Christina </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Wallgren</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 UK</a:t>
            </a:r>
          </a:p>
        </p:txBody>
      </p:sp>
      <p:sp>
        <p:nvSpPr>
          <p:cNvPr id="6" name="SplitText_6_7c3b06cb-1750-4034-8813-8ffb17e30650">
            <a:extLst>
              <a:ext uri="{FF2B5EF4-FFF2-40B4-BE49-F238E27FC236}">
                <a16:creationId xmlns:a16="http://schemas.microsoft.com/office/drawing/2014/main" id="{35C1FBE2-8C0B-D065-EC74-EFD1362F3BBC}"/>
              </a:ext>
            </a:extLst>
          </p:cNvPr>
          <p:cNvSpPr txBox="1"/>
          <p:nvPr/>
        </p:nvSpPr>
        <p:spPr>
          <a:xfrm>
            <a:off x="6243322" y="2370976"/>
            <a:ext cx="2464744" cy="1184940"/>
          </a:xfrm>
          <a:prstGeom prst="rect">
            <a:avLst/>
          </a:prstGeom>
          <a:noFill/>
          <a:ln w="9525">
            <a:noFill/>
          </a:ln>
        </p:spPr>
        <p:txBody>
          <a:bodyPr wrap="square" lIns="0" tIns="0" rIns="0" bIns="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Arial"/>
              </a:rPr>
              <a:t>“</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Arial"/>
              </a:rPr>
              <a:t>Firstly, thanks a lot for </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Arial"/>
              </a:rPr>
              <a:t>all the great help and support your team has given, especially this year</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Arial"/>
              </a:rPr>
              <a:t>. </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Arial"/>
              </a:rPr>
              <a:t>I really appreciate that I can rely on the team, to get us through some very tricky days</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Arial"/>
              </a:rPr>
              <a:t>. A huge thank you to each one of you, here!! </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Poonam Bhandarkar – EPNG India</a:t>
            </a:r>
          </a:p>
        </p:txBody>
      </p:sp>
      <p:sp>
        <p:nvSpPr>
          <p:cNvPr id="10" name="SplitText_8_7c3b06cb-1750-4034-8813-8ffb17e30650">
            <a:extLst>
              <a:ext uri="{FF2B5EF4-FFF2-40B4-BE49-F238E27FC236}">
                <a16:creationId xmlns:a16="http://schemas.microsoft.com/office/drawing/2014/main" id="{9009CDCC-5469-EB4C-0D00-6C921AD186AD}"/>
              </a:ext>
            </a:extLst>
          </p:cNvPr>
          <p:cNvSpPr txBox="1"/>
          <p:nvPr/>
        </p:nvSpPr>
        <p:spPr>
          <a:xfrm>
            <a:off x="6243322" y="3755804"/>
            <a:ext cx="2464744" cy="507831"/>
          </a:xfrm>
          <a:prstGeom prst="rect">
            <a:avLst/>
          </a:prstGeom>
          <a:noFill/>
          <a:ln w="9525">
            <a:noFill/>
          </a:ln>
        </p:spPr>
        <p:txBody>
          <a:bodyPr wrap="square" lIns="0" tIns="0" rIns="0" bIns="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Great experience </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was my first time working with Infomineo and was super”, </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Matthew Lamontagne – Boston, USA</a:t>
            </a:r>
          </a:p>
        </p:txBody>
      </p:sp>
      <p:sp>
        <p:nvSpPr>
          <p:cNvPr id="12" name="SplitText_10_7c3b06cb-1750-4034-8813-8ffb17e30650">
            <a:extLst>
              <a:ext uri="{FF2B5EF4-FFF2-40B4-BE49-F238E27FC236}">
                <a16:creationId xmlns:a16="http://schemas.microsoft.com/office/drawing/2014/main" id="{610026F7-C224-C2A0-C015-BE3D5F4D6A11}"/>
              </a:ext>
            </a:extLst>
          </p:cNvPr>
          <p:cNvSpPr txBox="1"/>
          <p:nvPr/>
        </p:nvSpPr>
        <p:spPr>
          <a:xfrm>
            <a:off x="6243322" y="4463523"/>
            <a:ext cx="2464744" cy="1184940"/>
          </a:xfrm>
          <a:prstGeom prst="rect">
            <a:avLst/>
          </a:prstGeom>
          <a:noFill/>
          <a:ln w="9525">
            <a:noFill/>
          </a:ln>
        </p:spPr>
        <p:txBody>
          <a:bodyPr wrap="square" lIns="0" tIns="0" rIns="0" bIns="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I really want to stress how good Mohamed’s work was - He found something that I probably wouldn’t have been able to find. </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Really deep research, attention to detail, and creative in finding proxies</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in a very short amount of time”, </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hmed </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Fjer</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 Morocco</a:t>
            </a:r>
          </a:p>
        </p:txBody>
      </p:sp>
      <p:sp>
        <p:nvSpPr>
          <p:cNvPr id="13" name="SplitText_12_7c3b06cb-1750-4034-8813-8ffb17e30650">
            <a:extLst>
              <a:ext uri="{FF2B5EF4-FFF2-40B4-BE49-F238E27FC236}">
                <a16:creationId xmlns:a16="http://schemas.microsoft.com/office/drawing/2014/main" id="{E2477F19-0A31-13E0-EE55-AC7AA008E6B9}"/>
              </a:ext>
            </a:extLst>
          </p:cNvPr>
          <p:cNvSpPr txBox="1"/>
          <p:nvPr/>
        </p:nvSpPr>
        <p:spPr>
          <a:xfrm>
            <a:off x="6243322" y="5848350"/>
            <a:ext cx="2464744" cy="507831"/>
          </a:xfrm>
          <a:prstGeom prst="rect">
            <a:avLst/>
          </a:prstGeom>
          <a:noFill/>
          <a:ln w="9525">
            <a:noFill/>
          </a:ln>
        </p:spPr>
        <p:txBody>
          <a:bodyPr wrap="square" lIns="0" tIns="0" rIns="0" bIns="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Thank you, Omar! This is great! And </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thanks for pointing out the proximity score bias</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hmed Sallam – Egypt </a:t>
            </a:r>
          </a:p>
        </p:txBody>
      </p:sp>
      <p:sp>
        <p:nvSpPr>
          <p:cNvPr id="15" name="SplitText_14_7c3b06cb-1750-4034-8813-8ffb17e30650">
            <a:extLst>
              <a:ext uri="{FF2B5EF4-FFF2-40B4-BE49-F238E27FC236}">
                <a16:creationId xmlns:a16="http://schemas.microsoft.com/office/drawing/2014/main" id="{764F7267-2AE2-2D9F-2403-C8031804A8C7}"/>
              </a:ext>
            </a:extLst>
          </p:cNvPr>
          <p:cNvSpPr txBox="1"/>
          <p:nvPr/>
        </p:nvSpPr>
        <p:spPr>
          <a:xfrm>
            <a:off x="9181023" y="1493980"/>
            <a:ext cx="2464744" cy="1354217"/>
          </a:xfrm>
          <a:prstGeom prst="rect">
            <a:avLst/>
          </a:prstGeom>
          <a:noFill/>
          <a:ln w="9525">
            <a:noFill/>
          </a:ln>
        </p:spPr>
        <p:txBody>
          <a:bodyPr wrap="square" lIns="0" tIns="0" rIns="0" bIns="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It was outstanding that Federica made direct calls to the relevant entities in Jordan/Lebanon regarding gold taxation, this was great as </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it helped us get some missing data points</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I look forward to continued thought partnership </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with your analysts while they support on the tasks” </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Mohammed Abo </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Taleb</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 KSA </a:t>
            </a:r>
            <a:endPar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endParaRPr>
          </a:p>
        </p:txBody>
      </p:sp>
      <p:sp>
        <p:nvSpPr>
          <p:cNvPr id="16" name="SplitText_16_7c3b06cb-1750-4034-8813-8ffb17e30650">
            <a:extLst>
              <a:ext uri="{FF2B5EF4-FFF2-40B4-BE49-F238E27FC236}">
                <a16:creationId xmlns:a16="http://schemas.microsoft.com/office/drawing/2014/main" id="{3C5EFA19-C121-2BEB-D78F-44566EA67EB8}"/>
              </a:ext>
            </a:extLst>
          </p:cNvPr>
          <p:cNvSpPr txBox="1"/>
          <p:nvPr/>
        </p:nvSpPr>
        <p:spPr>
          <a:xfrm>
            <a:off x="9181023" y="3060700"/>
            <a:ext cx="2464744" cy="507831"/>
          </a:xfrm>
          <a:prstGeom prst="rect">
            <a:avLst/>
          </a:prstGeom>
          <a:noFill/>
          <a:ln w="9525">
            <a:noFill/>
          </a:ln>
        </p:spPr>
        <p:txBody>
          <a:bodyPr wrap="square" lIns="0" tIns="0" rIns="0" bIns="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Very satisfied! The team was extremely fast in output delivery and the data was very helpful“, </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Marysia</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Skrzypulec</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 Poland</a:t>
            </a:r>
          </a:p>
        </p:txBody>
      </p:sp>
      <p:sp>
        <p:nvSpPr>
          <p:cNvPr id="18" name="SplitText_18_7c3b06cb-1750-4034-8813-8ffb17e30650">
            <a:extLst>
              <a:ext uri="{FF2B5EF4-FFF2-40B4-BE49-F238E27FC236}">
                <a16:creationId xmlns:a16="http://schemas.microsoft.com/office/drawing/2014/main" id="{235DBDB6-B969-E49C-F63F-B370F1EA7AB0}"/>
              </a:ext>
            </a:extLst>
          </p:cNvPr>
          <p:cNvSpPr txBox="1"/>
          <p:nvPr/>
        </p:nvSpPr>
        <p:spPr>
          <a:xfrm>
            <a:off x="9181023" y="3781034"/>
            <a:ext cx="2464744" cy="507831"/>
          </a:xfrm>
          <a:prstGeom prst="rect">
            <a:avLst/>
          </a:prstGeom>
          <a:noFill/>
          <a:ln w="9525">
            <a:noFill/>
          </a:ln>
        </p:spPr>
        <p:txBody>
          <a:bodyPr wrap="square" lIns="0" tIns="0" rIns="0" bIns="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Reactive and effective support</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fully addressing needs in a </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cost-(time-)effective approach</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lain Imbert – France</a:t>
            </a:r>
          </a:p>
        </p:txBody>
      </p:sp>
      <p:sp>
        <p:nvSpPr>
          <p:cNvPr id="19" name="SplitText_20_7c3b06cb-1750-4034-8813-8ffb17e30650">
            <a:extLst>
              <a:ext uri="{FF2B5EF4-FFF2-40B4-BE49-F238E27FC236}">
                <a16:creationId xmlns:a16="http://schemas.microsoft.com/office/drawing/2014/main" id="{4B010DE9-A5FB-5034-B277-A46A248A509A}"/>
              </a:ext>
            </a:extLst>
          </p:cNvPr>
          <p:cNvSpPr txBox="1"/>
          <p:nvPr/>
        </p:nvSpPr>
        <p:spPr>
          <a:xfrm>
            <a:off x="9181023" y="4501368"/>
            <a:ext cx="2464744" cy="507831"/>
          </a:xfrm>
          <a:prstGeom prst="rect">
            <a:avLst/>
          </a:prstGeom>
          <a:noFill/>
          <a:ln w="9525">
            <a:noFill/>
          </a:ln>
        </p:spPr>
        <p:txBody>
          <a:bodyPr wrap="square" lIns="0" tIns="0" rIns="0" bIns="0" anchor="ctr">
            <a:spAutoFit/>
          </a:bodyPr>
          <a:lstStyle/>
          <a:p>
            <a:pPr marR="0" lvl="0" algn="l" defTabSz="914400" rtl="0" eaLnBrk="1" fontAlgn="auto" latinLnBrk="0" hangingPunct="1">
              <a:lnSpc>
                <a:spcPct val="100000"/>
              </a:lnSpc>
              <a:spcAft>
                <a:spcPts val="0"/>
              </a:spcAft>
              <a:buClr>
                <a:srgbClr val="212121"/>
              </a:buClr>
              <a:buSzPts val="950"/>
              <a:tabLst/>
              <a:defRPr/>
            </a:pP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Thank you so much for this work, again. </a:t>
            </a:r>
            <a:r>
              <a:rPr kumimoji="0" lang="en-US" sz="1100" b="1"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bove expectations again</a:t>
            </a:r>
            <a:r>
              <a:rPr kumimoji="0" lang="en-US" sz="1100" b="0" i="1"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Miguel Sousa </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Morais</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Open Sans" panose="020B0606030504020204" pitchFamily="34" charset="0"/>
                <a:cs typeface="Calibri" panose="020F0502020204030204" pitchFamily="34" charset="0"/>
                <a:sym typeface="Open Sans"/>
              </a:rPr>
              <a:t> – Portugal </a:t>
            </a:r>
          </a:p>
        </p:txBody>
      </p:sp>
      <p:sp>
        <p:nvSpPr>
          <p:cNvPr id="21" name="Freeform 9">
            <a:extLst>
              <a:ext uri="{FF2B5EF4-FFF2-40B4-BE49-F238E27FC236}">
                <a16:creationId xmlns:a16="http://schemas.microsoft.com/office/drawing/2014/main" id="{64DEDB12-0179-8B73-B300-E24E1B8BA855}"/>
              </a:ext>
            </a:extLst>
          </p:cNvPr>
          <p:cNvSpPr>
            <a:spLocks noChangeAspect="1" noEditPoints="1"/>
          </p:cNvSpPr>
          <p:nvPr/>
        </p:nvSpPr>
        <p:spPr bwMode="auto">
          <a:xfrm flipH="1">
            <a:off x="6243322" y="536543"/>
            <a:ext cx="968334" cy="752984"/>
          </a:xfrm>
          <a:custGeom>
            <a:avLst/>
            <a:gdLst>
              <a:gd name="T0" fmla="*/ 1120 w 1440"/>
              <a:gd name="T1" fmla="*/ 640 h 1120"/>
              <a:gd name="T2" fmla="*/ 920 w 1440"/>
              <a:gd name="T3" fmla="*/ 640 h 1120"/>
              <a:gd name="T4" fmla="*/ 800 w 1440"/>
              <a:gd name="T5" fmla="*/ 520 h 1120"/>
              <a:gd name="T6" fmla="*/ 800 w 1440"/>
              <a:gd name="T7" fmla="*/ 120 h 1120"/>
              <a:gd name="T8" fmla="*/ 920 w 1440"/>
              <a:gd name="T9" fmla="*/ 0 h 1120"/>
              <a:gd name="T10" fmla="*/ 1320 w 1440"/>
              <a:gd name="T11" fmla="*/ 0 h 1120"/>
              <a:gd name="T12" fmla="*/ 1440 w 1440"/>
              <a:gd name="T13" fmla="*/ 120 h 1120"/>
              <a:gd name="T14" fmla="*/ 1440 w 1440"/>
              <a:gd name="T15" fmla="*/ 640 h 1120"/>
              <a:gd name="T16" fmla="*/ 960 w 1440"/>
              <a:gd name="T17" fmla="*/ 1120 h 1120"/>
              <a:gd name="T18" fmla="*/ 880 w 1440"/>
              <a:gd name="T19" fmla="*/ 1120 h 1120"/>
              <a:gd name="T20" fmla="*/ 880 w 1440"/>
              <a:gd name="T21" fmla="*/ 800 h 1120"/>
              <a:gd name="T22" fmla="*/ 960 w 1440"/>
              <a:gd name="T23" fmla="*/ 800 h 1120"/>
              <a:gd name="T24" fmla="*/ 1120 w 1440"/>
              <a:gd name="T25" fmla="*/ 640 h 1120"/>
              <a:gd name="T26" fmla="*/ 320 w 1440"/>
              <a:gd name="T27" fmla="*/ 640 h 1120"/>
              <a:gd name="T28" fmla="*/ 120 w 1440"/>
              <a:gd name="T29" fmla="*/ 640 h 1120"/>
              <a:gd name="T30" fmla="*/ 0 w 1440"/>
              <a:gd name="T31" fmla="*/ 520 h 1120"/>
              <a:gd name="T32" fmla="*/ 0 w 1440"/>
              <a:gd name="T33" fmla="*/ 120 h 1120"/>
              <a:gd name="T34" fmla="*/ 120 w 1440"/>
              <a:gd name="T35" fmla="*/ 0 h 1120"/>
              <a:gd name="T36" fmla="*/ 520 w 1440"/>
              <a:gd name="T37" fmla="*/ 0 h 1120"/>
              <a:gd name="T38" fmla="*/ 640 w 1440"/>
              <a:gd name="T39" fmla="*/ 120 h 1120"/>
              <a:gd name="T40" fmla="*/ 640 w 1440"/>
              <a:gd name="T41" fmla="*/ 640 h 1120"/>
              <a:gd name="T42" fmla="*/ 160 w 1440"/>
              <a:gd name="T43" fmla="*/ 1120 h 1120"/>
              <a:gd name="T44" fmla="*/ 80 w 1440"/>
              <a:gd name="T45" fmla="*/ 1120 h 1120"/>
              <a:gd name="T46" fmla="*/ 80 w 1440"/>
              <a:gd name="T47" fmla="*/ 800 h 1120"/>
              <a:gd name="T48" fmla="*/ 160 w 1440"/>
              <a:gd name="T49" fmla="*/ 800 h 1120"/>
              <a:gd name="T50" fmla="*/ 320 w 1440"/>
              <a:gd name="T51" fmla="*/ 64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1120">
                <a:moveTo>
                  <a:pt x="1120" y="640"/>
                </a:moveTo>
                <a:cubicBezTo>
                  <a:pt x="920" y="640"/>
                  <a:pt x="920" y="640"/>
                  <a:pt x="920" y="640"/>
                </a:cubicBezTo>
                <a:cubicBezTo>
                  <a:pt x="854" y="640"/>
                  <a:pt x="800" y="586"/>
                  <a:pt x="800" y="520"/>
                </a:cubicBezTo>
                <a:cubicBezTo>
                  <a:pt x="800" y="120"/>
                  <a:pt x="800" y="120"/>
                  <a:pt x="800" y="120"/>
                </a:cubicBezTo>
                <a:cubicBezTo>
                  <a:pt x="800" y="54"/>
                  <a:pt x="854" y="0"/>
                  <a:pt x="920" y="0"/>
                </a:cubicBezTo>
                <a:cubicBezTo>
                  <a:pt x="1320" y="0"/>
                  <a:pt x="1320" y="0"/>
                  <a:pt x="1320" y="0"/>
                </a:cubicBezTo>
                <a:cubicBezTo>
                  <a:pt x="1386" y="0"/>
                  <a:pt x="1440" y="54"/>
                  <a:pt x="1440" y="120"/>
                </a:cubicBezTo>
                <a:cubicBezTo>
                  <a:pt x="1440" y="640"/>
                  <a:pt x="1440" y="640"/>
                  <a:pt x="1440" y="640"/>
                </a:cubicBezTo>
                <a:cubicBezTo>
                  <a:pt x="1440" y="905"/>
                  <a:pt x="1225" y="1120"/>
                  <a:pt x="960" y="1120"/>
                </a:cubicBezTo>
                <a:cubicBezTo>
                  <a:pt x="880" y="1120"/>
                  <a:pt x="880" y="1120"/>
                  <a:pt x="880" y="1120"/>
                </a:cubicBezTo>
                <a:cubicBezTo>
                  <a:pt x="880" y="800"/>
                  <a:pt x="880" y="800"/>
                  <a:pt x="880" y="800"/>
                </a:cubicBezTo>
                <a:cubicBezTo>
                  <a:pt x="960" y="800"/>
                  <a:pt x="960" y="800"/>
                  <a:pt x="960" y="800"/>
                </a:cubicBezTo>
                <a:cubicBezTo>
                  <a:pt x="1048" y="800"/>
                  <a:pt x="1120" y="728"/>
                  <a:pt x="1120" y="640"/>
                </a:cubicBezTo>
                <a:close/>
                <a:moveTo>
                  <a:pt x="320" y="640"/>
                </a:moveTo>
                <a:cubicBezTo>
                  <a:pt x="120" y="640"/>
                  <a:pt x="120" y="640"/>
                  <a:pt x="120" y="640"/>
                </a:cubicBezTo>
                <a:cubicBezTo>
                  <a:pt x="54" y="640"/>
                  <a:pt x="0" y="586"/>
                  <a:pt x="0" y="520"/>
                </a:cubicBezTo>
                <a:cubicBezTo>
                  <a:pt x="0" y="120"/>
                  <a:pt x="0" y="120"/>
                  <a:pt x="0" y="120"/>
                </a:cubicBezTo>
                <a:cubicBezTo>
                  <a:pt x="0" y="54"/>
                  <a:pt x="54" y="0"/>
                  <a:pt x="120" y="0"/>
                </a:cubicBezTo>
                <a:cubicBezTo>
                  <a:pt x="520" y="0"/>
                  <a:pt x="520" y="0"/>
                  <a:pt x="520" y="0"/>
                </a:cubicBezTo>
                <a:cubicBezTo>
                  <a:pt x="586" y="0"/>
                  <a:pt x="640" y="54"/>
                  <a:pt x="640" y="120"/>
                </a:cubicBezTo>
                <a:cubicBezTo>
                  <a:pt x="640" y="640"/>
                  <a:pt x="640" y="640"/>
                  <a:pt x="640" y="640"/>
                </a:cubicBezTo>
                <a:cubicBezTo>
                  <a:pt x="640" y="905"/>
                  <a:pt x="425" y="1120"/>
                  <a:pt x="160" y="1120"/>
                </a:cubicBezTo>
                <a:cubicBezTo>
                  <a:pt x="80" y="1120"/>
                  <a:pt x="80" y="1120"/>
                  <a:pt x="80" y="1120"/>
                </a:cubicBezTo>
                <a:cubicBezTo>
                  <a:pt x="80" y="800"/>
                  <a:pt x="80" y="800"/>
                  <a:pt x="80" y="800"/>
                </a:cubicBezTo>
                <a:cubicBezTo>
                  <a:pt x="160" y="800"/>
                  <a:pt x="160" y="800"/>
                  <a:pt x="160" y="800"/>
                </a:cubicBezTo>
                <a:cubicBezTo>
                  <a:pt x="248" y="800"/>
                  <a:pt x="320" y="728"/>
                  <a:pt x="320" y="64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Tree>
    <p:extLst>
      <p:ext uri="{BB962C8B-B14F-4D97-AF65-F5344CB8AC3E}">
        <p14:creationId xmlns:p14="http://schemas.microsoft.com/office/powerpoint/2010/main" val="14272764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18353E-AED7-4A4A-8678-960B5FA4B8F3}"/>
              </a:ext>
            </a:extLst>
          </p:cNvPr>
          <p:cNvGraphicFramePr>
            <a:graphicFrameLocks noChangeAspect="1"/>
          </p:cNvGraphicFramePr>
          <p:nvPr>
            <p:custDataLst>
              <p:tags r:id="rId1"/>
            </p:custDataLst>
            <p:extLst>
              <p:ext uri="{D42A27DB-BD31-4B8C-83A1-F6EECF244321}">
                <p14:modId xmlns:p14="http://schemas.microsoft.com/office/powerpoint/2010/main" val="2127957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D118353E-AED7-4A4A-8678-960B5FA4B8F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536C2C-F896-4E60-984C-D84CCAD8C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Calibri" panose="020F0502020204030204" pitchFamily="34" charset="0"/>
              <a:sym typeface="Franklin Gothic Demi" panose="020B0703020102020204" pitchFamily="34" charset="0"/>
            </a:endParaRPr>
          </a:p>
        </p:txBody>
      </p:sp>
      <p:sp>
        <p:nvSpPr>
          <p:cNvPr id="4" name="Title 3">
            <a:extLst>
              <a:ext uri="{FF2B5EF4-FFF2-40B4-BE49-F238E27FC236}">
                <a16:creationId xmlns:a16="http://schemas.microsoft.com/office/drawing/2014/main" id="{05A2FE30-D496-684B-8A91-C05FB484EE23}"/>
              </a:ext>
            </a:extLst>
          </p:cNvPr>
          <p:cNvSpPr>
            <a:spLocks noGrp="1"/>
          </p:cNvSpPr>
          <p:nvPr>
            <p:ph type="title"/>
          </p:nvPr>
        </p:nvSpPr>
        <p:spPr>
          <a:xfrm>
            <a:off x="737591" y="4200768"/>
            <a:ext cx="8494899" cy="1384995"/>
          </a:xfrm>
        </p:spPr>
        <p:txBody>
          <a:bodyPr vert="horz"/>
          <a:lstStyle/>
          <a:p>
            <a:r>
              <a:rPr lang="en-US" dirty="0"/>
              <a:t>Our office locations and contact details</a:t>
            </a:r>
          </a:p>
        </p:txBody>
      </p:sp>
    </p:spTree>
    <p:extLst>
      <p:ext uri="{BB962C8B-B14F-4D97-AF65-F5344CB8AC3E}">
        <p14:creationId xmlns:p14="http://schemas.microsoft.com/office/powerpoint/2010/main" val="166312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3C8A70-C8E8-4622-AD36-914E6277A9CA}"/>
              </a:ext>
            </a:extLst>
          </p:cNvPr>
          <p:cNvGraphicFramePr>
            <a:graphicFrameLocks noChangeAspect="1"/>
          </p:cNvGraphicFramePr>
          <p:nvPr>
            <p:custDataLst>
              <p:tags r:id="rId1"/>
            </p:custDataLst>
            <p:extLst>
              <p:ext uri="{D42A27DB-BD31-4B8C-83A1-F6EECF244321}">
                <p14:modId xmlns:p14="http://schemas.microsoft.com/office/powerpoint/2010/main" val="4195428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DA3C8A70-C8E8-4622-AD36-914E6277A9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3" name="Freeform: Shape 82">
            <a:extLst>
              <a:ext uri="{FF2B5EF4-FFF2-40B4-BE49-F238E27FC236}">
                <a16:creationId xmlns:a16="http://schemas.microsoft.com/office/drawing/2014/main" id="{E404EFC6-1984-4F81-B518-74210E5C66C9}"/>
              </a:ext>
            </a:extLst>
          </p:cNvPr>
          <p:cNvSpPr/>
          <p:nvPr/>
        </p:nvSpPr>
        <p:spPr>
          <a:xfrm>
            <a:off x="4890541" y="4307896"/>
            <a:ext cx="76144" cy="22066"/>
          </a:xfrm>
          <a:custGeom>
            <a:avLst/>
            <a:gdLst>
              <a:gd name="connsiteX0" fmla="*/ 47590 w 96037"/>
              <a:gd name="connsiteY0" fmla="*/ 15670 h 28376"/>
              <a:gd name="connsiteX1" fmla="*/ 75621 w 96037"/>
              <a:gd name="connsiteY1" fmla="*/ 23135 h 28376"/>
              <a:gd name="connsiteX2" fmla="*/ 96023 w 96037"/>
              <a:gd name="connsiteY2" fmla="*/ 17495 h 28376"/>
              <a:gd name="connsiteX3" fmla="*/ 78109 w 96037"/>
              <a:gd name="connsiteY3" fmla="*/ 15007 h 28376"/>
              <a:gd name="connsiteX4" fmla="*/ 46262 w 96037"/>
              <a:gd name="connsiteY4" fmla="*/ 1406 h 28376"/>
              <a:gd name="connsiteX5" fmla="*/ 4298 w 96037"/>
              <a:gd name="connsiteY5" fmla="*/ 8207 h 28376"/>
              <a:gd name="connsiteX6" fmla="*/ -15 w 96037"/>
              <a:gd name="connsiteY6" fmla="*/ 28277 h 28376"/>
              <a:gd name="connsiteX7" fmla="*/ 9606 w 96037"/>
              <a:gd name="connsiteY7" fmla="*/ 26286 h 28376"/>
              <a:gd name="connsiteX8" fmla="*/ 47590 w 96037"/>
              <a:gd name="connsiteY8" fmla="*/ 15670 h 2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037" h="28376">
                <a:moveTo>
                  <a:pt x="47590" y="15670"/>
                </a:moveTo>
                <a:cubicBezTo>
                  <a:pt x="54390" y="9533"/>
                  <a:pt x="65669" y="21974"/>
                  <a:pt x="75621" y="23135"/>
                </a:cubicBezTo>
                <a:cubicBezTo>
                  <a:pt x="82837" y="23417"/>
                  <a:pt x="89969" y="21443"/>
                  <a:pt x="96023" y="17495"/>
                </a:cubicBezTo>
                <a:cubicBezTo>
                  <a:pt x="90185" y="15870"/>
                  <a:pt x="84163" y="15024"/>
                  <a:pt x="78109" y="15007"/>
                </a:cubicBezTo>
                <a:cubicBezTo>
                  <a:pt x="61523" y="13846"/>
                  <a:pt x="60693" y="-5561"/>
                  <a:pt x="46262" y="1406"/>
                </a:cubicBezTo>
                <a:cubicBezTo>
                  <a:pt x="33374" y="8124"/>
                  <a:pt x="18645" y="10512"/>
                  <a:pt x="4298" y="8207"/>
                </a:cubicBezTo>
                <a:cubicBezTo>
                  <a:pt x="4298" y="13680"/>
                  <a:pt x="980" y="20978"/>
                  <a:pt x="-15" y="28277"/>
                </a:cubicBezTo>
                <a:cubicBezTo>
                  <a:pt x="3153" y="27431"/>
                  <a:pt x="6371" y="26767"/>
                  <a:pt x="9606" y="26286"/>
                </a:cubicBezTo>
                <a:cubicBezTo>
                  <a:pt x="22925" y="25739"/>
                  <a:pt x="35929" y="22106"/>
                  <a:pt x="47590" y="15670"/>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6C959D25-BC60-41E9-AFFD-0AD161AD2C42}"/>
              </a:ext>
            </a:extLst>
          </p:cNvPr>
          <p:cNvSpPr/>
          <p:nvPr/>
        </p:nvSpPr>
        <p:spPr>
          <a:xfrm>
            <a:off x="6413640" y="4338605"/>
            <a:ext cx="45666" cy="49014"/>
          </a:xfrm>
          <a:custGeom>
            <a:avLst/>
            <a:gdLst>
              <a:gd name="connsiteX0" fmla="*/ 20636 w 57597"/>
              <a:gd name="connsiteY0" fmla="*/ 7530 h 63029"/>
              <a:gd name="connsiteX1" fmla="*/ 4049 w 57597"/>
              <a:gd name="connsiteY1" fmla="*/ 30586 h 63029"/>
              <a:gd name="connsiteX2" fmla="*/ 2889 w 57597"/>
              <a:gd name="connsiteY2" fmla="*/ 58618 h 63029"/>
              <a:gd name="connsiteX3" fmla="*/ 21632 w 57597"/>
              <a:gd name="connsiteY3" fmla="*/ 57457 h 63029"/>
              <a:gd name="connsiteX4" fmla="*/ 37223 w 57597"/>
              <a:gd name="connsiteY4" fmla="*/ 62930 h 63029"/>
              <a:gd name="connsiteX5" fmla="*/ 50990 w 57597"/>
              <a:gd name="connsiteY5" fmla="*/ 46343 h 63029"/>
              <a:gd name="connsiteX6" fmla="*/ 33242 w 57597"/>
              <a:gd name="connsiteY6" fmla="*/ 38880 h 63029"/>
              <a:gd name="connsiteX7" fmla="*/ 52317 w 57597"/>
              <a:gd name="connsiteY7" fmla="*/ 23620 h 63029"/>
              <a:gd name="connsiteX8" fmla="*/ 49498 w 57597"/>
              <a:gd name="connsiteY8" fmla="*/ 3881 h 63029"/>
              <a:gd name="connsiteX9" fmla="*/ 45019 w 57597"/>
              <a:gd name="connsiteY9" fmla="*/ -100 h 63029"/>
              <a:gd name="connsiteX10" fmla="*/ 36062 w 57597"/>
              <a:gd name="connsiteY10" fmla="*/ 6204 h 63029"/>
              <a:gd name="connsiteX11" fmla="*/ 20636 w 57597"/>
              <a:gd name="connsiteY11" fmla="*/ 7530 h 63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597" h="63029">
                <a:moveTo>
                  <a:pt x="20636" y="7530"/>
                </a:moveTo>
                <a:cubicBezTo>
                  <a:pt x="15660" y="15608"/>
                  <a:pt x="10121" y="23304"/>
                  <a:pt x="4049" y="30586"/>
                </a:cubicBezTo>
                <a:cubicBezTo>
                  <a:pt x="-926" y="39178"/>
                  <a:pt x="-1358" y="49644"/>
                  <a:pt x="2889" y="58618"/>
                </a:cubicBezTo>
                <a:cubicBezTo>
                  <a:pt x="5045" y="62764"/>
                  <a:pt x="15329" y="61769"/>
                  <a:pt x="21632" y="57457"/>
                </a:cubicBezTo>
                <a:cubicBezTo>
                  <a:pt x="27935" y="53144"/>
                  <a:pt x="30091" y="56130"/>
                  <a:pt x="37223" y="62930"/>
                </a:cubicBezTo>
                <a:cubicBezTo>
                  <a:pt x="41437" y="57092"/>
                  <a:pt x="46031" y="51552"/>
                  <a:pt x="50990" y="46343"/>
                </a:cubicBezTo>
                <a:cubicBezTo>
                  <a:pt x="42863" y="41533"/>
                  <a:pt x="35233" y="40870"/>
                  <a:pt x="33242" y="38880"/>
                </a:cubicBezTo>
                <a:cubicBezTo>
                  <a:pt x="31252" y="36889"/>
                  <a:pt x="43029" y="25610"/>
                  <a:pt x="52317" y="23620"/>
                </a:cubicBezTo>
                <a:cubicBezTo>
                  <a:pt x="61606" y="21629"/>
                  <a:pt x="57294" y="10848"/>
                  <a:pt x="49498" y="3881"/>
                </a:cubicBezTo>
                <a:cubicBezTo>
                  <a:pt x="48171" y="2886"/>
                  <a:pt x="46678" y="1393"/>
                  <a:pt x="45019" y="-100"/>
                </a:cubicBezTo>
                <a:cubicBezTo>
                  <a:pt x="41785" y="1642"/>
                  <a:pt x="38783" y="3749"/>
                  <a:pt x="36062" y="6204"/>
                </a:cubicBezTo>
                <a:cubicBezTo>
                  <a:pt x="34072" y="8857"/>
                  <a:pt x="28598" y="7530"/>
                  <a:pt x="20636" y="7530"/>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123" name="Freeform: Shape 122">
            <a:extLst>
              <a:ext uri="{FF2B5EF4-FFF2-40B4-BE49-F238E27FC236}">
                <a16:creationId xmlns:a16="http://schemas.microsoft.com/office/drawing/2014/main" id="{78080FBF-ADE6-49E5-A9AB-832F5D8E8BF2}"/>
              </a:ext>
            </a:extLst>
          </p:cNvPr>
          <p:cNvSpPr/>
          <p:nvPr/>
        </p:nvSpPr>
        <p:spPr>
          <a:xfrm>
            <a:off x="7658988" y="3920533"/>
            <a:ext cx="77155" cy="41976"/>
          </a:xfrm>
          <a:custGeom>
            <a:avLst/>
            <a:gdLst>
              <a:gd name="connsiteX0" fmla="*/ 96686 w 97312"/>
              <a:gd name="connsiteY0" fmla="*/ 17513 h 53978"/>
              <a:gd name="connsiteX1" fmla="*/ 58370 w 97312"/>
              <a:gd name="connsiteY1" fmla="*/ 7064 h 53978"/>
              <a:gd name="connsiteX2" fmla="*/ 31002 w 97312"/>
              <a:gd name="connsiteY2" fmla="*/ 2585 h 53978"/>
              <a:gd name="connsiteX3" fmla="*/ 7448 w 97312"/>
              <a:gd name="connsiteY3" fmla="*/ 23319 h 53978"/>
              <a:gd name="connsiteX4" fmla="*/ -15 w 97312"/>
              <a:gd name="connsiteY4" fmla="*/ 37252 h 53978"/>
              <a:gd name="connsiteX5" fmla="*/ 8609 w 97312"/>
              <a:gd name="connsiteY5" fmla="*/ 45048 h 53978"/>
              <a:gd name="connsiteX6" fmla="*/ 30836 w 97312"/>
              <a:gd name="connsiteY6" fmla="*/ 50355 h 53978"/>
              <a:gd name="connsiteX7" fmla="*/ 62351 w 97312"/>
              <a:gd name="connsiteY7" fmla="*/ 52843 h 53978"/>
              <a:gd name="connsiteX8" fmla="*/ 95524 w 97312"/>
              <a:gd name="connsiteY8" fmla="*/ 48862 h 53978"/>
              <a:gd name="connsiteX9" fmla="*/ 91544 w 97312"/>
              <a:gd name="connsiteY9" fmla="*/ 20167 h 53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12" h="53978">
                <a:moveTo>
                  <a:pt x="96686" y="17513"/>
                </a:moveTo>
                <a:cubicBezTo>
                  <a:pt x="76947" y="-566"/>
                  <a:pt x="71474" y="14030"/>
                  <a:pt x="58370" y="7064"/>
                </a:cubicBezTo>
                <a:cubicBezTo>
                  <a:pt x="45267" y="97"/>
                  <a:pt x="37636" y="-2557"/>
                  <a:pt x="31002" y="2585"/>
                </a:cubicBezTo>
                <a:cubicBezTo>
                  <a:pt x="24367" y="7727"/>
                  <a:pt x="14415" y="7064"/>
                  <a:pt x="7448" y="23319"/>
                </a:cubicBezTo>
                <a:cubicBezTo>
                  <a:pt x="5508" y="28245"/>
                  <a:pt x="3003" y="32906"/>
                  <a:pt x="-15" y="37252"/>
                </a:cubicBezTo>
                <a:cubicBezTo>
                  <a:pt x="2306" y="42228"/>
                  <a:pt x="5790" y="45711"/>
                  <a:pt x="8609" y="45048"/>
                </a:cubicBezTo>
                <a:cubicBezTo>
                  <a:pt x="13917" y="43720"/>
                  <a:pt x="20387" y="52843"/>
                  <a:pt x="30836" y="50355"/>
                </a:cubicBezTo>
                <a:cubicBezTo>
                  <a:pt x="41286" y="47867"/>
                  <a:pt x="47423" y="56824"/>
                  <a:pt x="62351" y="52843"/>
                </a:cubicBezTo>
                <a:cubicBezTo>
                  <a:pt x="77279" y="48862"/>
                  <a:pt x="89885" y="58151"/>
                  <a:pt x="95524" y="48862"/>
                </a:cubicBezTo>
                <a:cubicBezTo>
                  <a:pt x="101164" y="39574"/>
                  <a:pt x="91544" y="20167"/>
                  <a:pt x="91544" y="20167"/>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160" name="Freeform: Shape 159">
            <a:extLst>
              <a:ext uri="{FF2B5EF4-FFF2-40B4-BE49-F238E27FC236}">
                <a16:creationId xmlns:a16="http://schemas.microsoft.com/office/drawing/2014/main" id="{9D3A7FC2-C238-461A-801A-AC34365FCD5C}"/>
              </a:ext>
            </a:extLst>
          </p:cNvPr>
          <p:cNvSpPr/>
          <p:nvPr/>
        </p:nvSpPr>
        <p:spPr>
          <a:xfrm>
            <a:off x="2938123" y="4294234"/>
            <a:ext cx="60789" cy="32375"/>
          </a:xfrm>
          <a:custGeom>
            <a:avLst/>
            <a:gdLst>
              <a:gd name="connsiteX0" fmla="*/ 75455 w 76670"/>
              <a:gd name="connsiteY0" fmla="*/ 16321 h 41632"/>
              <a:gd name="connsiteX1" fmla="*/ 39296 w 76670"/>
              <a:gd name="connsiteY1" fmla="*/ 7033 h 41632"/>
              <a:gd name="connsiteX2" fmla="*/ 24865 w 76670"/>
              <a:gd name="connsiteY2" fmla="*/ -100 h 41632"/>
              <a:gd name="connsiteX3" fmla="*/ 23538 w 76670"/>
              <a:gd name="connsiteY3" fmla="*/ -100 h 41632"/>
              <a:gd name="connsiteX4" fmla="*/ -15 w 76670"/>
              <a:gd name="connsiteY4" fmla="*/ 19639 h 41632"/>
              <a:gd name="connsiteX5" fmla="*/ 64508 w 76670"/>
              <a:gd name="connsiteY5" fmla="*/ 41533 h 41632"/>
              <a:gd name="connsiteX6" fmla="*/ 75289 w 76670"/>
              <a:gd name="connsiteY6" fmla="*/ 37221 h 41632"/>
              <a:gd name="connsiteX7" fmla="*/ 75455 w 76670"/>
              <a:gd name="connsiteY7" fmla="*/ 16321 h 4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670" h="41632">
                <a:moveTo>
                  <a:pt x="75455" y="16321"/>
                </a:moveTo>
                <a:cubicBezTo>
                  <a:pt x="69816" y="8525"/>
                  <a:pt x="54887" y="17649"/>
                  <a:pt x="39296" y="7033"/>
                </a:cubicBezTo>
                <a:cubicBezTo>
                  <a:pt x="34768" y="4130"/>
                  <a:pt x="29924" y="1741"/>
                  <a:pt x="24865" y="-100"/>
                </a:cubicBezTo>
                <a:lnTo>
                  <a:pt x="23538" y="-100"/>
                </a:lnTo>
                <a:cubicBezTo>
                  <a:pt x="14863" y="5440"/>
                  <a:pt x="6951" y="12075"/>
                  <a:pt x="-15" y="19639"/>
                </a:cubicBezTo>
                <a:cubicBezTo>
                  <a:pt x="19956" y="30851"/>
                  <a:pt x="41834" y="38266"/>
                  <a:pt x="64508" y="41533"/>
                </a:cubicBezTo>
                <a:cubicBezTo>
                  <a:pt x="68505" y="41434"/>
                  <a:pt x="72337" y="39908"/>
                  <a:pt x="75289" y="37221"/>
                </a:cubicBezTo>
                <a:cubicBezTo>
                  <a:pt x="77047" y="30371"/>
                  <a:pt x="77114" y="23205"/>
                  <a:pt x="75455" y="16321"/>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183" name="Freeform: Shape 182">
            <a:extLst>
              <a:ext uri="{FF2B5EF4-FFF2-40B4-BE49-F238E27FC236}">
                <a16:creationId xmlns:a16="http://schemas.microsoft.com/office/drawing/2014/main" id="{F4726E00-2974-45D6-AD1F-57E1F73D84DF}"/>
              </a:ext>
            </a:extLst>
          </p:cNvPr>
          <p:cNvSpPr/>
          <p:nvPr/>
        </p:nvSpPr>
        <p:spPr>
          <a:xfrm>
            <a:off x="3245360" y="4185680"/>
            <a:ext cx="54394" cy="17397"/>
          </a:xfrm>
          <a:custGeom>
            <a:avLst/>
            <a:gdLst>
              <a:gd name="connsiteX0" fmla="*/ 451 w 68604"/>
              <a:gd name="connsiteY0" fmla="*/ 5138 h 22371"/>
              <a:gd name="connsiteX1" fmla="*/ 68291 w 68604"/>
              <a:gd name="connsiteY1" fmla="*/ 17081 h 22371"/>
              <a:gd name="connsiteX2" fmla="*/ 451 w 68604"/>
              <a:gd name="connsiteY2" fmla="*/ 5138 h 22371"/>
            </a:gdLst>
            <a:ahLst/>
            <a:cxnLst>
              <a:cxn ang="0">
                <a:pos x="connsiteX0" y="connsiteY0"/>
              </a:cxn>
              <a:cxn ang="0">
                <a:pos x="connsiteX1" y="connsiteY1"/>
              </a:cxn>
              <a:cxn ang="0">
                <a:pos x="connsiteX2" y="connsiteY2"/>
              </a:cxn>
            </a:cxnLst>
            <a:rect l="l" t="t" r="r" b="b"/>
            <a:pathLst>
              <a:path w="68604" h="22371">
                <a:moveTo>
                  <a:pt x="451" y="5138"/>
                </a:moveTo>
                <a:cubicBezTo>
                  <a:pt x="6422" y="15588"/>
                  <a:pt x="62486" y="30185"/>
                  <a:pt x="68291" y="17081"/>
                </a:cubicBezTo>
                <a:cubicBezTo>
                  <a:pt x="74097" y="3977"/>
                  <a:pt x="-6847" y="-6970"/>
                  <a:pt x="451" y="5138"/>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184" name="Freeform: Shape 183">
            <a:extLst>
              <a:ext uri="{FF2B5EF4-FFF2-40B4-BE49-F238E27FC236}">
                <a16:creationId xmlns:a16="http://schemas.microsoft.com/office/drawing/2014/main" id="{45CB2E61-DB7B-4B52-A304-0506D22FB4C7}"/>
              </a:ext>
            </a:extLst>
          </p:cNvPr>
          <p:cNvSpPr/>
          <p:nvPr/>
        </p:nvSpPr>
        <p:spPr>
          <a:xfrm>
            <a:off x="3544421" y="4182324"/>
            <a:ext cx="44740" cy="19091"/>
          </a:xfrm>
          <a:custGeom>
            <a:avLst/>
            <a:gdLst>
              <a:gd name="connsiteX0" fmla="*/ 1440 w 56428"/>
              <a:gd name="connsiteY0" fmla="*/ 13104 h 24550"/>
              <a:gd name="connsiteX1" fmla="*/ 56010 w 56428"/>
              <a:gd name="connsiteY1" fmla="*/ 13104 h 24550"/>
              <a:gd name="connsiteX2" fmla="*/ 1440 w 56428"/>
              <a:gd name="connsiteY2" fmla="*/ 13104 h 24550"/>
            </a:gdLst>
            <a:ahLst/>
            <a:cxnLst>
              <a:cxn ang="0">
                <a:pos x="connsiteX0" y="connsiteY0"/>
              </a:cxn>
              <a:cxn ang="0">
                <a:pos x="connsiteX1" y="connsiteY1"/>
              </a:cxn>
              <a:cxn ang="0">
                <a:pos x="connsiteX2" y="connsiteY2"/>
              </a:cxn>
            </a:cxnLst>
            <a:rect l="l" t="t" r="r" b="b"/>
            <a:pathLst>
              <a:path w="56428" h="24550">
                <a:moveTo>
                  <a:pt x="1440" y="13104"/>
                </a:moveTo>
                <a:cubicBezTo>
                  <a:pt x="14709" y="33838"/>
                  <a:pt x="52693" y="21398"/>
                  <a:pt x="56010" y="13104"/>
                </a:cubicBezTo>
                <a:cubicBezTo>
                  <a:pt x="62479" y="-1658"/>
                  <a:pt x="-11166" y="-7132"/>
                  <a:pt x="1440" y="13104"/>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185" name="Freeform: Shape 184">
            <a:extLst>
              <a:ext uri="{FF2B5EF4-FFF2-40B4-BE49-F238E27FC236}">
                <a16:creationId xmlns:a16="http://schemas.microsoft.com/office/drawing/2014/main" id="{03B58708-449F-4686-8907-F0D2C8738B2F}"/>
              </a:ext>
            </a:extLst>
          </p:cNvPr>
          <p:cNvSpPr/>
          <p:nvPr/>
        </p:nvSpPr>
        <p:spPr>
          <a:xfrm>
            <a:off x="3709973" y="6139637"/>
            <a:ext cx="81907" cy="33359"/>
          </a:xfrm>
          <a:custGeom>
            <a:avLst/>
            <a:gdLst>
              <a:gd name="connsiteX0" fmla="*/ 102811 w 103305"/>
              <a:gd name="connsiteY0" fmla="*/ 16678 h 42897"/>
              <a:gd name="connsiteX1" fmla="*/ 48241 w 103305"/>
              <a:gd name="connsiteY1" fmla="*/ 41725 h 42897"/>
              <a:gd name="connsiteX2" fmla="*/ 102811 w 103305"/>
              <a:gd name="connsiteY2" fmla="*/ 16678 h 42897"/>
              <a:gd name="connsiteX3" fmla="*/ 42435 w 103305"/>
              <a:gd name="connsiteY3" fmla="*/ 92 h 42897"/>
              <a:gd name="connsiteX4" fmla="*/ 4120 w 103305"/>
              <a:gd name="connsiteY4" fmla="*/ 38407 h 42897"/>
              <a:gd name="connsiteX5" fmla="*/ 42435 w 103305"/>
              <a:gd name="connsiteY5" fmla="*/ 424 h 4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05" h="42897">
                <a:moveTo>
                  <a:pt x="102811" y="16678"/>
                </a:moveTo>
                <a:cubicBezTo>
                  <a:pt x="91035" y="-5548"/>
                  <a:pt x="36464" y="35753"/>
                  <a:pt x="48241" y="41725"/>
                </a:cubicBezTo>
                <a:cubicBezTo>
                  <a:pt x="60017" y="47696"/>
                  <a:pt x="108617" y="27294"/>
                  <a:pt x="102811" y="16678"/>
                </a:cubicBezTo>
                <a:close/>
                <a:moveTo>
                  <a:pt x="42435" y="92"/>
                </a:moveTo>
                <a:cubicBezTo>
                  <a:pt x="25848" y="-2894"/>
                  <a:pt x="-12633" y="29948"/>
                  <a:pt x="4120" y="38407"/>
                </a:cubicBezTo>
                <a:cubicBezTo>
                  <a:pt x="20872" y="46867"/>
                  <a:pt x="58027" y="3243"/>
                  <a:pt x="42435" y="424"/>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188" name="Freeform: Shape 187">
            <a:extLst>
              <a:ext uri="{FF2B5EF4-FFF2-40B4-BE49-F238E27FC236}">
                <a16:creationId xmlns:a16="http://schemas.microsoft.com/office/drawing/2014/main" id="{9432796B-48CB-4566-8213-256A0C25B077}"/>
              </a:ext>
            </a:extLst>
          </p:cNvPr>
          <p:cNvSpPr/>
          <p:nvPr/>
        </p:nvSpPr>
        <p:spPr>
          <a:xfrm>
            <a:off x="4321484" y="6241509"/>
            <a:ext cx="53601" cy="32320"/>
          </a:xfrm>
          <a:custGeom>
            <a:avLst/>
            <a:gdLst>
              <a:gd name="connsiteX0" fmla="*/ -6 w 67604"/>
              <a:gd name="connsiteY0" fmla="*/ 1456 h 41561"/>
              <a:gd name="connsiteX1" fmla="*/ 28690 w 67604"/>
              <a:gd name="connsiteY1" fmla="*/ 20199 h 41561"/>
              <a:gd name="connsiteX2" fmla="*/ 66176 w 67604"/>
              <a:gd name="connsiteY2" fmla="*/ 33137 h 41561"/>
              <a:gd name="connsiteX3" fmla="*/ -6 w 67604"/>
              <a:gd name="connsiteY3" fmla="*/ 1456 h 41561"/>
            </a:gdLst>
            <a:ahLst/>
            <a:cxnLst>
              <a:cxn ang="0">
                <a:pos x="connsiteX0" y="connsiteY0"/>
              </a:cxn>
              <a:cxn ang="0">
                <a:pos x="connsiteX1" y="connsiteY1"/>
              </a:cxn>
              <a:cxn ang="0">
                <a:pos x="connsiteX2" y="connsiteY2"/>
              </a:cxn>
              <a:cxn ang="0">
                <a:pos x="connsiteX3" y="connsiteY3"/>
              </a:cxn>
            </a:cxnLst>
            <a:rect l="l" t="t" r="r" b="b"/>
            <a:pathLst>
              <a:path w="67604" h="41561">
                <a:moveTo>
                  <a:pt x="-6" y="1456"/>
                </a:moveTo>
                <a:cubicBezTo>
                  <a:pt x="2814" y="14394"/>
                  <a:pt x="15752" y="8588"/>
                  <a:pt x="28690" y="20199"/>
                </a:cubicBezTo>
                <a:cubicBezTo>
                  <a:pt x="41627" y="31809"/>
                  <a:pt x="53238" y="53373"/>
                  <a:pt x="66176" y="33137"/>
                </a:cubicBezTo>
                <a:cubicBezTo>
                  <a:pt x="79113" y="12901"/>
                  <a:pt x="-1001" y="-5676"/>
                  <a:pt x="-6" y="1456"/>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206" name="Freeform: Shape 205">
            <a:extLst>
              <a:ext uri="{FF2B5EF4-FFF2-40B4-BE49-F238E27FC236}">
                <a16:creationId xmlns:a16="http://schemas.microsoft.com/office/drawing/2014/main" id="{2502057C-D036-42A5-9756-B03BD2FDF7D1}"/>
              </a:ext>
            </a:extLst>
          </p:cNvPr>
          <p:cNvSpPr/>
          <p:nvPr/>
        </p:nvSpPr>
        <p:spPr>
          <a:xfrm>
            <a:off x="10284791" y="2747910"/>
            <a:ext cx="81884" cy="24731"/>
          </a:xfrm>
          <a:custGeom>
            <a:avLst/>
            <a:gdLst>
              <a:gd name="connsiteX0" fmla="*/ 42388 w 103276"/>
              <a:gd name="connsiteY0" fmla="*/ 593 h 31802"/>
              <a:gd name="connsiteX1" fmla="*/ 1087 w 103276"/>
              <a:gd name="connsiteY1" fmla="*/ 13365 h 31802"/>
              <a:gd name="connsiteX2" fmla="*/ 62956 w 103276"/>
              <a:gd name="connsiteY2" fmla="*/ 27132 h 31802"/>
              <a:gd name="connsiteX3" fmla="*/ 103262 w 103276"/>
              <a:gd name="connsiteY3" fmla="*/ 21161 h 31802"/>
              <a:gd name="connsiteX4" fmla="*/ 42388 w 103276"/>
              <a:gd name="connsiteY4" fmla="*/ 593 h 31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6" h="31802">
                <a:moveTo>
                  <a:pt x="42388" y="593"/>
                </a:moveTo>
                <a:cubicBezTo>
                  <a:pt x="35422" y="5403"/>
                  <a:pt x="-7372" y="3081"/>
                  <a:pt x="1087" y="13365"/>
                </a:cubicBezTo>
                <a:cubicBezTo>
                  <a:pt x="9547" y="23649"/>
                  <a:pt x="46203" y="17346"/>
                  <a:pt x="62956" y="27132"/>
                </a:cubicBezTo>
                <a:cubicBezTo>
                  <a:pt x="79709" y="36918"/>
                  <a:pt x="103262" y="29122"/>
                  <a:pt x="103262" y="21161"/>
                </a:cubicBezTo>
                <a:cubicBezTo>
                  <a:pt x="103262" y="13199"/>
                  <a:pt x="49520" y="-3719"/>
                  <a:pt x="42388" y="593"/>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213" name="Freeform: Shape 212">
            <a:extLst>
              <a:ext uri="{FF2B5EF4-FFF2-40B4-BE49-F238E27FC236}">
                <a16:creationId xmlns:a16="http://schemas.microsoft.com/office/drawing/2014/main" id="{5AC391FC-882B-476A-BBB8-CA13606BE693}"/>
              </a:ext>
            </a:extLst>
          </p:cNvPr>
          <p:cNvSpPr/>
          <p:nvPr/>
        </p:nvSpPr>
        <p:spPr>
          <a:xfrm>
            <a:off x="7120977" y="6060072"/>
            <a:ext cx="53363" cy="33408"/>
          </a:xfrm>
          <a:custGeom>
            <a:avLst/>
            <a:gdLst>
              <a:gd name="connsiteX0" fmla="*/ 22539 w 67304"/>
              <a:gd name="connsiteY0" fmla="*/ 1725 h 42960"/>
              <a:gd name="connsiteX1" fmla="*/ 11094 w 67304"/>
              <a:gd name="connsiteY1" fmla="*/ 39212 h 42960"/>
              <a:gd name="connsiteX2" fmla="*/ 38462 w 67304"/>
              <a:gd name="connsiteY2" fmla="*/ 39212 h 42960"/>
              <a:gd name="connsiteX3" fmla="*/ 63558 w 67304"/>
              <a:gd name="connsiteY3" fmla="*/ 35778 h 42960"/>
              <a:gd name="connsiteX4" fmla="*/ 67158 w 67304"/>
              <a:gd name="connsiteY4" fmla="*/ 26274 h 42960"/>
              <a:gd name="connsiteX5" fmla="*/ 22539 w 67304"/>
              <a:gd name="connsiteY5" fmla="*/ 1725 h 4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304" h="42960">
                <a:moveTo>
                  <a:pt x="22539" y="1725"/>
                </a:moveTo>
                <a:cubicBezTo>
                  <a:pt x="18226" y="-8392"/>
                  <a:pt x="-17767" y="26274"/>
                  <a:pt x="11094" y="39212"/>
                </a:cubicBezTo>
                <a:cubicBezTo>
                  <a:pt x="24032" y="44851"/>
                  <a:pt x="29671" y="31913"/>
                  <a:pt x="38462" y="39212"/>
                </a:cubicBezTo>
                <a:cubicBezTo>
                  <a:pt x="46341" y="45199"/>
                  <a:pt x="57587" y="43657"/>
                  <a:pt x="63558" y="35778"/>
                </a:cubicBezTo>
                <a:cubicBezTo>
                  <a:pt x="65648" y="33025"/>
                  <a:pt x="66909" y="29724"/>
                  <a:pt x="67158" y="26274"/>
                </a:cubicBezTo>
                <a:cubicBezTo>
                  <a:pt x="69977" y="8858"/>
                  <a:pt x="26851" y="11844"/>
                  <a:pt x="22539" y="1725"/>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47B8F7FB-12CD-453E-B60E-7BD41FDE44CE}"/>
              </a:ext>
            </a:extLst>
          </p:cNvPr>
          <p:cNvSpPr/>
          <p:nvPr/>
        </p:nvSpPr>
        <p:spPr>
          <a:xfrm>
            <a:off x="3248621" y="4000776"/>
            <a:ext cx="20155" cy="40550"/>
          </a:xfrm>
          <a:custGeom>
            <a:avLst/>
            <a:gdLst>
              <a:gd name="connsiteX0" fmla="*/ 24699 w 25421"/>
              <a:gd name="connsiteY0" fmla="*/ 51002 h 52145"/>
              <a:gd name="connsiteX1" fmla="*/ 11264 w 25421"/>
              <a:gd name="connsiteY1" fmla="*/ 37567 h 52145"/>
              <a:gd name="connsiteX2" fmla="*/ -15 w 25421"/>
              <a:gd name="connsiteY2" fmla="*/ 15175 h 52145"/>
              <a:gd name="connsiteX3" fmla="*/ 12093 w 25421"/>
              <a:gd name="connsiteY3" fmla="*/ 5555 h 52145"/>
              <a:gd name="connsiteX4" fmla="*/ 15577 w 25421"/>
              <a:gd name="connsiteY4" fmla="*/ 30601 h 52145"/>
              <a:gd name="connsiteX5" fmla="*/ 24699 w 25421"/>
              <a:gd name="connsiteY5" fmla="*/ 51002 h 52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1" h="52145">
                <a:moveTo>
                  <a:pt x="24699" y="51002"/>
                </a:moveTo>
                <a:cubicBezTo>
                  <a:pt x="22543" y="55315"/>
                  <a:pt x="11596" y="45363"/>
                  <a:pt x="11264" y="37567"/>
                </a:cubicBezTo>
                <a:cubicBezTo>
                  <a:pt x="10932" y="29771"/>
                  <a:pt x="-15" y="28610"/>
                  <a:pt x="-15" y="15175"/>
                </a:cubicBezTo>
                <a:cubicBezTo>
                  <a:pt x="-15" y="1739"/>
                  <a:pt x="5293" y="-6056"/>
                  <a:pt x="12093" y="5555"/>
                </a:cubicBezTo>
                <a:cubicBezTo>
                  <a:pt x="18894" y="17165"/>
                  <a:pt x="14415" y="24795"/>
                  <a:pt x="15577" y="30601"/>
                </a:cubicBezTo>
                <a:cubicBezTo>
                  <a:pt x="16738" y="36406"/>
                  <a:pt x="28349" y="43870"/>
                  <a:pt x="24699" y="51002"/>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68A0188D-64F2-4404-B293-DD3C252DCF6F}"/>
              </a:ext>
            </a:extLst>
          </p:cNvPr>
          <p:cNvSpPr/>
          <p:nvPr/>
        </p:nvSpPr>
        <p:spPr>
          <a:xfrm>
            <a:off x="3687272" y="4391229"/>
            <a:ext cx="25658" cy="20258"/>
          </a:xfrm>
          <a:custGeom>
            <a:avLst/>
            <a:gdLst>
              <a:gd name="connsiteX0" fmla="*/ 2398 w 32361"/>
              <a:gd name="connsiteY0" fmla="*/ 24454 h 26051"/>
              <a:gd name="connsiteX1" fmla="*/ 1403 w 32361"/>
              <a:gd name="connsiteY1" fmla="*/ 8862 h 26051"/>
              <a:gd name="connsiteX2" fmla="*/ 25951 w 32361"/>
              <a:gd name="connsiteY2" fmla="*/ 2061 h 26051"/>
              <a:gd name="connsiteX3" fmla="*/ 27610 w 32361"/>
              <a:gd name="connsiteY3" fmla="*/ 21468 h 26051"/>
              <a:gd name="connsiteX4" fmla="*/ 2398 w 32361"/>
              <a:gd name="connsiteY4" fmla="*/ 24454 h 26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1" h="26051">
                <a:moveTo>
                  <a:pt x="2398" y="24454"/>
                </a:moveTo>
                <a:cubicBezTo>
                  <a:pt x="-2080" y="20472"/>
                  <a:pt x="8867" y="12345"/>
                  <a:pt x="1403" y="8862"/>
                </a:cubicBezTo>
                <a:cubicBezTo>
                  <a:pt x="-6061" y="5379"/>
                  <a:pt x="17990" y="-4408"/>
                  <a:pt x="25951" y="2061"/>
                </a:cubicBezTo>
                <a:cubicBezTo>
                  <a:pt x="33913" y="8530"/>
                  <a:pt x="34411" y="18648"/>
                  <a:pt x="27610" y="21468"/>
                </a:cubicBezTo>
                <a:cubicBezTo>
                  <a:pt x="20810" y="24287"/>
                  <a:pt x="6379" y="28103"/>
                  <a:pt x="2398" y="24454"/>
                </a:cubicBezTo>
                <a:close/>
              </a:path>
            </a:pathLst>
          </a:custGeom>
          <a:solidFill>
            <a:schemeClr val="bg1">
              <a:lumMod val="85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cxnSp>
        <p:nvCxnSpPr>
          <p:cNvPr id="249" name="Straight Connector 248">
            <a:extLst>
              <a:ext uri="{FF2B5EF4-FFF2-40B4-BE49-F238E27FC236}">
                <a16:creationId xmlns:a16="http://schemas.microsoft.com/office/drawing/2014/main" id="{569613DD-BDAB-451B-870C-FDC7322FB418}"/>
              </a:ext>
            </a:extLst>
          </p:cNvPr>
          <p:cNvCxnSpPr>
            <a:cxnSpLocks/>
          </p:cNvCxnSpPr>
          <p:nvPr/>
        </p:nvCxnSpPr>
        <p:spPr>
          <a:xfrm>
            <a:off x="2067528" y="3967020"/>
            <a:ext cx="570384" cy="76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8890B5C-6E7A-45E8-8885-58523E114AEE}"/>
              </a:ext>
            </a:extLst>
          </p:cNvPr>
          <p:cNvCxnSpPr>
            <a:cxnSpLocks/>
          </p:cNvCxnSpPr>
          <p:nvPr/>
        </p:nvCxnSpPr>
        <p:spPr>
          <a:xfrm>
            <a:off x="4794834" y="3326602"/>
            <a:ext cx="0" cy="894102"/>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E9873B3E-E6C6-42B4-AA49-D226D0C21528}"/>
              </a:ext>
            </a:extLst>
          </p:cNvPr>
          <p:cNvCxnSpPr>
            <a:cxnSpLocks/>
          </p:cNvCxnSpPr>
          <p:nvPr/>
        </p:nvCxnSpPr>
        <p:spPr>
          <a:xfrm>
            <a:off x="4794287" y="3812751"/>
            <a:ext cx="30042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2" name="Freeform: Shape 441">
            <a:extLst>
              <a:ext uri="{FF2B5EF4-FFF2-40B4-BE49-F238E27FC236}">
                <a16:creationId xmlns:a16="http://schemas.microsoft.com/office/drawing/2014/main" id="{61736061-891B-436A-9FE9-F060C22A1163}"/>
              </a:ext>
            </a:extLst>
          </p:cNvPr>
          <p:cNvSpPr/>
          <p:nvPr/>
        </p:nvSpPr>
        <p:spPr>
          <a:xfrm>
            <a:off x="5640550" y="5119366"/>
            <a:ext cx="334433" cy="325656"/>
          </a:xfrm>
          <a:custGeom>
            <a:avLst/>
            <a:gdLst>
              <a:gd name="connsiteX0" fmla="*/ 155902 w 421803"/>
              <a:gd name="connsiteY0" fmla="*/ 402960 h 418770"/>
              <a:gd name="connsiteX1" fmla="*/ 174479 w 421803"/>
              <a:gd name="connsiteY1" fmla="*/ 393174 h 418770"/>
              <a:gd name="connsiteX2" fmla="*/ 192227 w 421803"/>
              <a:gd name="connsiteY2" fmla="*/ 416728 h 418770"/>
              <a:gd name="connsiteX3" fmla="*/ 234523 w 421803"/>
              <a:gd name="connsiteY3" fmla="*/ 415732 h 418770"/>
              <a:gd name="connsiteX4" fmla="*/ 256086 w 421803"/>
              <a:gd name="connsiteY4" fmla="*/ 394169 h 418770"/>
              <a:gd name="connsiteX5" fmla="*/ 256086 w 421803"/>
              <a:gd name="connsiteY5" fmla="*/ 174891 h 418770"/>
              <a:gd name="connsiteX6" fmla="*/ 289259 w 421803"/>
              <a:gd name="connsiteY6" fmla="*/ 162120 h 418770"/>
              <a:gd name="connsiteX7" fmla="*/ 289259 w 421803"/>
              <a:gd name="connsiteY7" fmla="*/ 48500 h 418770"/>
              <a:gd name="connsiteX8" fmla="*/ 320775 w 421803"/>
              <a:gd name="connsiteY8" fmla="*/ 44685 h 418770"/>
              <a:gd name="connsiteX9" fmla="*/ 358095 w 421803"/>
              <a:gd name="connsiteY9" fmla="*/ 33737 h 418770"/>
              <a:gd name="connsiteX10" fmla="*/ 375843 w 421803"/>
              <a:gd name="connsiteY10" fmla="*/ 46509 h 418770"/>
              <a:gd name="connsiteX11" fmla="*/ 399396 w 421803"/>
              <a:gd name="connsiteY11" fmla="*/ 31913 h 418770"/>
              <a:gd name="connsiteX12" fmla="*/ 421789 w 421803"/>
              <a:gd name="connsiteY12" fmla="*/ 27600 h 418770"/>
              <a:gd name="connsiteX13" fmla="*/ 419135 w 421803"/>
              <a:gd name="connsiteY13" fmla="*/ 19970 h 418770"/>
              <a:gd name="connsiteX14" fmla="*/ 349304 w 421803"/>
              <a:gd name="connsiteY14" fmla="*/ 24781 h 418770"/>
              <a:gd name="connsiteX15" fmla="*/ 297719 w 421803"/>
              <a:gd name="connsiteY15" fmla="*/ 28264 h 418770"/>
              <a:gd name="connsiteX16" fmla="*/ 224737 w 421803"/>
              <a:gd name="connsiteY16" fmla="*/ 28264 h 418770"/>
              <a:gd name="connsiteX17" fmla="*/ 212960 w 421803"/>
              <a:gd name="connsiteY17" fmla="*/ 16653 h 418770"/>
              <a:gd name="connsiteX18" fmla="*/ 98345 w 421803"/>
              <a:gd name="connsiteY18" fmla="*/ 16653 h 418770"/>
              <a:gd name="connsiteX19" fmla="*/ 68489 w 421803"/>
              <a:gd name="connsiteY19" fmla="*/ 8359 h 418770"/>
              <a:gd name="connsiteX20" fmla="*/ 36808 w 421803"/>
              <a:gd name="connsiteY20" fmla="*/ 6535 h 418770"/>
              <a:gd name="connsiteX21" fmla="*/ 21880 w 421803"/>
              <a:gd name="connsiteY21" fmla="*/ -100 h 418770"/>
              <a:gd name="connsiteX22" fmla="*/ 10269 w 421803"/>
              <a:gd name="connsiteY22" fmla="*/ 8359 h 418770"/>
              <a:gd name="connsiteX23" fmla="*/ -15 w 421803"/>
              <a:gd name="connsiteY23" fmla="*/ 11013 h 418770"/>
              <a:gd name="connsiteX24" fmla="*/ 18563 w 421803"/>
              <a:gd name="connsiteY24" fmla="*/ 54471 h 418770"/>
              <a:gd name="connsiteX25" fmla="*/ 51736 w 421803"/>
              <a:gd name="connsiteY25" fmla="*/ 122311 h 418770"/>
              <a:gd name="connsiteX26" fmla="*/ 84910 w 421803"/>
              <a:gd name="connsiteY26" fmla="*/ 191478 h 418770"/>
              <a:gd name="connsiteX27" fmla="*/ 86403 w 421803"/>
              <a:gd name="connsiteY27" fmla="*/ 247542 h 418770"/>
              <a:gd name="connsiteX28" fmla="*/ 98179 w 421803"/>
              <a:gd name="connsiteY28" fmla="*/ 299625 h 418770"/>
              <a:gd name="connsiteX29" fmla="*/ 120903 w 421803"/>
              <a:gd name="connsiteY29" fmla="*/ 380236 h 418770"/>
              <a:gd name="connsiteX30" fmla="*/ 141471 w 421803"/>
              <a:gd name="connsiteY30" fmla="*/ 406775 h 418770"/>
              <a:gd name="connsiteX31" fmla="*/ 155902 w 421803"/>
              <a:gd name="connsiteY31" fmla="*/ 402960 h 41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1803" h="418770">
                <a:moveTo>
                  <a:pt x="155902" y="402960"/>
                </a:moveTo>
                <a:cubicBezTo>
                  <a:pt x="155902" y="395994"/>
                  <a:pt x="167678" y="383222"/>
                  <a:pt x="174479" y="393174"/>
                </a:cubicBezTo>
                <a:cubicBezTo>
                  <a:pt x="181279" y="403126"/>
                  <a:pt x="178459" y="416728"/>
                  <a:pt x="192227" y="416728"/>
                </a:cubicBezTo>
                <a:cubicBezTo>
                  <a:pt x="205994" y="416728"/>
                  <a:pt x="230542" y="421703"/>
                  <a:pt x="234523" y="415732"/>
                </a:cubicBezTo>
                <a:cubicBezTo>
                  <a:pt x="238504" y="409761"/>
                  <a:pt x="256086" y="404951"/>
                  <a:pt x="256086" y="394169"/>
                </a:cubicBezTo>
                <a:lnTo>
                  <a:pt x="256086" y="174891"/>
                </a:lnTo>
                <a:cubicBezTo>
                  <a:pt x="256086" y="167096"/>
                  <a:pt x="289259" y="174891"/>
                  <a:pt x="289259" y="162120"/>
                </a:cubicBezTo>
                <a:lnTo>
                  <a:pt x="289259" y="48500"/>
                </a:lnTo>
                <a:cubicBezTo>
                  <a:pt x="299826" y="47820"/>
                  <a:pt x="310341" y="46542"/>
                  <a:pt x="320775" y="44685"/>
                </a:cubicBezTo>
                <a:cubicBezTo>
                  <a:pt x="327741" y="42694"/>
                  <a:pt x="352290" y="29923"/>
                  <a:pt x="358095" y="33737"/>
                </a:cubicBezTo>
                <a:cubicBezTo>
                  <a:pt x="363900" y="37552"/>
                  <a:pt x="371862" y="51485"/>
                  <a:pt x="375843" y="46509"/>
                </a:cubicBezTo>
                <a:cubicBezTo>
                  <a:pt x="381482" y="38747"/>
                  <a:pt x="389942" y="33505"/>
                  <a:pt x="399396" y="31913"/>
                </a:cubicBezTo>
                <a:cubicBezTo>
                  <a:pt x="406976" y="31166"/>
                  <a:pt x="414474" y="29724"/>
                  <a:pt x="421789" y="27600"/>
                </a:cubicBezTo>
                <a:cubicBezTo>
                  <a:pt x="420312" y="25295"/>
                  <a:pt x="419417" y="22691"/>
                  <a:pt x="419135" y="19970"/>
                </a:cubicBezTo>
                <a:cubicBezTo>
                  <a:pt x="419135" y="11677"/>
                  <a:pt x="359256" y="21629"/>
                  <a:pt x="349304" y="24781"/>
                </a:cubicBezTo>
                <a:cubicBezTo>
                  <a:pt x="332650" y="30138"/>
                  <a:pt x="314936" y="31332"/>
                  <a:pt x="297719" y="28264"/>
                </a:cubicBezTo>
                <a:cubicBezTo>
                  <a:pt x="287767" y="23288"/>
                  <a:pt x="224737" y="28264"/>
                  <a:pt x="224737" y="28264"/>
                </a:cubicBezTo>
                <a:lnTo>
                  <a:pt x="212960" y="16653"/>
                </a:lnTo>
                <a:lnTo>
                  <a:pt x="98345" y="16653"/>
                </a:lnTo>
                <a:cubicBezTo>
                  <a:pt x="87763" y="17134"/>
                  <a:pt x="77313" y="14231"/>
                  <a:pt x="68489" y="8359"/>
                </a:cubicBezTo>
                <a:cubicBezTo>
                  <a:pt x="59101" y="1874"/>
                  <a:pt x="46876" y="1178"/>
                  <a:pt x="36808" y="6535"/>
                </a:cubicBezTo>
                <a:cubicBezTo>
                  <a:pt x="25197" y="11677"/>
                  <a:pt x="30173" y="-100"/>
                  <a:pt x="21880" y="-100"/>
                </a:cubicBezTo>
                <a:cubicBezTo>
                  <a:pt x="16705" y="249"/>
                  <a:pt x="12177" y="3533"/>
                  <a:pt x="10269" y="8359"/>
                </a:cubicBezTo>
                <a:lnTo>
                  <a:pt x="-15" y="11013"/>
                </a:lnTo>
                <a:cubicBezTo>
                  <a:pt x="1710" y="27020"/>
                  <a:pt x="8179" y="42164"/>
                  <a:pt x="18563" y="54471"/>
                </a:cubicBezTo>
                <a:cubicBezTo>
                  <a:pt x="32910" y="75321"/>
                  <a:pt x="44090" y="98177"/>
                  <a:pt x="51736" y="122311"/>
                </a:cubicBezTo>
                <a:cubicBezTo>
                  <a:pt x="59034" y="146362"/>
                  <a:pt x="80266" y="173399"/>
                  <a:pt x="84910" y="191478"/>
                </a:cubicBezTo>
                <a:cubicBezTo>
                  <a:pt x="89554" y="209558"/>
                  <a:pt x="81095" y="235765"/>
                  <a:pt x="86403" y="247542"/>
                </a:cubicBezTo>
                <a:cubicBezTo>
                  <a:pt x="92440" y="264361"/>
                  <a:pt x="96388" y="281843"/>
                  <a:pt x="98179" y="299625"/>
                </a:cubicBezTo>
                <a:cubicBezTo>
                  <a:pt x="101165" y="319695"/>
                  <a:pt x="102658" y="362488"/>
                  <a:pt x="120903" y="380236"/>
                </a:cubicBezTo>
                <a:cubicBezTo>
                  <a:pt x="128716" y="388297"/>
                  <a:pt x="135616" y="397205"/>
                  <a:pt x="141471" y="406775"/>
                </a:cubicBezTo>
                <a:cubicBezTo>
                  <a:pt x="149764" y="407107"/>
                  <a:pt x="155902" y="408102"/>
                  <a:pt x="155902" y="40296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443" name="Freeform: Shape 442">
            <a:extLst>
              <a:ext uri="{FF2B5EF4-FFF2-40B4-BE49-F238E27FC236}">
                <a16:creationId xmlns:a16="http://schemas.microsoft.com/office/drawing/2014/main" id="{D9341CCE-8060-44B5-9467-0AA1970F8267}"/>
              </a:ext>
            </a:extLst>
          </p:cNvPr>
          <p:cNvSpPr/>
          <p:nvPr/>
        </p:nvSpPr>
        <p:spPr>
          <a:xfrm>
            <a:off x="5975379" y="5082863"/>
            <a:ext cx="206831" cy="180067"/>
          </a:xfrm>
          <a:custGeom>
            <a:avLst/>
            <a:gdLst>
              <a:gd name="connsiteX0" fmla="*/ 175805 w 260865"/>
              <a:gd name="connsiteY0" fmla="*/ 10682 h 231552"/>
              <a:gd name="connsiteX1" fmla="*/ 170829 w 260865"/>
              <a:gd name="connsiteY1" fmla="*/ -100 h 231552"/>
              <a:gd name="connsiteX2" fmla="*/ 142300 w 260865"/>
              <a:gd name="connsiteY2" fmla="*/ 896 h 231552"/>
              <a:gd name="connsiteX3" fmla="*/ 123723 w 260865"/>
              <a:gd name="connsiteY3" fmla="*/ 17482 h 231552"/>
              <a:gd name="connsiteX4" fmla="*/ 93203 w 260865"/>
              <a:gd name="connsiteY4" fmla="*/ 41036 h 231552"/>
              <a:gd name="connsiteX5" fmla="*/ 58868 w 260865"/>
              <a:gd name="connsiteY5" fmla="*/ 78522 h 231552"/>
              <a:gd name="connsiteX6" fmla="*/ 16572 w 260865"/>
              <a:gd name="connsiteY6" fmla="*/ 71556 h 231552"/>
              <a:gd name="connsiteX7" fmla="*/ -15 w 260865"/>
              <a:gd name="connsiteY7" fmla="*/ 74210 h 231552"/>
              <a:gd name="connsiteX8" fmla="*/ 18894 w 260865"/>
              <a:gd name="connsiteY8" fmla="*/ 93118 h 231552"/>
              <a:gd name="connsiteX9" fmla="*/ 37139 w 260865"/>
              <a:gd name="connsiteY9" fmla="*/ 132927 h 231552"/>
              <a:gd name="connsiteX10" fmla="*/ 70313 w 260865"/>
              <a:gd name="connsiteY10" fmla="*/ 156149 h 231552"/>
              <a:gd name="connsiteX11" fmla="*/ 83748 w 260865"/>
              <a:gd name="connsiteY11" fmla="*/ 181195 h 231552"/>
              <a:gd name="connsiteX12" fmla="*/ 106970 w 260865"/>
              <a:gd name="connsiteY12" fmla="*/ 204416 h 231552"/>
              <a:gd name="connsiteX13" fmla="*/ 130357 w 260865"/>
              <a:gd name="connsiteY13" fmla="*/ 218515 h 231552"/>
              <a:gd name="connsiteX14" fmla="*/ 162038 w 260865"/>
              <a:gd name="connsiteY14" fmla="*/ 224320 h 231552"/>
              <a:gd name="connsiteX15" fmla="*/ 199856 w 260865"/>
              <a:gd name="connsiteY15" fmla="*/ 231453 h 231552"/>
              <a:gd name="connsiteX16" fmla="*/ 233030 w 260865"/>
              <a:gd name="connsiteY16" fmla="*/ 198279 h 231552"/>
              <a:gd name="connsiteX17" fmla="*/ 241821 w 260865"/>
              <a:gd name="connsiteY17" fmla="*/ 165935 h 231552"/>
              <a:gd name="connsiteX18" fmla="*/ 259569 w 260865"/>
              <a:gd name="connsiteY18" fmla="*/ 140889 h 231552"/>
              <a:gd name="connsiteX19" fmla="*/ 249285 w 260865"/>
              <a:gd name="connsiteY19" fmla="*/ 115843 h 231552"/>
              <a:gd name="connsiteX20" fmla="*/ 258076 w 260865"/>
              <a:gd name="connsiteY20" fmla="*/ 86318 h 231552"/>
              <a:gd name="connsiteX21" fmla="*/ 256583 w 260865"/>
              <a:gd name="connsiteY21" fmla="*/ 34733 h 231552"/>
              <a:gd name="connsiteX22" fmla="*/ 218268 w 260865"/>
              <a:gd name="connsiteY22" fmla="*/ 21464 h 231552"/>
              <a:gd name="connsiteX23" fmla="*/ 175805 w 260865"/>
              <a:gd name="connsiteY23" fmla="*/ 10682 h 23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865" h="231552">
                <a:moveTo>
                  <a:pt x="175805" y="10682"/>
                </a:moveTo>
                <a:lnTo>
                  <a:pt x="170829" y="-100"/>
                </a:lnTo>
                <a:lnTo>
                  <a:pt x="142300" y="896"/>
                </a:lnTo>
                <a:cubicBezTo>
                  <a:pt x="123723" y="5706"/>
                  <a:pt x="123723" y="11677"/>
                  <a:pt x="123723" y="17482"/>
                </a:cubicBezTo>
                <a:cubicBezTo>
                  <a:pt x="123723" y="23288"/>
                  <a:pt x="105975" y="37221"/>
                  <a:pt x="93203" y="41036"/>
                </a:cubicBezTo>
                <a:cubicBezTo>
                  <a:pt x="80431" y="44851"/>
                  <a:pt x="66664" y="74210"/>
                  <a:pt x="58868" y="78522"/>
                </a:cubicBezTo>
                <a:cubicBezTo>
                  <a:pt x="51072" y="82835"/>
                  <a:pt x="24368" y="72551"/>
                  <a:pt x="16572" y="71556"/>
                </a:cubicBezTo>
                <a:cubicBezTo>
                  <a:pt x="10949" y="71639"/>
                  <a:pt x="5359" y="72534"/>
                  <a:pt x="-15" y="74210"/>
                </a:cubicBezTo>
                <a:cubicBezTo>
                  <a:pt x="4795" y="82835"/>
                  <a:pt x="15079" y="93118"/>
                  <a:pt x="18894" y="93118"/>
                </a:cubicBezTo>
                <a:cubicBezTo>
                  <a:pt x="22709" y="93118"/>
                  <a:pt x="25528" y="127951"/>
                  <a:pt x="37139" y="132927"/>
                </a:cubicBezTo>
                <a:cubicBezTo>
                  <a:pt x="48750" y="137903"/>
                  <a:pt x="70313" y="149514"/>
                  <a:pt x="70313" y="156149"/>
                </a:cubicBezTo>
                <a:cubicBezTo>
                  <a:pt x="70313" y="162783"/>
                  <a:pt x="83748" y="171243"/>
                  <a:pt x="83748" y="181195"/>
                </a:cubicBezTo>
                <a:cubicBezTo>
                  <a:pt x="85573" y="193187"/>
                  <a:pt x="94978" y="202592"/>
                  <a:pt x="106970" y="204416"/>
                </a:cubicBezTo>
                <a:cubicBezTo>
                  <a:pt x="128201" y="204416"/>
                  <a:pt x="130357" y="212544"/>
                  <a:pt x="130357" y="218515"/>
                </a:cubicBezTo>
                <a:cubicBezTo>
                  <a:pt x="130357" y="224486"/>
                  <a:pt x="158389" y="218515"/>
                  <a:pt x="162038" y="224320"/>
                </a:cubicBezTo>
                <a:cubicBezTo>
                  <a:pt x="165687" y="230126"/>
                  <a:pt x="193055" y="227804"/>
                  <a:pt x="199856" y="231453"/>
                </a:cubicBezTo>
                <a:cubicBezTo>
                  <a:pt x="211301" y="220174"/>
                  <a:pt x="227888" y="205412"/>
                  <a:pt x="233030" y="198279"/>
                </a:cubicBezTo>
                <a:cubicBezTo>
                  <a:pt x="241821" y="186502"/>
                  <a:pt x="234523" y="170413"/>
                  <a:pt x="241821" y="165935"/>
                </a:cubicBezTo>
                <a:cubicBezTo>
                  <a:pt x="249119" y="161457"/>
                  <a:pt x="265540" y="142381"/>
                  <a:pt x="259569" y="140889"/>
                </a:cubicBezTo>
                <a:cubicBezTo>
                  <a:pt x="253597" y="139396"/>
                  <a:pt x="258076" y="124302"/>
                  <a:pt x="249285" y="115843"/>
                </a:cubicBezTo>
                <a:cubicBezTo>
                  <a:pt x="240494" y="107383"/>
                  <a:pt x="259569" y="102573"/>
                  <a:pt x="258076" y="86318"/>
                </a:cubicBezTo>
                <a:cubicBezTo>
                  <a:pt x="256583" y="70063"/>
                  <a:pt x="261062" y="37718"/>
                  <a:pt x="256583" y="34733"/>
                </a:cubicBezTo>
                <a:cubicBezTo>
                  <a:pt x="243413" y="31581"/>
                  <a:pt x="230575" y="27136"/>
                  <a:pt x="218268" y="21464"/>
                </a:cubicBezTo>
                <a:cubicBezTo>
                  <a:pt x="204965" y="15094"/>
                  <a:pt x="190534" y="11428"/>
                  <a:pt x="175805" y="10682"/>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44" name="Freeform: Shape 443">
            <a:extLst>
              <a:ext uri="{FF2B5EF4-FFF2-40B4-BE49-F238E27FC236}">
                <a16:creationId xmlns:a16="http://schemas.microsoft.com/office/drawing/2014/main" id="{07E16D8B-16A2-4070-BA69-6DBA69998234}"/>
              </a:ext>
            </a:extLst>
          </p:cNvPr>
          <p:cNvSpPr/>
          <p:nvPr/>
        </p:nvSpPr>
        <p:spPr>
          <a:xfrm>
            <a:off x="5843736" y="5140649"/>
            <a:ext cx="234748" cy="247208"/>
          </a:xfrm>
          <a:custGeom>
            <a:avLst/>
            <a:gdLst>
              <a:gd name="connsiteX0" fmla="*/ 272673 w 296075"/>
              <a:gd name="connsiteY0" fmla="*/ 130107 h 317891"/>
              <a:gd name="connsiteX1" fmla="*/ 249451 w 296075"/>
              <a:gd name="connsiteY1" fmla="*/ 106886 h 317891"/>
              <a:gd name="connsiteX2" fmla="*/ 236016 w 296075"/>
              <a:gd name="connsiteY2" fmla="*/ 81839 h 317891"/>
              <a:gd name="connsiteX3" fmla="*/ 202842 w 296075"/>
              <a:gd name="connsiteY3" fmla="*/ 58618 h 317891"/>
              <a:gd name="connsiteX4" fmla="*/ 184597 w 296075"/>
              <a:gd name="connsiteY4" fmla="*/ 18809 h 317891"/>
              <a:gd name="connsiteX5" fmla="*/ 165687 w 296075"/>
              <a:gd name="connsiteY5" fmla="*/ -100 h 317891"/>
              <a:gd name="connsiteX6" fmla="*/ 143295 w 296075"/>
              <a:gd name="connsiteY6" fmla="*/ 4213 h 317891"/>
              <a:gd name="connsiteX7" fmla="*/ 119742 w 296075"/>
              <a:gd name="connsiteY7" fmla="*/ 18809 h 317891"/>
              <a:gd name="connsiteX8" fmla="*/ 101994 w 296075"/>
              <a:gd name="connsiteY8" fmla="*/ 6038 h 317891"/>
              <a:gd name="connsiteX9" fmla="*/ 64674 w 296075"/>
              <a:gd name="connsiteY9" fmla="*/ 16985 h 317891"/>
              <a:gd name="connsiteX10" fmla="*/ 33159 w 296075"/>
              <a:gd name="connsiteY10" fmla="*/ 20800 h 317891"/>
              <a:gd name="connsiteX11" fmla="*/ 33159 w 296075"/>
              <a:gd name="connsiteY11" fmla="*/ 134752 h 317891"/>
              <a:gd name="connsiteX12" fmla="*/ -15 w 296075"/>
              <a:gd name="connsiteY12" fmla="*/ 147523 h 317891"/>
              <a:gd name="connsiteX13" fmla="*/ -15 w 296075"/>
              <a:gd name="connsiteY13" fmla="*/ 245385 h 317891"/>
              <a:gd name="connsiteX14" fmla="*/ 15743 w 296075"/>
              <a:gd name="connsiteY14" fmla="*/ 255670 h 317891"/>
              <a:gd name="connsiteX15" fmla="*/ 26524 w 296075"/>
              <a:gd name="connsiteY15" fmla="*/ 292990 h 317891"/>
              <a:gd name="connsiteX16" fmla="*/ 19723 w 296075"/>
              <a:gd name="connsiteY16" fmla="*/ 300951 h 317891"/>
              <a:gd name="connsiteX17" fmla="*/ 25529 w 296075"/>
              <a:gd name="connsiteY17" fmla="*/ 315714 h 317891"/>
              <a:gd name="connsiteX18" fmla="*/ 58703 w 296075"/>
              <a:gd name="connsiteY18" fmla="*/ 313724 h 317891"/>
              <a:gd name="connsiteX19" fmla="*/ 89056 w 296075"/>
              <a:gd name="connsiteY19" fmla="*/ 279223 h 317891"/>
              <a:gd name="connsiteX20" fmla="*/ 111615 w 296075"/>
              <a:gd name="connsiteY20" fmla="*/ 261641 h 317891"/>
              <a:gd name="connsiteX21" fmla="*/ 150925 w 296075"/>
              <a:gd name="connsiteY21" fmla="*/ 274412 h 317891"/>
              <a:gd name="connsiteX22" fmla="*/ 182440 w 296075"/>
              <a:gd name="connsiteY22" fmla="*/ 259650 h 317891"/>
              <a:gd name="connsiteX23" fmla="*/ 195212 w 296075"/>
              <a:gd name="connsiteY23" fmla="*/ 235102 h 317891"/>
              <a:gd name="connsiteX24" fmla="*/ 223741 w 296075"/>
              <a:gd name="connsiteY24" fmla="*/ 214368 h 317891"/>
              <a:gd name="connsiteX25" fmla="*/ 237509 w 296075"/>
              <a:gd name="connsiteY25" fmla="*/ 191810 h 317891"/>
              <a:gd name="connsiteX26" fmla="*/ 264048 w 296075"/>
              <a:gd name="connsiteY26" fmla="*/ 172237 h 317891"/>
              <a:gd name="connsiteX27" fmla="*/ 284615 w 296075"/>
              <a:gd name="connsiteY27" fmla="*/ 160295 h 317891"/>
              <a:gd name="connsiteX28" fmla="*/ 296060 w 296075"/>
              <a:gd name="connsiteY28" fmla="*/ 143709 h 317891"/>
              <a:gd name="connsiteX29" fmla="*/ 296060 w 296075"/>
              <a:gd name="connsiteY29" fmla="*/ 143709 h 317891"/>
              <a:gd name="connsiteX30" fmla="*/ 272673 w 296075"/>
              <a:gd name="connsiteY30" fmla="*/ 130107 h 317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6075" h="317891">
                <a:moveTo>
                  <a:pt x="272673" y="130107"/>
                </a:moveTo>
                <a:cubicBezTo>
                  <a:pt x="260680" y="128282"/>
                  <a:pt x="251275" y="118878"/>
                  <a:pt x="249451" y="106886"/>
                </a:cubicBezTo>
                <a:cubicBezTo>
                  <a:pt x="249451" y="96934"/>
                  <a:pt x="236016" y="88640"/>
                  <a:pt x="236016" y="81839"/>
                </a:cubicBezTo>
                <a:cubicBezTo>
                  <a:pt x="236016" y="75039"/>
                  <a:pt x="214453" y="63594"/>
                  <a:pt x="202842" y="58618"/>
                </a:cubicBezTo>
                <a:cubicBezTo>
                  <a:pt x="191231" y="53642"/>
                  <a:pt x="189572" y="18809"/>
                  <a:pt x="184597" y="18809"/>
                </a:cubicBezTo>
                <a:cubicBezTo>
                  <a:pt x="179620" y="18809"/>
                  <a:pt x="170498" y="8525"/>
                  <a:pt x="165687" y="-100"/>
                </a:cubicBezTo>
                <a:cubicBezTo>
                  <a:pt x="158373" y="2023"/>
                  <a:pt x="150875" y="3467"/>
                  <a:pt x="143295" y="4213"/>
                </a:cubicBezTo>
                <a:cubicBezTo>
                  <a:pt x="133841" y="5805"/>
                  <a:pt x="125381" y="11047"/>
                  <a:pt x="119742" y="18809"/>
                </a:cubicBezTo>
                <a:cubicBezTo>
                  <a:pt x="115761" y="23786"/>
                  <a:pt x="107965" y="10018"/>
                  <a:pt x="101994" y="6038"/>
                </a:cubicBezTo>
                <a:cubicBezTo>
                  <a:pt x="96023" y="2057"/>
                  <a:pt x="71640" y="14995"/>
                  <a:pt x="64674" y="16985"/>
                </a:cubicBezTo>
                <a:cubicBezTo>
                  <a:pt x="54240" y="18843"/>
                  <a:pt x="43724" y="20120"/>
                  <a:pt x="33159" y="20800"/>
                </a:cubicBezTo>
                <a:lnTo>
                  <a:pt x="33159" y="134752"/>
                </a:lnTo>
                <a:cubicBezTo>
                  <a:pt x="33159" y="147523"/>
                  <a:pt x="-15" y="139727"/>
                  <a:pt x="-15" y="147523"/>
                </a:cubicBezTo>
                <a:lnTo>
                  <a:pt x="-15" y="245385"/>
                </a:lnTo>
                <a:cubicBezTo>
                  <a:pt x="7283" y="248039"/>
                  <a:pt x="14084" y="251523"/>
                  <a:pt x="15743" y="255670"/>
                </a:cubicBezTo>
                <a:cubicBezTo>
                  <a:pt x="21532" y="267363"/>
                  <a:pt x="25181" y="280002"/>
                  <a:pt x="26524" y="292990"/>
                </a:cubicBezTo>
                <a:cubicBezTo>
                  <a:pt x="24534" y="298961"/>
                  <a:pt x="19723" y="294980"/>
                  <a:pt x="19723" y="300951"/>
                </a:cubicBezTo>
                <a:cubicBezTo>
                  <a:pt x="19723" y="306923"/>
                  <a:pt x="15743" y="315714"/>
                  <a:pt x="25529" y="315714"/>
                </a:cubicBezTo>
                <a:cubicBezTo>
                  <a:pt x="35315" y="315714"/>
                  <a:pt x="52068" y="321519"/>
                  <a:pt x="58703" y="313724"/>
                </a:cubicBezTo>
                <a:cubicBezTo>
                  <a:pt x="65337" y="305928"/>
                  <a:pt x="88061" y="288014"/>
                  <a:pt x="89056" y="279223"/>
                </a:cubicBezTo>
                <a:cubicBezTo>
                  <a:pt x="90051" y="270432"/>
                  <a:pt x="95028" y="250859"/>
                  <a:pt x="111615" y="261641"/>
                </a:cubicBezTo>
                <a:cubicBezTo>
                  <a:pt x="122313" y="271278"/>
                  <a:pt x="136611" y="275922"/>
                  <a:pt x="150925" y="274412"/>
                </a:cubicBezTo>
                <a:cubicBezTo>
                  <a:pt x="172654" y="274412"/>
                  <a:pt x="178459" y="273417"/>
                  <a:pt x="182440" y="259650"/>
                </a:cubicBezTo>
                <a:cubicBezTo>
                  <a:pt x="186421" y="245883"/>
                  <a:pt x="182440" y="235102"/>
                  <a:pt x="195212" y="235102"/>
                </a:cubicBezTo>
                <a:cubicBezTo>
                  <a:pt x="207984" y="235102"/>
                  <a:pt x="223741" y="223325"/>
                  <a:pt x="223741" y="214368"/>
                </a:cubicBezTo>
                <a:cubicBezTo>
                  <a:pt x="223741" y="205411"/>
                  <a:pt x="229547" y="191810"/>
                  <a:pt x="237509" y="191810"/>
                </a:cubicBezTo>
                <a:cubicBezTo>
                  <a:pt x="249119" y="190267"/>
                  <a:pt x="259138" y="182887"/>
                  <a:pt x="264048" y="172237"/>
                </a:cubicBezTo>
                <a:cubicBezTo>
                  <a:pt x="266038" y="162286"/>
                  <a:pt x="279805" y="166266"/>
                  <a:pt x="284615" y="160295"/>
                </a:cubicBezTo>
                <a:cubicBezTo>
                  <a:pt x="287103" y="157475"/>
                  <a:pt x="291747" y="150675"/>
                  <a:pt x="296060" y="143709"/>
                </a:cubicBezTo>
                <a:lnTo>
                  <a:pt x="296060" y="143709"/>
                </a:lnTo>
                <a:cubicBezTo>
                  <a:pt x="296060" y="138235"/>
                  <a:pt x="293904" y="129444"/>
                  <a:pt x="272673" y="13010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45" name="Freeform: Shape 444">
            <a:extLst>
              <a:ext uri="{FF2B5EF4-FFF2-40B4-BE49-F238E27FC236}">
                <a16:creationId xmlns:a16="http://schemas.microsoft.com/office/drawing/2014/main" id="{56229DBA-57AF-430B-BACE-AE29C0FA5D9C}"/>
              </a:ext>
            </a:extLst>
          </p:cNvPr>
          <p:cNvSpPr/>
          <p:nvPr/>
        </p:nvSpPr>
        <p:spPr>
          <a:xfrm>
            <a:off x="6120435" y="5356058"/>
            <a:ext cx="35508" cy="42847"/>
          </a:xfrm>
          <a:custGeom>
            <a:avLst/>
            <a:gdLst>
              <a:gd name="connsiteX0" fmla="*/ 22709 w 44784"/>
              <a:gd name="connsiteY0" fmla="*/ -100 h 55098"/>
              <a:gd name="connsiteX1" fmla="*/ -15 w 44784"/>
              <a:gd name="connsiteY1" fmla="*/ 23951 h 55098"/>
              <a:gd name="connsiteX2" fmla="*/ 20553 w 44784"/>
              <a:gd name="connsiteY2" fmla="*/ 54803 h 55098"/>
              <a:gd name="connsiteX3" fmla="*/ 39130 w 44784"/>
              <a:gd name="connsiteY3" fmla="*/ 47173 h 55098"/>
              <a:gd name="connsiteX4" fmla="*/ 44769 w 44784"/>
              <a:gd name="connsiteY4" fmla="*/ 38382 h 55098"/>
              <a:gd name="connsiteX5" fmla="*/ 41618 w 44784"/>
              <a:gd name="connsiteY5" fmla="*/ 9687 h 55098"/>
              <a:gd name="connsiteX6" fmla="*/ 22709 w 44784"/>
              <a:gd name="connsiteY6" fmla="*/ -100 h 55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84" h="55098">
                <a:moveTo>
                  <a:pt x="22709" y="-100"/>
                </a:moveTo>
                <a:cubicBezTo>
                  <a:pt x="14415" y="-100"/>
                  <a:pt x="-15" y="19804"/>
                  <a:pt x="-15" y="23951"/>
                </a:cubicBezTo>
                <a:cubicBezTo>
                  <a:pt x="-15" y="28098"/>
                  <a:pt x="10269" y="54139"/>
                  <a:pt x="20553" y="54803"/>
                </a:cubicBezTo>
                <a:cubicBezTo>
                  <a:pt x="30836" y="55466"/>
                  <a:pt x="38301" y="54803"/>
                  <a:pt x="39130" y="47173"/>
                </a:cubicBezTo>
                <a:cubicBezTo>
                  <a:pt x="39777" y="43623"/>
                  <a:pt x="41800" y="40455"/>
                  <a:pt x="44769" y="38382"/>
                </a:cubicBezTo>
                <a:cubicBezTo>
                  <a:pt x="43940" y="31913"/>
                  <a:pt x="42115" y="17980"/>
                  <a:pt x="41618" y="9687"/>
                </a:cubicBezTo>
                <a:cubicBezTo>
                  <a:pt x="36127" y="5059"/>
                  <a:pt x="29659" y="1708"/>
                  <a:pt x="22709" y="-10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46" name="Freeform: Shape 445">
            <a:extLst>
              <a:ext uri="{FF2B5EF4-FFF2-40B4-BE49-F238E27FC236}">
                <a16:creationId xmlns:a16="http://schemas.microsoft.com/office/drawing/2014/main" id="{DEC3BF61-D2E1-405C-B2B3-0F305030519E}"/>
              </a:ext>
            </a:extLst>
          </p:cNvPr>
          <p:cNvSpPr/>
          <p:nvPr/>
        </p:nvSpPr>
        <p:spPr>
          <a:xfrm>
            <a:off x="6025221" y="5434036"/>
            <a:ext cx="59311" cy="58361"/>
          </a:xfrm>
          <a:custGeom>
            <a:avLst/>
            <a:gdLst>
              <a:gd name="connsiteX0" fmla="*/ 52897 w 74806"/>
              <a:gd name="connsiteY0" fmla="*/ 2298 h 75048"/>
              <a:gd name="connsiteX1" fmla="*/ 19723 w 74806"/>
              <a:gd name="connsiteY1" fmla="*/ 15899 h 75048"/>
              <a:gd name="connsiteX2" fmla="*/ -15 w 74806"/>
              <a:gd name="connsiteY2" fmla="*/ 45424 h 75048"/>
              <a:gd name="connsiteX3" fmla="*/ 19723 w 74806"/>
              <a:gd name="connsiteY3" fmla="*/ 72958 h 75048"/>
              <a:gd name="connsiteX4" fmla="*/ 33491 w 74806"/>
              <a:gd name="connsiteY4" fmla="*/ 74949 h 75048"/>
              <a:gd name="connsiteX5" fmla="*/ 41287 w 74806"/>
              <a:gd name="connsiteY5" fmla="*/ 57201 h 75048"/>
              <a:gd name="connsiteX6" fmla="*/ 62849 w 74806"/>
              <a:gd name="connsiteY6" fmla="*/ 51396 h 75048"/>
              <a:gd name="connsiteX7" fmla="*/ 74792 w 74806"/>
              <a:gd name="connsiteY7" fmla="*/ 27677 h 75048"/>
              <a:gd name="connsiteX8" fmla="*/ 52897 w 74806"/>
              <a:gd name="connsiteY8" fmla="*/ 2298 h 7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06" h="75048">
                <a:moveTo>
                  <a:pt x="52897" y="2298"/>
                </a:moveTo>
                <a:cubicBezTo>
                  <a:pt x="49082" y="-5663"/>
                  <a:pt x="23539" y="8104"/>
                  <a:pt x="19723" y="15899"/>
                </a:cubicBezTo>
                <a:cubicBezTo>
                  <a:pt x="15909" y="23695"/>
                  <a:pt x="-15" y="45424"/>
                  <a:pt x="-15" y="45424"/>
                </a:cubicBezTo>
                <a:lnTo>
                  <a:pt x="19723" y="72958"/>
                </a:lnTo>
                <a:lnTo>
                  <a:pt x="33491" y="74949"/>
                </a:lnTo>
                <a:cubicBezTo>
                  <a:pt x="33491" y="74949"/>
                  <a:pt x="37471" y="65162"/>
                  <a:pt x="41287" y="57201"/>
                </a:cubicBezTo>
                <a:cubicBezTo>
                  <a:pt x="45101" y="49239"/>
                  <a:pt x="62849" y="59191"/>
                  <a:pt x="62849" y="51396"/>
                </a:cubicBezTo>
                <a:cubicBezTo>
                  <a:pt x="62849" y="43600"/>
                  <a:pt x="74792" y="35638"/>
                  <a:pt x="74792" y="27677"/>
                </a:cubicBezTo>
                <a:cubicBezTo>
                  <a:pt x="74792" y="19715"/>
                  <a:pt x="57210" y="10094"/>
                  <a:pt x="52897" y="229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47" name="Freeform: Shape 446">
            <a:extLst>
              <a:ext uri="{FF2B5EF4-FFF2-40B4-BE49-F238E27FC236}">
                <a16:creationId xmlns:a16="http://schemas.microsoft.com/office/drawing/2014/main" id="{905F6459-E6F3-4EE8-A75E-FCCCE135D983}"/>
              </a:ext>
            </a:extLst>
          </p:cNvPr>
          <p:cNvSpPr/>
          <p:nvPr/>
        </p:nvSpPr>
        <p:spPr>
          <a:xfrm>
            <a:off x="5753520" y="5253642"/>
            <a:ext cx="422677" cy="364457"/>
          </a:xfrm>
          <a:custGeom>
            <a:avLst/>
            <a:gdLst>
              <a:gd name="connsiteX0" fmla="*/ 507874 w 533100"/>
              <a:gd name="connsiteY0" fmla="*/ 174394 h 468664"/>
              <a:gd name="connsiteX1" fmla="*/ 507874 w 533100"/>
              <a:gd name="connsiteY1" fmla="*/ 170911 h 468664"/>
              <a:gd name="connsiteX2" fmla="*/ 502234 w 533100"/>
              <a:gd name="connsiteY2" fmla="*/ 179702 h 468664"/>
              <a:gd name="connsiteX3" fmla="*/ 483657 w 533100"/>
              <a:gd name="connsiteY3" fmla="*/ 187331 h 468664"/>
              <a:gd name="connsiteX4" fmla="*/ 463089 w 533100"/>
              <a:gd name="connsiteY4" fmla="*/ 156480 h 468664"/>
              <a:gd name="connsiteX5" fmla="*/ 485813 w 533100"/>
              <a:gd name="connsiteY5" fmla="*/ 132429 h 468664"/>
              <a:gd name="connsiteX6" fmla="*/ 504722 w 533100"/>
              <a:gd name="connsiteY6" fmla="*/ 142215 h 468664"/>
              <a:gd name="connsiteX7" fmla="*/ 504722 w 533100"/>
              <a:gd name="connsiteY7" fmla="*/ 136078 h 468664"/>
              <a:gd name="connsiteX8" fmla="*/ 501737 w 533100"/>
              <a:gd name="connsiteY8" fmla="*/ 75536 h 468664"/>
              <a:gd name="connsiteX9" fmla="*/ 481169 w 533100"/>
              <a:gd name="connsiteY9" fmla="*/ 13667 h 468664"/>
              <a:gd name="connsiteX10" fmla="*/ 442024 w 533100"/>
              <a:gd name="connsiteY10" fmla="*/ 5540 h 468664"/>
              <a:gd name="connsiteX11" fmla="*/ 410509 w 533100"/>
              <a:gd name="connsiteY11" fmla="*/ -100 h 468664"/>
              <a:gd name="connsiteX12" fmla="*/ 399064 w 533100"/>
              <a:gd name="connsiteY12" fmla="*/ 16487 h 468664"/>
              <a:gd name="connsiteX13" fmla="*/ 378496 w 533100"/>
              <a:gd name="connsiteY13" fmla="*/ 28430 h 468664"/>
              <a:gd name="connsiteX14" fmla="*/ 351957 w 533100"/>
              <a:gd name="connsiteY14" fmla="*/ 48002 h 468664"/>
              <a:gd name="connsiteX15" fmla="*/ 338190 w 533100"/>
              <a:gd name="connsiteY15" fmla="*/ 70560 h 468664"/>
              <a:gd name="connsiteX16" fmla="*/ 309661 w 533100"/>
              <a:gd name="connsiteY16" fmla="*/ 91294 h 468664"/>
              <a:gd name="connsiteX17" fmla="*/ 296889 w 533100"/>
              <a:gd name="connsiteY17" fmla="*/ 115842 h 468664"/>
              <a:gd name="connsiteX18" fmla="*/ 265374 w 533100"/>
              <a:gd name="connsiteY18" fmla="*/ 130604 h 468664"/>
              <a:gd name="connsiteX19" fmla="*/ 226063 w 533100"/>
              <a:gd name="connsiteY19" fmla="*/ 117833 h 468664"/>
              <a:gd name="connsiteX20" fmla="*/ 203505 w 533100"/>
              <a:gd name="connsiteY20" fmla="*/ 135415 h 468664"/>
              <a:gd name="connsiteX21" fmla="*/ 173151 w 533100"/>
              <a:gd name="connsiteY21" fmla="*/ 169916 h 468664"/>
              <a:gd name="connsiteX22" fmla="*/ 139977 w 533100"/>
              <a:gd name="connsiteY22" fmla="*/ 171906 h 468664"/>
              <a:gd name="connsiteX23" fmla="*/ 134172 w 533100"/>
              <a:gd name="connsiteY23" fmla="*/ 157143 h 468664"/>
              <a:gd name="connsiteX24" fmla="*/ 140973 w 533100"/>
              <a:gd name="connsiteY24" fmla="*/ 149182 h 468664"/>
              <a:gd name="connsiteX25" fmla="*/ 130191 w 533100"/>
              <a:gd name="connsiteY25" fmla="*/ 111862 h 468664"/>
              <a:gd name="connsiteX26" fmla="*/ 114434 w 533100"/>
              <a:gd name="connsiteY26" fmla="*/ 101577 h 468664"/>
              <a:gd name="connsiteX27" fmla="*/ 114434 w 533100"/>
              <a:gd name="connsiteY27" fmla="*/ 222993 h 468664"/>
              <a:gd name="connsiteX28" fmla="*/ 92871 w 533100"/>
              <a:gd name="connsiteY28" fmla="*/ 244556 h 468664"/>
              <a:gd name="connsiteX29" fmla="*/ 50575 w 533100"/>
              <a:gd name="connsiteY29" fmla="*/ 245551 h 468664"/>
              <a:gd name="connsiteX30" fmla="*/ 32827 w 533100"/>
              <a:gd name="connsiteY30" fmla="*/ 221998 h 468664"/>
              <a:gd name="connsiteX31" fmla="*/ 14249 w 533100"/>
              <a:gd name="connsiteY31" fmla="*/ 231784 h 468664"/>
              <a:gd name="connsiteX32" fmla="*/ -15 w 533100"/>
              <a:gd name="connsiteY32" fmla="*/ 235268 h 468664"/>
              <a:gd name="connsiteX33" fmla="*/ 25031 w 533100"/>
              <a:gd name="connsiteY33" fmla="*/ 288345 h 468664"/>
              <a:gd name="connsiteX34" fmla="*/ 57043 w 533100"/>
              <a:gd name="connsiteY34" fmla="*/ 354693 h 468664"/>
              <a:gd name="connsiteX35" fmla="*/ 57043 w 533100"/>
              <a:gd name="connsiteY35" fmla="*/ 385710 h 468664"/>
              <a:gd name="connsiteX36" fmla="*/ 57043 w 533100"/>
              <a:gd name="connsiteY36" fmla="*/ 412746 h 468664"/>
              <a:gd name="connsiteX37" fmla="*/ 67991 w 533100"/>
              <a:gd name="connsiteY37" fmla="*/ 441276 h 468664"/>
              <a:gd name="connsiteX38" fmla="*/ 81758 w 533100"/>
              <a:gd name="connsiteY38" fmla="*/ 449569 h 468664"/>
              <a:gd name="connsiteX39" fmla="*/ 99340 w 533100"/>
              <a:gd name="connsiteY39" fmla="*/ 463834 h 468664"/>
              <a:gd name="connsiteX40" fmla="*/ 118282 w 533100"/>
              <a:gd name="connsiteY40" fmla="*/ 465360 h 468664"/>
              <a:gd name="connsiteX41" fmla="*/ 120903 w 533100"/>
              <a:gd name="connsiteY41" fmla="*/ 462341 h 468664"/>
              <a:gd name="connsiteX42" fmla="*/ 160379 w 533100"/>
              <a:gd name="connsiteY42" fmla="*/ 452057 h 468664"/>
              <a:gd name="connsiteX43" fmla="*/ 190734 w 533100"/>
              <a:gd name="connsiteY43" fmla="*/ 439783 h 468664"/>
              <a:gd name="connsiteX44" fmla="*/ 241821 w 533100"/>
              <a:gd name="connsiteY44" fmla="*/ 439783 h 468664"/>
              <a:gd name="connsiteX45" fmla="*/ 273833 w 533100"/>
              <a:gd name="connsiteY45" fmla="*/ 435802 h 468664"/>
              <a:gd name="connsiteX46" fmla="*/ 294899 w 533100"/>
              <a:gd name="connsiteY46" fmla="*/ 431490 h 468664"/>
              <a:gd name="connsiteX47" fmla="*/ 322433 w 533100"/>
              <a:gd name="connsiteY47" fmla="*/ 422035 h 468664"/>
              <a:gd name="connsiteX48" fmla="*/ 390771 w 533100"/>
              <a:gd name="connsiteY48" fmla="*/ 378909 h 468664"/>
              <a:gd name="connsiteX49" fmla="*/ 469890 w 533100"/>
              <a:gd name="connsiteY49" fmla="*/ 282042 h 468664"/>
              <a:gd name="connsiteX50" fmla="*/ 517494 w 533100"/>
              <a:gd name="connsiteY50" fmla="*/ 228965 h 468664"/>
              <a:gd name="connsiteX51" fmla="*/ 533086 w 533100"/>
              <a:gd name="connsiteY51" fmla="*/ 174228 h 468664"/>
              <a:gd name="connsiteX52" fmla="*/ 507874 w 533100"/>
              <a:gd name="connsiteY52" fmla="*/ 174394 h 468664"/>
              <a:gd name="connsiteX53" fmla="*/ 405367 w 533100"/>
              <a:gd name="connsiteY53" fmla="*/ 284199 h 468664"/>
              <a:gd name="connsiteX54" fmla="*/ 383804 w 533100"/>
              <a:gd name="connsiteY54" fmla="*/ 290004 h 468664"/>
              <a:gd name="connsiteX55" fmla="*/ 376008 w 533100"/>
              <a:gd name="connsiteY55" fmla="*/ 307752 h 468664"/>
              <a:gd name="connsiteX56" fmla="*/ 362241 w 533100"/>
              <a:gd name="connsiteY56" fmla="*/ 305762 h 468664"/>
              <a:gd name="connsiteX57" fmla="*/ 342503 w 533100"/>
              <a:gd name="connsiteY57" fmla="*/ 278228 h 468664"/>
              <a:gd name="connsiteX58" fmla="*/ 362241 w 533100"/>
              <a:gd name="connsiteY58" fmla="*/ 248703 h 468664"/>
              <a:gd name="connsiteX59" fmla="*/ 395415 w 533100"/>
              <a:gd name="connsiteY59" fmla="*/ 235102 h 468664"/>
              <a:gd name="connsiteX60" fmla="*/ 417144 w 533100"/>
              <a:gd name="connsiteY60" fmla="*/ 260479 h 468664"/>
              <a:gd name="connsiteX61" fmla="*/ 405367 w 533100"/>
              <a:gd name="connsiteY61" fmla="*/ 283369 h 46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33100" h="468664">
                <a:moveTo>
                  <a:pt x="507874" y="174394"/>
                </a:moveTo>
                <a:lnTo>
                  <a:pt x="507874" y="170911"/>
                </a:lnTo>
                <a:cubicBezTo>
                  <a:pt x="504904" y="172984"/>
                  <a:pt x="502881" y="176152"/>
                  <a:pt x="502234" y="179702"/>
                </a:cubicBezTo>
                <a:cubicBezTo>
                  <a:pt x="502234" y="187331"/>
                  <a:pt x="493941" y="187995"/>
                  <a:pt x="483657" y="187331"/>
                </a:cubicBezTo>
                <a:cubicBezTo>
                  <a:pt x="473373" y="186668"/>
                  <a:pt x="463089" y="160627"/>
                  <a:pt x="463089" y="156480"/>
                </a:cubicBezTo>
                <a:cubicBezTo>
                  <a:pt x="463089" y="152334"/>
                  <a:pt x="477520" y="132429"/>
                  <a:pt x="485813" y="132429"/>
                </a:cubicBezTo>
                <a:cubicBezTo>
                  <a:pt x="492763" y="134237"/>
                  <a:pt x="499232" y="137588"/>
                  <a:pt x="504722" y="142215"/>
                </a:cubicBezTo>
                <a:cubicBezTo>
                  <a:pt x="504490" y="140175"/>
                  <a:pt x="504490" y="138118"/>
                  <a:pt x="504722" y="136078"/>
                </a:cubicBezTo>
                <a:cubicBezTo>
                  <a:pt x="504722" y="131600"/>
                  <a:pt x="510528" y="80678"/>
                  <a:pt x="501737" y="75536"/>
                </a:cubicBezTo>
                <a:cubicBezTo>
                  <a:pt x="492945" y="70395"/>
                  <a:pt x="484154" y="18809"/>
                  <a:pt x="481169" y="13667"/>
                </a:cubicBezTo>
                <a:cubicBezTo>
                  <a:pt x="478183" y="8525"/>
                  <a:pt x="445673" y="11511"/>
                  <a:pt x="442024" y="5540"/>
                </a:cubicBezTo>
                <a:cubicBezTo>
                  <a:pt x="438375" y="-432"/>
                  <a:pt x="411007" y="5540"/>
                  <a:pt x="410509" y="-100"/>
                </a:cubicBezTo>
                <a:cubicBezTo>
                  <a:pt x="406196" y="6203"/>
                  <a:pt x="401552" y="13004"/>
                  <a:pt x="399064" y="16487"/>
                </a:cubicBezTo>
                <a:cubicBezTo>
                  <a:pt x="394254" y="22458"/>
                  <a:pt x="380486" y="18478"/>
                  <a:pt x="378496" y="28430"/>
                </a:cubicBezTo>
                <a:cubicBezTo>
                  <a:pt x="373587" y="39079"/>
                  <a:pt x="363568" y="46459"/>
                  <a:pt x="351957" y="48002"/>
                </a:cubicBezTo>
                <a:cubicBezTo>
                  <a:pt x="343996" y="48002"/>
                  <a:pt x="338190" y="61769"/>
                  <a:pt x="338190" y="70560"/>
                </a:cubicBezTo>
                <a:cubicBezTo>
                  <a:pt x="338190" y="79351"/>
                  <a:pt x="322433" y="91294"/>
                  <a:pt x="309661" y="91294"/>
                </a:cubicBezTo>
                <a:cubicBezTo>
                  <a:pt x="296889" y="91294"/>
                  <a:pt x="300870" y="102075"/>
                  <a:pt x="296889" y="115842"/>
                </a:cubicBezTo>
                <a:cubicBezTo>
                  <a:pt x="292908" y="129609"/>
                  <a:pt x="287103" y="130604"/>
                  <a:pt x="265374" y="130604"/>
                </a:cubicBezTo>
                <a:cubicBezTo>
                  <a:pt x="251060" y="132114"/>
                  <a:pt x="236762" y="127469"/>
                  <a:pt x="226063" y="117833"/>
                </a:cubicBezTo>
                <a:cubicBezTo>
                  <a:pt x="209476" y="107051"/>
                  <a:pt x="204500" y="126624"/>
                  <a:pt x="203505" y="135415"/>
                </a:cubicBezTo>
                <a:cubicBezTo>
                  <a:pt x="202510" y="144206"/>
                  <a:pt x="179952" y="161954"/>
                  <a:pt x="173151" y="169916"/>
                </a:cubicBezTo>
                <a:cubicBezTo>
                  <a:pt x="166351" y="177877"/>
                  <a:pt x="149432" y="171906"/>
                  <a:pt x="139977" y="171906"/>
                </a:cubicBezTo>
                <a:cubicBezTo>
                  <a:pt x="130523" y="171906"/>
                  <a:pt x="134172" y="162949"/>
                  <a:pt x="134172" y="157143"/>
                </a:cubicBezTo>
                <a:cubicBezTo>
                  <a:pt x="134172" y="151338"/>
                  <a:pt x="138982" y="155153"/>
                  <a:pt x="140973" y="149182"/>
                </a:cubicBezTo>
                <a:cubicBezTo>
                  <a:pt x="139629" y="136194"/>
                  <a:pt x="135980" y="123555"/>
                  <a:pt x="130191" y="111862"/>
                </a:cubicBezTo>
                <a:cubicBezTo>
                  <a:pt x="128533" y="107715"/>
                  <a:pt x="121732" y="104231"/>
                  <a:pt x="114434" y="101577"/>
                </a:cubicBezTo>
                <a:lnTo>
                  <a:pt x="114434" y="222993"/>
                </a:lnTo>
                <a:cubicBezTo>
                  <a:pt x="114434" y="233774"/>
                  <a:pt x="96686" y="238585"/>
                  <a:pt x="92871" y="244556"/>
                </a:cubicBezTo>
                <a:cubicBezTo>
                  <a:pt x="89056" y="250527"/>
                  <a:pt x="64342" y="245551"/>
                  <a:pt x="50575" y="245551"/>
                </a:cubicBezTo>
                <a:cubicBezTo>
                  <a:pt x="36807" y="245551"/>
                  <a:pt x="39793" y="231784"/>
                  <a:pt x="32827" y="221998"/>
                </a:cubicBezTo>
                <a:cubicBezTo>
                  <a:pt x="25860" y="212212"/>
                  <a:pt x="14249" y="224818"/>
                  <a:pt x="14249" y="231784"/>
                </a:cubicBezTo>
                <a:cubicBezTo>
                  <a:pt x="14249" y="238751"/>
                  <a:pt x="8112" y="235931"/>
                  <a:pt x="-15" y="235268"/>
                </a:cubicBezTo>
                <a:cubicBezTo>
                  <a:pt x="10617" y="251788"/>
                  <a:pt x="19043" y="269635"/>
                  <a:pt x="25031" y="288345"/>
                </a:cubicBezTo>
                <a:cubicBezTo>
                  <a:pt x="32827" y="314387"/>
                  <a:pt x="52067" y="338935"/>
                  <a:pt x="57043" y="354693"/>
                </a:cubicBezTo>
                <a:cubicBezTo>
                  <a:pt x="62020" y="370450"/>
                  <a:pt x="67328" y="384217"/>
                  <a:pt x="57043" y="385710"/>
                </a:cubicBezTo>
                <a:cubicBezTo>
                  <a:pt x="46760" y="387203"/>
                  <a:pt x="46594" y="395994"/>
                  <a:pt x="57043" y="412746"/>
                </a:cubicBezTo>
                <a:cubicBezTo>
                  <a:pt x="67493" y="429499"/>
                  <a:pt x="58537" y="439285"/>
                  <a:pt x="67991" y="441276"/>
                </a:cubicBezTo>
                <a:cubicBezTo>
                  <a:pt x="77445" y="443266"/>
                  <a:pt x="74294" y="449072"/>
                  <a:pt x="81758" y="449569"/>
                </a:cubicBezTo>
                <a:cubicBezTo>
                  <a:pt x="89222" y="450067"/>
                  <a:pt x="94530" y="457531"/>
                  <a:pt x="99340" y="463834"/>
                </a:cubicBezTo>
                <a:cubicBezTo>
                  <a:pt x="104150" y="469490"/>
                  <a:pt x="112626" y="470170"/>
                  <a:pt x="118282" y="465360"/>
                </a:cubicBezTo>
                <a:cubicBezTo>
                  <a:pt x="119294" y="464481"/>
                  <a:pt x="120189" y="463469"/>
                  <a:pt x="120903" y="462341"/>
                </a:cubicBezTo>
                <a:cubicBezTo>
                  <a:pt x="126377" y="454546"/>
                  <a:pt x="143129" y="452057"/>
                  <a:pt x="160379" y="452057"/>
                </a:cubicBezTo>
                <a:cubicBezTo>
                  <a:pt x="177630" y="452057"/>
                  <a:pt x="173981" y="444759"/>
                  <a:pt x="190734" y="439783"/>
                </a:cubicBezTo>
                <a:cubicBezTo>
                  <a:pt x="207403" y="434807"/>
                  <a:pt x="225151" y="434807"/>
                  <a:pt x="241821" y="439783"/>
                </a:cubicBezTo>
                <a:cubicBezTo>
                  <a:pt x="252503" y="443748"/>
                  <a:pt x="264445" y="442254"/>
                  <a:pt x="273833" y="435802"/>
                </a:cubicBezTo>
                <a:cubicBezTo>
                  <a:pt x="280634" y="431490"/>
                  <a:pt x="293903" y="442769"/>
                  <a:pt x="294899" y="431490"/>
                </a:cubicBezTo>
                <a:cubicBezTo>
                  <a:pt x="295894" y="420211"/>
                  <a:pt x="309661" y="422035"/>
                  <a:pt x="322433" y="422035"/>
                </a:cubicBezTo>
                <a:cubicBezTo>
                  <a:pt x="335205" y="422035"/>
                  <a:pt x="366056" y="401965"/>
                  <a:pt x="390771" y="378909"/>
                </a:cubicBezTo>
                <a:cubicBezTo>
                  <a:pt x="420311" y="349352"/>
                  <a:pt x="446818" y="316891"/>
                  <a:pt x="469890" y="282042"/>
                </a:cubicBezTo>
                <a:cubicBezTo>
                  <a:pt x="483159" y="262188"/>
                  <a:pt x="499182" y="244307"/>
                  <a:pt x="517494" y="228965"/>
                </a:cubicBezTo>
                <a:cubicBezTo>
                  <a:pt x="525953" y="221334"/>
                  <a:pt x="530764" y="194132"/>
                  <a:pt x="533086" y="174228"/>
                </a:cubicBezTo>
                <a:cubicBezTo>
                  <a:pt x="524692" y="173730"/>
                  <a:pt x="516266" y="173796"/>
                  <a:pt x="507874" y="174394"/>
                </a:cubicBezTo>
                <a:close/>
                <a:moveTo>
                  <a:pt x="405367" y="284199"/>
                </a:moveTo>
                <a:cubicBezTo>
                  <a:pt x="405367" y="291994"/>
                  <a:pt x="387785" y="282208"/>
                  <a:pt x="383804" y="290004"/>
                </a:cubicBezTo>
                <a:cubicBezTo>
                  <a:pt x="379823" y="297800"/>
                  <a:pt x="376008" y="307752"/>
                  <a:pt x="376008" y="307752"/>
                </a:cubicBezTo>
                <a:lnTo>
                  <a:pt x="362241" y="305762"/>
                </a:lnTo>
                <a:lnTo>
                  <a:pt x="342503" y="278228"/>
                </a:lnTo>
                <a:cubicBezTo>
                  <a:pt x="342503" y="278228"/>
                  <a:pt x="358260" y="256664"/>
                  <a:pt x="362241" y="248703"/>
                </a:cubicBezTo>
                <a:cubicBezTo>
                  <a:pt x="366222" y="240741"/>
                  <a:pt x="391766" y="227140"/>
                  <a:pt x="395415" y="235102"/>
                </a:cubicBezTo>
                <a:cubicBezTo>
                  <a:pt x="399064" y="243063"/>
                  <a:pt x="417144" y="252684"/>
                  <a:pt x="417144" y="260479"/>
                </a:cubicBezTo>
                <a:cubicBezTo>
                  <a:pt x="417144" y="268275"/>
                  <a:pt x="405367" y="275574"/>
                  <a:pt x="405367" y="28336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448" name="Freeform: Shape 447">
            <a:extLst>
              <a:ext uri="{FF2B5EF4-FFF2-40B4-BE49-F238E27FC236}">
                <a16:creationId xmlns:a16="http://schemas.microsoft.com/office/drawing/2014/main" id="{65F15021-CD40-438E-9FD3-175F54EF1F74}"/>
              </a:ext>
            </a:extLst>
          </p:cNvPr>
          <p:cNvSpPr/>
          <p:nvPr/>
        </p:nvSpPr>
        <p:spPr>
          <a:xfrm>
            <a:off x="5640813" y="4824887"/>
            <a:ext cx="308525" cy="317568"/>
          </a:xfrm>
          <a:custGeom>
            <a:avLst/>
            <a:gdLst>
              <a:gd name="connsiteX0" fmla="*/ 21714 w 389126"/>
              <a:gd name="connsiteY0" fmla="*/ 378246 h 408370"/>
              <a:gd name="connsiteX1" fmla="*/ 36642 w 389126"/>
              <a:gd name="connsiteY1" fmla="*/ 384881 h 408370"/>
              <a:gd name="connsiteX2" fmla="*/ 68323 w 389126"/>
              <a:gd name="connsiteY2" fmla="*/ 386705 h 408370"/>
              <a:gd name="connsiteX3" fmla="*/ 98179 w 389126"/>
              <a:gd name="connsiteY3" fmla="*/ 394999 h 408370"/>
              <a:gd name="connsiteX4" fmla="*/ 212794 w 389126"/>
              <a:gd name="connsiteY4" fmla="*/ 394999 h 408370"/>
              <a:gd name="connsiteX5" fmla="*/ 224570 w 389126"/>
              <a:gd name="connsiteY5" fmla="*/ 406610 h 408370"/>
              <a:gd name="connsiteX6" fmla="*/ 297553 w 389126"/>
              <a:gd name="connsiteY6" fmla="*/ 406610 h 408370"/>
              <a:gd name="connsiteX7" fmla="*/ 349138 w 389126"/>
              <a:gd name="connsiteY7" fmla="*/ 403126 h 408370"/>
              <a:gd name="connsiteX8" fmla="*/ 358261 w 389126"/>
              <a:gd name="connsiteY8" fmla="*/ 400970 h 408370"/>
              <a:gd name="connsiteX9" fmla="*/ 320277 w 389126"/>
              <a:gd name="connsiteY9" fmla="*/ 349219 h 408370"/>
              <a:gd name="connsiteX10" fmla="*/ 323760 w 389126"/>
              <a:gd name="connsiteY10" fmla="*/ 238751 h 408370"/>
              <a:gd name="connsiteX11" fmla="*/ 373520 w 389126"/>
              <a:gd name="connsiteY11" fmla="*/ 240409 h 408370"/>
              <a:gd name="connsiteX12" fmla="*/ 381980 w 389126"/>
              <a:gd name="connsiteY12" fmla="*/ 231950 h 408370"/>
              <a:gd name="connsiteX13" fmla="*/ 389112 w 389126"/>
              <a:gd name="connsiteY13" fmla="*/ 165603 h 408370"/>
              <a:gd name="connsiteX14" fmla="*/ 379989 w 389126"/>
              <a:gd name="connsiteY14" fmla="*/ 165603 h 408370"/>
              <a:gd name="connsiteX15" fmla="*/ 350630 w 389126"/>
              <a:gd name="connsiteY15" fmla="*/ 168589 h 408370"/>
              <a:gd name="connsiteX16" fmla="*/ 332883 w 389126"/>
              <a:gd name="connsiteY16" fmla="*/ 177546 h 408370"/>
              <a:gd name="connsiteX17" fmla="*/ 332883 w 389126"/>
              <a:gd name="connsiteY17" fmla="*/ 151007 h 408370"/>
              <a:gd name="connsiteX18" fmla="*/ 316296 w 389126"/>
              <a:gd name="connsiteY18" fmla="*/ 124468 h 408370"/>
              <a:gd name="connsiteX19" fmla="*/ 320774 w 389126"/>
              <a:gd name="connsiteY19" fmla="*/ 77195 h 408370"/>
              <a:gd name="connsiteX20" fmla="*/ 314969 w 389126"/>
              <a:gd name="connsiteY20" fmla="*/ 50656 h 408370"/>
              <a:gd name="connsiteX21" fmla="*/ 292742 w 389126"/>
              <a:gd name="connsiteY21" fmla="*/ 46344 h 408370"/>
              <a:gd name="connsiteX22" fmla="*/ 276156 w 389126"/>
              <a:gd name="connsiteY22" fmla="*/ 38879 h 408370"/>
              <a:gd name="connsiteX23" fmla="*/ 249617 w 389126"/>
              <a:gd name="connsiteY23" fmla="*/ 38879 h 408370"/>
              <a:gd name="connsiteX24" fmla="*/ 236347 w 389126"/>
              <a:gd name="connsiteY24" fmla="*/ 68404 h 408370"/>
              <a:gd name="connsiteX25" fmla="*/ 198032 w 389126"/>
              <a:gd name="connsiteY25" fmla="*/ 74376 h 408370"/>
              <a:gd name="connsiteX26" fmla="*/ 170000 w 389126"/>
              <a:gd name="connsiteY26" fmla="*/ 53642 h 408370"/>
              <a:gd name="connsiteX27" fmla="*/ 156730 w 389126"/>
              <a:gd name="connsiteY27" fmla="*/ 28596 h 408370"/>
              <a:gd name="connsiteX28" fmla="*/ 150759 w 389126"/>
              <a:gd name="connsiteY28" fmla="*/ 564 h 408370"/>
              <a:gd name="connsiteX29" fmla="*/ 43111 w 389126"/>
              <a:gd name="connsiteY29" fmla="*/ 564 h 408370"/>
              <a:gd name="connsiteX30" fmla="*/ 24368 w 389126"/>
              <a:gd name="connsiteY30" fmla="*/ 10848 h 408370"/>
              <a:gd name="connsiteX31" fmla="*/ 53560 w 389126"/>
              <a:gd name="connsiteY31" fmla="*/ 80181 h 408370"/>
              <a:gd name="connsiteX32" fmla="*/ 48087 w 389126"/>
              <a:gd name="connsiteY32" fmla="*/ 115013 h 408370"/>
              <a:gd name="connsiteX33" fmla="*/ 68654 w 389126"/>
              <a:gd name="connsiteY33" fmla="*/ 184844 h 408370"/>
              <a:gd name="connsiteX34" fmla="*/ 45101 w 389126"/>
              <a:gd name="connsiteY34" fmla="*/ 232946 h 408370"/>
              <a:gd name="connsiteX35" fmla="*/ 21050 w 389126"/>
              <a:gd name="connsiteY35" fmla="*/ 296805 h 408370"/>
              <a:gd name="connsiteX36" fmla="*/ 4463 w 389126"/>
              <a:gd name="connsiteY36" fmla="*/ 343579 h 408370"/>
              <a:gd name="connsiteX37" fmla="*/ -15 w 389126"/>
              <a:gd name="connsiteY37" fmla="*/ 388198 h 408370"/>
              <a:gd name="connsiteX38" fmla="*/ -15 w 389126"/>
              <a:gd name="connsiteY38" fmla="*/ 389525 h 408370"/>
              <a:gd name="connsiteX39" fmla="*/ 10269 w 389126"/>
              <a:gd name="connsiteY39" fmla="*/ 386871 h 408370"/>
              <a:gd name="connsiteX40" fmla="*/ 21714 w 389126"/>
              <a:gd name="connsiteY40" fmla="*/ 378246 h 40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9126" h="408370">
                <a:moveTo>
                  <a:pt x="21714" y="378246"/>
                </a:moveTo>
                <a:cubicBezTo>
                  <a:pt x="30007" y="378246"/>
                  <a:pt x="25031" y="390023"/>
                  <a:pt x="36642" y="384881"/>
                </a:cubicBezTo>
                <a:cubicBezTo>
                  <a:pt x="46710" y="379524"/>
                  <a:pt x="58934" y="380220"/>
                  <a:pt x="68323" y="386705"/>
                </a:cubicBezTo>
                <a:cubicBezTo>
                  <a:pt x="77130" y="392577"/>
                  <a:pt x="87596" y="395480"/>
                  <a:pt x="98179" y="394999"/>
                </a:cubicBezTo>
                <a:lnTo>
                  <a:pt x="212794" y="394999"/>
                </a:lnTo>
                <a:lnTo>
                  <a:pt x="224570" y="406610"/>
                </a:lnTo>
                <a:cubicBezTo>
                  <a:pt x="224570" y="406610"/>
                  <a:pt x="287601" y="401633"/>
                  <a:pt x="297553" y="406610"/>
                </a:cubicBezTo>
                <a:cubicBezTo>
                  <a:pt x="314770" y="409678"/>
                  <a:pt x="332484" y="408484"/>
                  <a:pt x="349138" y="403126"/>
                </a:cubicBezTo>
                <a:lnTo>
                  <a:pt x="358261" y="400970"/>
                </a:lnTo>
                <a:lnTo>
                  <a:pt x="320277" y="349219"/>
                </a:lnTo>
                <a:lnTo>
                  <a:pt x="323760" y="238751"/>
                </a:lnTo>
                <a:lnTo>
                  <a:pt x="373520" y="240409"/>
                </a:lnTo>
                <a:lnTo>
                  <a:pt x="381980" y="231950"/>
                </a:lnTo>
                <a:lnTo>
                  <a:pt x="389112" y="165603"/>
                </a:lnTo>
                <a:cubicBezTo>
                  <a:pt x="386209" y="164342"/>
                  <a:pt x="382892" y="164342"/>
                  <a:pt x="379989" y="165603"/>
                </a:cubicBezTo>
                <a:cubicBezTo>
                  <a:pt x="370551" y="168788"/>
                  <a:pt x="360516" y="169816"/>
                  <a:pt x="350630" y="168589"/>
                </a:cubicBezTo>
                <a:cubicBezTo>
                  <a:pt x="340347" y="168589"/>
                  <a:pt x="338854" y="178872"/>
                  <a:pt x="332883" y="177546"/>
                </a:cubicBezTo>
                <a:cubicBezTo>
                  <a:pt x="326911" y="176218"/>
                  <a:pt x="331390" y="158305"/>
                  <a:pt x="332883" y="151007"/>
                </a:cubicBezTo>
                <a:cubicBezTo>
                  <a:pt x="334376" y="143708"/>
                  <a:pt x="324091" y="130273"/>
                  <a:pt x="316296" y="124468"/>
                </a:cubicBezTo>
                <a:cubicBezTo>
                  <a:pt x="308500" y="118662"/>
                  <a:pt x="325253" y="81674"/>
                  <a:pt x="320774" y="77195"/>
                </a:cubicBezTo>
                <a:cubicBezTo>
                  <a:pt x="316080" y="69184"/>
                  <a:pt x="314040" y="59895"/>
                  <a:pt x="314969" y="50656"/>
                </a:cubicBezTo>
                <a:cubicBezTo>
                  <a:pt x="314969" y="40372"/>
                  <a:pt x="307505" y="46344"/>
                  <a:pt x="292742" y="46344"/>
                </a:cubicBezTo>
                <a:cubicBezTo>
                  <a:pt x="277980" y="46344"/>
                  <a:pt x="276156" y="38879"/>
                  <a:pt x="276156" y="38879"/>
                </a:cubicBezTo>
                <a:cubicBezTo>
                  <a:pt x="267481" y="36475"/>
                  <a:pt x="258292" y="36475"/>
                  <a:pt x="249617" y="38879"/>
                </a:cubicBezTo>
                <a:cubicBezTo>
                  <a:pt x="240660" y="43358"/>
                  <a:pt x="242153" y="69897"/>
                  <a:pt x="236347" y="68404"/>
                </a:cubicBezTo>
                <a:cubicBezTo>
                  <a:pt x="223310" y="68039"/>
                  <a:pt x="210339" y="70063"/>
                  <a:pt x="198032" y="74376"/>
                </a:cubicBezTo>
                <a:cubicBezTo>
                  <a:pt x="183269" y="78688"/>
                  <a:pt x="177298" y="71390"/>
                  <a:pt x="170000" y="53642"/>
                </a:cubicBezTo>
                <a:cubicBezTo>
                  <a:pt x="162702" y="35894"/>
                  <a:pt x="153413" y="41865"/>
                  <a:pt x="156730" y="28596"/>
                </a:cubicBezTo>
                <a:cubicBezTo>
                  <a:pt x="157808" y="18859"/>
                  <a:pt x="155702" y="9023"/>
                  <a:pt x="150759" y="564"/>
                </a:cubicBezTo>
                <a:cubicBezTo>
                  <a:pt x="150759" y="564"/>
                  <a:pt x="53560" y="-929"/>
                  <a:pt x="43111" y="564"/>
                </a:cubicBezTo>
                <a:cubicBezTo>
                  <a:pt x="36310" y="2886"/>
                  <a:pt x="29974" y="6353"/>
                  <a:pt x="24368" y="10848"/>
                </a:cubicBezTo>
                <a:cubicBezTo>
                  <a:pt x="32329" y="34666"/>
                  <a:pt x="42099" y="57838"/>
                  <a:pt x="53560" y="80181"/>
                </a:cubicBezTo>
                <a:cubicBezTo>
                  <a:pt x="57873" y="89635"/>
                  <a:pt x="48087" y="97929"/>
                  <a:pt x="48087" y="115013"/>
                </a:cubicBezTo>
                <a:cubicBezTo>
                  <a:pt x="48087" y="132097"/>
                  <a:pt x="66830" y="163778"/>
                  <a:pt x="68654" y="184844"/>
                </a:cubicBezTo>
                <a:cubicBezTo>
                  <a:pt x="70479" y="205909"/>
                  <a:pt x="56878" y="219178"/>
                  <a:pt x="45101" y="232946"/>
                </a:cubicBezTo>
                <a:cubicBezTo>
                  <a:pt x="31201" y="251523"/>
                  <a:pt x="22875" y="273666"/>
                  <a:pt x="21050" y="296805"/>
                </a:cubicBezTo>
                <a:cubicBezTo>
                  <a:pt x="21050" y="316045"/>
                  <a:pt x="3468" y="334788"/>
                  <a:pt x="4463" y="343579"/>
                </a:cubicBezTo>
                <a:cubicBezTo>
                  <a:pt x="4165" y="358541"/>
                  <a:pt x="2655" y="373469"/>
                  <a:pt x="-15" y="388198"/>
                </a:cubicBezTo>
                <a:lnTo>
                  <a:pt x="-15" y="389525"/>
                </a:lnTo>
                <a:lnTo>
                  <a:pt x="10269" y="386871"/>
                </a:lnTo>
                <a:cubicBezTo>
                  <a:pt x="12110" y="382028"/>
                  <a:pt x="16555" y="378677"/>
                  <a:pt x="21714" y="378246"/>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49" name="Freeform: Shape 448">
            <a:extLst>
              <a:ext uri="{FF2B5EF4-FFF2-40B4-BE49-F238E27FC236}">
                <a16:creationId xmlns:a16="http://schemas.microsoft.com/office/drawing/2014/main" id="{103E3FA2-CB91-4571-9C2B-B898EB5967DA}"/>
              </a:ext>
            </a:extLst>
          </p:cNvPr>
          <p:cNvSpPr/>
          <p:nvPr/>
        </p:nvSpPr>
        <p:spPr>
          <a:xfrm>
            <a:off x="5894368" y="4884867"/>
            <a:ext cx="303134" cy="259689"/>
          </a:xfrm>
          <a:custGeom>
            <a:avLst/>
            <a:gdLst>
              <a:gd name="connsiteX0" fmla="*/ 294733 w 382326"/>
              <a:gd name="connsiteY0" fmla="*/ 13667 h 333941"/>
              <a:gd name="connsiteX1" fmla="*/ 270682 w 382326"/>
              <a:gd name="connsiteY1" fmla="*/ -100 h 333941"/>
              <a:gd name="connsiteX2" fmla="*/ 230708 w 382326"/>
              <a:gd name="connsiteY2" fmla="*/ 5871 h 333941"/>
              <a:gd name="connsiteX3" fmla="*/ 221917 w 382326"/>
              <a:gd name="connsiteY3" fmla="*/ 27932 h 333941"/>
              <a:gd name="connsiteX4" fmla="*/ 217438 w 382326"/>
              <a:gd name="connsiteY4" fmla="*/ 45680 h 333941"/>
              <a:gd name="connsiteX5" fmla="*/ 216111 w 382326"/>
              <a:gd name="connsiteY5" fmla="*/ 82503 h 333941"/>
              <a:gd name="connsiteX6" fmla="*/ 208647 w 382326"/>
              <a:gd name="connsiteY6" fmla="*/ 113520 h 333941"/>
              <a:gd name="connsiteX7" fmla="*/ 230708 w 382326"/>
              <a:gd name="connsiteY7" fmla="*/ 140059 h 333941"/>
              <a:gd name="connsiteX8" fmla="*/ 252934 w 382326"/>
              <a:gd name="connsiteY8" fmla="*/ 132595 h 333941"/>
              <a:gd name="connsiteX9" fmla="*/ 257246 w 382326"/>
              <a:gd name="connsiteY9" fmla="*/ 156148 h 333941"/>
              <a:gd name="connsiteX10" fmla="*/ 251441 w 382326"/>
              <a:gd name="connsiteY10" fmla="*/ 170911 h 333941"/>
              <a:gd name="connsiteX11" fmla="*/ 227722 w 382326"/>
              <a:gd name="connsiteY11" fmla="*/ 170911 h 333941"/>
              <a:gd name="connsiteX12" fmla="*/ 214619 w 382326"/>
              <a:gd name="connsiteY12" fmla="*/ 142879 h 333941"/>
              <a:gd name="connsiteX13" fmla="*/ 189406 w 382326"/>
              <a:gd name="connsiteY13" fmla="*/ 137073 h 333941"/>
              <a:gd name="connsiteX14" fmla="*/ 171824 w 382326"/>
              <a:gd name="connsiteY14" fmla="*/ 117833 h 333941"/>
              <a:gd name="connsiteX15" fmla="*/ 160048 w 382326"/>
              <a:gd name="connsiteY15" fmla="*/ 123804 h 333941"/>
              <a:gd name="connsiteX16" fmla="*/ 145285 w 382326"/>
              <a:gd name="connsiteY16" fmla="*/ 128282 h 333941"/>
              <a:gd name="connsiteX17" fmla="*/ 117254 w 382326"/>
              <a:gd name="connsiteY17" fmla="*/ 119325 h 333941"/>
              <a:gd name="connsiteX18" fmla="*/ 106970 w 382326"/>
              <a:gd name="connsiteY18" fmla="*/ 102739 h 333941"/>
              <a:gd name="connsiteX19" fmla="*/ 86236 w 382326"/>
              <a:gd name="connsiteY19" fmla="*/ 104231 h 333941"/>
              <a:gd name="connsiteX20" fmla="*/ 77445 w 382326"/>
              <a:gd name="connsiteY20" fmla="*/ 96933 h 333941"/>
              <a:gd name="connsiteX21" fmla="*/ 68820 w 382326"/>
              <a:gd name="connsiteY21" fmla="*/ 88308 h 333941"/>
              <a:gd name="connsiteX22" fmla="*/ 61688 w 382326"/>
              <a:gd name="connsiteY22" fmla="*/ 154655 h 333941"/>
              <a:gd name="connsiteX23" fmla="*/ 53229 w 382326"/>
              <a:gd name="connsiteY23" fmla="*/ 163115 h 333941"/>
              <a:gd name="connsiteX24" fmla="*/ 3468 w 382326"/>
              <a:gd name="connsiteY24" fmla="*/ 161456 h 333941"/>
              <a:gd name="connsiteX25" fmla="*/ -15 w 382326"/>
              <a:gd name="connsiteY25" fmla="*/ 271924 h 333941"/>
              <a:gd name="connsiteX26" fmla="*/ 37969 w 382326"/>
              <a:gd name="connsiteY26" fmla="*/ 323675 h 333941"/>
              <a:gd name="connsiteX27" fmla="*/ 98676 w 382326"/>
              <a:gd name="connsiteY27" fmla="*/ 321021 h 333941"/>
              <a:gd name="connsiteX28" fmla="*/ 101330 w 382326"/>
              <a:gd name="connsiteY28" fmla="*/ 328651 h 333941"/>
              <a:gd name="connsiteX29" fmla="*/ 117917 w 382326"/>
              <a:gd name="connsiteY29" fmla="*/ 325997 h 333941"/>
              <a:gd name="connsiteX30" fmla="*/ 160214 w 382326"/>
              <a:gd name="connsiteY30" fmla="*/ 332964 h 333941"/>
              <a:gd name="connsiteX31" fmla="*/ 194548 w 382326"/>
              <a:gd name="connsiteY31" fmla="*/ 295477 h 333941"/>
              <a:gd name="connsiteX32" fmla="*/ 225068 w 382326"/>
              <a:gd name="connsiteY32" fmla="*/ 271924 h 333941"/>
              <a:gd name="connsiteX33" fmla="*/ 243646 w 382326"/>
              <a:gd name="connsiteY33" fmla="*/ 255338 h 333941"/>
              <a:gd name="connsiteX34" fmla="*/ 272175 w 382326"/>
              <a:gd name="connsiteY34" fmla="*/ 254342 h 333941"/>
              <a:gd name="connsiteX35" fmla="*/ 274165 w 382326"/>
              <a:gd name="connsiteY35" fmla="*/ 254342 h 333941"/>
              <a:gd name="connsiteX36" fmla="*/ 267199 w 382326"/>
              <a:gd name="connsiteY36" fmla="*/ 229628 h 333941"/>
              <a:gd name="connsiteX37" fmla="*/ 359421 w 382326"/>
              <a:gd name="connsiteY37" fmla="*/ 196454 h 333941"/>
              <a:gd name="connsiteX38" fmla="*/ 353450 w 382326"/>
              <a:gd name="connsiteY38" fmla="*/ 181692 h 333941"/>
              <a:gd name="connsiteX39" fmla="*/ 358592 w 382326"/>
              <a:gd name="connsiteY39" fmla="*/ 149514 h 333941"/>
              <a:gd name="connsiteX40" fmla="*/ 372194 w 382326"/>
              <a:gd name="connsiteY40" fmla="*/ 140889 h 333941"/>
              <a:gd name="connsiteX41" fmla="*/ 370535 w 382326"/>
              <a:gd name="connsiteY41" fmla="*/ 86483 h 333941"/>
              <a:gd name="connsiteX42" fmla="*/ 382311 w 382326"/>
              <a:gd name="connsiteY42" fmla="*/ 79683 h 333941"/>
              <a:gd name="connsiteX43" fmla="*/ 367052 w 382326"/>
              <a:gd name="connsiteY43" fmla="*/ 44021 h 333941"/>
              <a:gd name="connsiteX44" fmla="*/ 324589 w 382326"/>
              <a:gd name="connsiteY44" fmla="*/ 25278 h 333941"/>
              <a:gd name="connsiteX45" fmla="*/ 294733 w 382326"/>
              <a:gd name="connsiteY45" fmla="*/ 13667 h 33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2326" h="333941">
                <a:moveTo>
                  <a:pt x="294733" y="13667"/>
                </a:moveTo>
                <a:cubicBezTo>
                  <a:pt x="285892" y="10682"/>
                  <a:pt x="277731" y="6004"/>
                  <a:pt x="270682" y="-100"/>
                </a:cubicBezTo>
                <a:cubicBezTo>
                  <a:pt x="264379" y="7033"/>
                  <a:pt x="241821" y="5871"/>
                  <a:pt x="230708" y="5871"/>
                </a:cubicBezTo>
                <a:cubicBezTo>
                  <a:pt x="219595" y="5871"/>
                  <a:pt x="229215" y="22458"/>
                  <a:pt x="221917" y="27932"/>
                </a:cubicBezTo>
                <a:cubicBezTo>
                  <a:pt x="214619" y="33406"/>
                  <a:pt x="211633" y="42694"/>
                  <a:pt x="217438" y="45680"/>
                </a:cubicBezTo>
                <a:cubicBezTo>
                  <a:pt x="223244" y="48665"/>
                  <a:pt x="216111" y="73712"/>
                  <a:pt x="216111" y="82503"/>
                </a:cubicBezTo>
                <a:cubicBezTo>
                  <a:pt x="216111" y="91294"/>
                  <a:pt x="204169" y="110534"/>
                  <a:pt x="208647" y="113520"/>
                </a:cubicBezTo>
                <a:cubicBezTo>
                  <a:pt x="213126" y="116506"/>
                  <a:pt x="220424" y="137073"/>
                  <a:pt x="230708" y="140059"/>
                </a:cubicBezTo>
                <a:cubicBezTo>
                  <a:pt x="240992" y="143044"/>
                  <a:pt x="248455" y="132595"/>
                  <a:pt x="252934" y="132595"/>
                </a:cubicBezTo>
                <a:cubicBezTo>
                  <a:pt x="257412" y="132595"/>
                  <a:pt x="257246" y="145864"/>
                  <a:pt x="257246" y="156148"/>
                </a:cubicBezTo>
                <a:cubicBezTo>
                  <a:pt x="257595" y="161688"/>
                  <a:pt x="255472" y="167096"/>
                  <a:pt x="251441" y="170911"/>
                </a:cubicBezTo>
                <a:cubicBezTo>
                  <a:pt x="251441" y="170911"/>
                  <a:pt x="234855" y="176882"/>
                  <a:pt x="227722" y="170911"/>
                </a:cubicBezTo>
                <a:cubicBezTo>
                  <a:pt x="220490" y="163197"/>
                  <a:pt x="215896" y="153378"/>
                  <a:pt x="214619" y="142879"/>
                </a:cubicBezTo>
                <a:cubicBezTo>
                  <a:pt x="214619" y="137073"/>
                  <a:pt x="196871" y="137073"/>
                  <a:pt x="189406" y="137073"/>
                </a:cubicBezTo>
                <a:cubicBezTo>
                  <a:pt x="181943" y="137073"/>
                  <a:pt x="174810" y="123804"/>
                  <a:pt x="171824" y="117833"/>
                </a:cubicBezTo>
                <a:cubicBezTo>
                  <a:pt x="168839" y="111862"/>
                  <a:pt x="160048" y="119325"/>
                  <a:pt x="160048" y="123804"/>
                </a:cubicBezTo>
                <a:cubicBezTo>
                  <a:pt x="160048" y="128282"/>
                  <a:pt x="152584" y="128282"/>
                  <a:pt x="145285" y="128282"/>
                </a:cubicBezTo>
                <a:cubicBezTo>
                  <a:pt x="137988" y="128282"/>
                  <a:pt x="123225" y="116340"/>
                  <a:pt x="117254" y="119325"/>
                </a:cubicBezTo>
                <a:cubicBezTo>
                  <a:pt x="111283" y="122311"/>
                  <a:pt x="105477" y="109042"/>
                  <a:pt x="106970" y="102739"/>
                </a:cubicBezTo>
                <a:cubicBezTo>
                  <a:pt x="108463" y="96435"/>
                  <a:pt x="92208" y="101246"/>
                  <a:pt x="86236" y="104231"/>
                </a:cubicBezTo>
                <a:cubicBezTo>
                  <a:pt x="80265" y="107217"/>
                  <a:pt x="77445" y="96933"/>
                  <a:pt x="77445" y="96933"/>
                </a:cubicBezTo>
                <a:cubicBezTo>
                  <a:pt x="75372" y="93350"/>
                  <a:pt x="72403" y="90381"/>
                  <a:pt x="68820" y="88308"/>
                </a:cubicBezTo>
                <a:lnTo>
                  <a:pt x="61688" y="154655"/>
                </a:lnTo>
                <a:lnTo>
                  <a:pt x="53229" y="163115"/>
                </a:lnTo>
                <a:lnTo>
                  <a:pt x="3468" y="161456"/>
                </a:lnTo>
                <a:lnTo>
                  <a:pt x="-15" y="271924"/>
                </a:lnTo>
                <a:lnTo>
                  <a:pt x="37969" y="323675"/>
                </a:lnTo>
                <a:cubicBezTo>
                  <a:pt x="57707" y="319695"/>
                  <a:pt x="98676" y="314055"/>
                  <a:pt x="98676" y="321021"/>
                </a:cubicBezTo>
                <a:cubicBezTo>
                  <a:pt x="98958" y="323742"/>
                  <a:pt x="99854" y="326346"/>
                  <a:pt x="101330" y="328651"/>
                </a:cubicBezTo>
                <a:cubicBezTo>
                  <a:pt x="106705" y="326976"/>
                  <a:pt x="112294" y="326080"/>
                  <a:pt x="117917" y="325997"/>
                </a:cubicBezTo>
                <a:cubicBezTo>
                  <a:pt x="125713" y="326992"/>
                  <a:pt x="152252" y="336779"/>
                  <a:pt x="160214" y="332964"/>
                </a:cubicBezTo>
                <a:cubicBezTo>
                  <a:pt x="168175" y="329149"/>
                  <a:pt x="181777" y="299790"/>
                  <a:pt x="194548" y="295477"/>
                </a:cubicBezTo>
                <a:cubicBezTo>
                  <a:pt x="207320" y="291165"/>
                  <a:pt x="225068" y="277895"/>
                  <a:pt x="225068" y="271924"/>
                </a:cubicBezTo>
                <a:cubicBezTo>
                  <a:pt x="225068" y="265953"/>
                  <a:pt x="225068" y="260147"/>
                  <a:pt x="243646" y="255338"/>
                </a:cubicBezTo>
                <a:lnTo>
                  <a:pt x="272175" y="254342"/>
                </a:lnTo>
                <a:lnTo>
                  <a:pt x="274165" y="254342"/>
                </a:lnTo>
                <a:lnTo>
                  <a:pt x="267199" y="229628"/>
                </a:lnTo>
                <a:cubicBezTo>
                  <a:pt x="267199" y="229628"/>
                  <a:pt x="354279" y="196454"/>
                  <a:pt x="359421" y="196454"/>
                </a:cubicBezTo>
                <a:cubicBezTo>
                  <a:pt x="355441" y="188493"/>
                  <a:pt x="351626" y="182687"/>
                  <a:pt x="353450" y="181692"/>
                </a:cubicBezTo>
                <a:cubicBezTo>
                  <a:pt x="355275" y="180697"/>
                  <a:pt x="358592" y="156314"/>
                  <a:pt x="358592" y="149514"/>
                </a:cubicBezTo>
                <a:cubicBezTo>
                  <a:pt x="358592" y="142713"/>
                  <a:pt x="378994" y="147855"/>
                  <a:pt x="372194" y="140889"/>
                </a:cubicBezTo>
                <a:cubicBezTo>
                  <a:pt x="365393" y="133922"/>
                  <a:pt x="367052" y="95109"/>
                  <a:pt x="370535" y="86483"/>
                </a:cubicBezTo>
                <a:cubicBezTo>
                  <a:pt x="374018" y="77858"/>
                  <a:pt x="382311" y="86483"/>
                  <a:pt x="382311" y="79683"/>
                </a:cubicBezTo>
                <a:cubicBezTo>
                  <a:pt x="379442" y="66961"/>
                  <a:pt x="374267" y="54885"/>
                  <a:pt x="367052" y="44021"/>
                </a:cubicBezTo>
                <a:cubicBezTo>
                  <a:pt x="353998" y="35529"/>
                  <a:pt x="339667" y="29209"/>
                  <a:pt x="324589" y="25278"/>
                </a:cubicBezTo>
                <a:cubicBezTo>
                  <a:pt x="316794" y="23785"/>
                  <a:pt x="303192" y="13667"/>
                  <a:pt x="294733" y="1366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0" name="Freeform: Shape 449">
            <a:extLst>
              <a:ext uri="{FF2B5EF4-FFF2-40B4-BE49-F238E27FC236}">
                <a16:creationId xmlns:a16="http://schemas.microsoft.com/office/drawing/2014/main" id="{A63C72C1-D66A-48EB-98F6-C2FD20F9E06F}"/>
              </a:ext>
            </a:extLst>
          </p:cNvPr>
          <p:cNvSpPr/>
          <p:nvPr/>
        </p:nvSpPr>
        <p:spPr>
          <a:xfrm>
            <a:off x="6074896" y="4698996"/>
            <a:ext cx="50282" cy="42197"/>
          </a:xfrm>
          <a:custGeom>
            <a:avLst/>
            <a:gdLst>
              <a:gd name="connsiteX0" fmla="*/ 53110 w 63418"/>
              <a:gd name="connsiteY0" fmla="*/ -100 h 54262"/>
              <a:gd name="connsiteX1" fmla="*/ 34698 w 63418"/>
              <a:gd name="connsiteY1" fmla="*/ 5871 h 54262"/>
              <a:gd name="connsiteX2" fmla="*/ 18112 w 63418"/>
              <a:gd name="connsiteY2" fmla="*/ 8857 h 54262"/>
              <a:gd name="connsiteX3" fmla="*/ 14130 w 63418"/>
              <a:gd name="connsiteY3" fmla="*/ 12009 h 54262"/>
              <a:gd name="connsiteX4" fmla="*/ 7496 w 63418"/>
              <a:gd name="connsiteY4" fmla="*/ 33406 h 54262"/>
              <a:gd name="connsiteX5" fmla="*/ 32 w 63418"/>
              <a:gd name="connsiteY5" fmla="*/ 42860 h 54262"/>
              <a:gd name="connsiteX6" fmla="*/ 6832 w 63418"/>
              <a:gd name="connsiteY6" fmla="*/ 52480 h 54262"/>
              <a:gd name="connsiteX7" fmla="*/ 17780 w 63418"/>
              <a:gd name="connsiteY7" fmla="*/ 53642 h 54262"/>
              <a:gd name="connsiteX8" fmla="*/ 34366 w 63418"/>
              <a:gd name="connsiteY8" fmla="*/ 43358 h 54262"/>
              <a:gd name="connsiteX9" fmla="*/ 63393 w 63418"/>
              <a:gd name="connsiteY9" fmla="*/ 36557 h 54262"/>
              <a:gd name="connsiteX10" fmla="*/ 58251 w 63418"/>
              <a:gd name="connsiteY10" fmla="*/ 14496 h 5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18" h="54262">
                <a:moveTo>
                  <a:pt x="53110" y="-100"/>
                </a:moveTo>
                <a:cubicBezTo>
                  <a:pt x="45811" y="2056"/>
                  <a:pt x="38016" y="4379"/>
                  <a:pt x="34698" y="5871"/>
                </a:cubicBezTo>
                <a:cubicBezTo>
                  <a:pt x="29772" y="9006"/>
                  <a:pt x="23817" y="10085"/>
                  <a:pt x="18112" y="8857"/>
                </a:cubicBezTo>
                <a:cubicBezTo>
                  <a:pt x="17100" y="10251"/>
                  <a:pt x="15723" y="11345"/>
                  <a:pt x="14130" y="12009"/>
                </a:cubicBezTo>
                <a:cubicBezTo>
                  <a:pt x="6003" y="14995"/>
                  <a:pt x="7496" y="33406"/>
                  <a:pt x="7496" y="33406"/>
                </a:cubicBezTo>
                <a:cubicBezTo>
                  <a:pt x="2852" y="34003"/>
                  <a:pt x="-449" y="38199"/>
                  <a:pt x="32" y="42860"/>
                </a:cubicBezTo>
                <a:cubicBezTo>
                  <a:pt x="-101" y="47223"/>
                  <a:pt x="2669" y="51154"/>
                  <a:pt x="6832" y="52480"/>
                </a:cubicBezTo>
                <a:cubicBezTo>
                  <a:pt x="10498" y="52646"/>
                  <a:pt x="14164" y="53028"/>
                  <a:pt x="17780" y="53642"/>
                </a:cubicBezTo>
                <a:cubicBezTo>
                  <a:pt x="36523" y="56959"/>
                  <a:pt x="34366" y="43358"/>
                  <a:pt x="34366" y="43358"/>
                </a:cubicBezTo>
                <a:cubicBezTo>
                  <a:pt x="34366" y="43358"/>
                  <a:pt x="61569" y="45182"/>
                  <a:pt x="63393" y="36557"/>
                </a:cubicBezTo>
                <a:cubicBezTo>
                  <a:pt x="63559" y="28894"/>
                  <a:pt x="61785" y="21297"/>
                  <a:pt x="58251" y="14496"/>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1" name="Freeform: Shape 450">
            <a:extLst>
              <a:ext uri="{FF2B5EF4-FFF2-40B4-BE49-F238E27FC236}">
                <a16:creationId xmlns:a16="http://schemas.microsoft.com/office/drawing/2014/main" id="{8505A3EA-7952-46ED-9B0D-2F3EDDD09E85}"/>
              </a:ext>
            </a:extLst>
          </p:cNvPr>
          <p:cNvSpPr/>
          <p:nvPr/>
        </p:nvSpPr>
        <p:spPr>
          <a:xfrm>
            <a:off x="6391350" y="4355119"/>
            <a:ext cx="272297" cy="357033"/>
          </a:xfrm>
          <a:custGeom>
            <a:avLst/>
            <a:gdLst>
              <a:gd name="connsiteX0" fmla="*/ 81426 w 343434"/>
              <a:gd name="connsiteY0" fmla="*/ 83492 h 459118"/>
              <a:gd name="connsiteX1" fmla="*/ 103653 w 343434"/>
              <a:gd name="connsiteY1" fmla="*/ 103397 h 459118"/>
              <a:gd name="connsiteX2" fmla="*/ 170000 w 343434"/>
              <a:gd name="connsiteY2" fmla="*/ 126950 h 459118"/>
              <a:gd name="connsiteX3" fmla="*/ 215614 w 343434"/>
              <a:gd name="connsiteY3" fmla="*/ 137234 h 459118"/>
              <a:gd name="connsiteX4" fmla="*/ 227556 w 343434"/>
              <a:gd name="connsiteY4" fmla="*/ 144698 h 459118"/>
              <a:gd name="connsiteX5" fmla="*/ 138982 w 343434"/>
              <a:gd name="connsiteY5" fmla="*/ 233106 h 459118"/>
              <a:gd name="connsiteX6" fmla="*/ 102159 w 343434"/>
              <a:gd name="connsiteY6" fmla="*/ 239741 h 459118"/>
              <a:gd name="connsiteX7" fmla="*/ 58702 w 343434"/>
              <a:gd name="connsiteY7" fmla="*/ 262631 h 459118"/>
              <a:gd name="connsiteX8" fmla="*/ 31831 w 343434"/>
              <a:gd name="connsiteY8" fmla="*/ 266777 h 459118"/>
              <a:gd name="connsiteX9" fmla="*/ 15245 w 343434"/>
              <a:gd name="connsiteY9" fmla="*/ 289999 h 459118"/>
              <a:gd name="connsiteX10" fmla="*/ -15 w 343434"/>
              <a:gd name="connsiteY10" fmla="*/ 313884 h 459118"/>
              <a:gd name="connsiteX11" fmla="*/ 1643 w 343434"/>
              <a:gd name="connsiteY11" fmla="*/ 432977 h 459118"/>
              <a:gd name="connsiteX12" fmla="*/ 18230 w 343434"/>
              <a:gd name="connsiteY12" fmla="*/ 459019 h 459118"/>
              <a:gd name="connsiteX13" fmla="*/ 91876 w 343434"/>
              <a:gd name="connsiteY13" fmla="*/ 381060 h 459118"/>
              <a:gd name="connsiteX14" fmla="*/ 149930 w 343434"/>
              <a:gd name="connsiteY14" fmla="*/ 336774 h 459118"/>
              <a:gd name="connsiteX15" fmla="*/ 232864 w 343434"/>
              <a:gd name="connsiteY15" fmla="*/ 255664 h 459118"/>
              <a:gd name="connsiteX16" fmla="*/ 271179 w 343434"/>
              <a:gd name="connsiteY16" fmla="*/ 194293 h 459118"/>
              <a:gd name="connsiteX17" fmla="*/ 301036 w 343434"/>
              <a:gd name="connsiteY17" fmla="*/ 142708 h 459118"/>
              <a:gd name="connsiteX18" fmla="*/ 332053 w 343434"/>
              <a:gd name="connsiteY18" fmla="*/ 76360 h 459118"/>
              <a:gd name="connsiteX19" fmla="*/ 343332 w 343434"/>
              <a:gd name="connsiteY19" fmla="*/ 18472 h 459118"/>
              <a:gd name="connsiteX20" fmla="*/ 321769 w 343434"/>
              <a:gd name="connsiteY20" fmla="*/ 7027 h 459118"/>
              <a:gd name="connsiteX21" fmla="*/ 247129 w 343434"/>
              <a:gd name="connsiteY21" fmla="*/ 27263 h 459118"/>
              <a:gd name="connsiteX22" fmla="*/ 194051 w 343434"/>
              <a:gd name="connsiteY22" fmla="*/ 39537 h 459118"/>
              <a:gd name="connsiteX23" fmla="*/ 150759 w 343434"/>
              <a:gd name="connsiteY23" fmla="*/ 47333 h 459118"/>
              <a:gd name="connsiteX24" fmla="*/ 95691 w 343434"/>
              <a:gd name="connsiteY24" fmla="*/ 43021 h 459118"/>
              <a:gd name="connsiteX25" fmla="*/ 79104 w 343434"/>
              <a:gd name="connsiteY25" fmla="*/ 23946 h 459118"/>
              <a:gd name="connsiteX26" fmla="*/ 60361 w 343434"/>
              <a:gd name="connsiteY26" fmla="*/ 52807 h 459118"/>
              <a:gd name="connsiteX27" fmla="*/ 81426 w 343434"/>
              <a:gd name="connsiteY27" fmla="*/ 83492 h 45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3434" h="459118">
                <a:moveTo>
                  <a:pt x="81426" y="83492"/>
                </a:moveTo>
                <a:cubicBezTo>
                  <a:pt x="87397" y="86478"/>
                  <a:pt x="97018" y="101904"/>
                  <a:pt x="103653" y="103397"/>
                </a:cubicBezTo>
                <a:cubicBezTo>
                  <a:pt x="110287" y="104890"/>
                  <a:pt x="147110" y="117330"/>
                  <a:pt x="170000" y="126950"/>
                </a:cubicBezTo>
                <a:cubicBezTo>
                  <a:pt x="184347" y="133436"/>
                  <a:pt x="199873" y="136935"/>
                  <a:pt x="215614" y="137234"/>
                </a:cubicBezTo>
                <a:cubicBezTo>
                  <a:pt x="223078" y="137234"/>
                  <a:pt x="234191" y="139556"/>
                  <a:pt x="227556" y="144698"/>
                </a:cubicBezTo>
                <a:cubicBezTo>
                  <a:pt x="220921" y="149840"/>
                  <a:pt x="148603" y="222822"/>
                  <a:pt x="138982" y="233106"/>
                </a:cubicBezTo>
                <a:cubicBezTo>
                  <a:pt x="129362" y="243390"/>
                  <a:pt x="123557" y="239741"/>
                  <a:pt x="102159" y="239741"/>
                </a:cubicBezTo>
                <a:cubicBezTo>
                  <a:pt x="80763" y="239741"/>
                  <a:pt x="64674" y="263294"/>
                  <a:pt x="58702" y="262631"/>
                </a:cubicBezTo>
                <a:cubicBezTo>
                  <a:pt x="49629" y="263062"/>
                  <a:pt x="40622" y="264455"/>
                  <a:pt x="31831" y="266777"/>
                </a:cubicBezTo>
                <a:lnTo>
                  <a:pt x="15245" y="289999"/>
                </a:lnTo>
                <a:lnTo>
                  <a:pt x="-15" y="313884"/>
                </a:lnTo>
                <a:lnTo>
                  <a:pt x="1643" y="432977"/>
                </a:lnTo>
                <a:lnTo>
                  <a:pt x="18230" y="459019"/>
                </a:lnTo>
                <a:cubicBezTo>
                  <a:pt x="31168" y="441603"/>
                  <a:pt x="66166" y="408263"/>
                  <a:pt x="91876" y="381060"/>
                </a:cubicBezTo>
                <a:cubicBezTo>
                  <a:pt x="107849" y="362334"/>
                  <a:pt x="127637" y="347240"/>
                  <a:pt x="149930" y="336774"/>
                </a:cubicBezTo>
                <a:cubicBezTo>
                  <a:pt x="181412" y="313967"/>
                  <a:pt x="209360" y="286631"/>
                  <a:pt x="232864" y="255664"/>
                </a:cubicBezTo>
                <a:cubicBezTo>
                  <a:pt x="249451" y="234101"/>
                  <a:pt x="268691" y="210050"/>
                  <a:pt x="271179" y="194293"/>
                </a:cubicBezTo>
                <a:cubicBezTo>
                  <a:pt x="277366" y="175168"/>
                  <a:pt x="287534" y="157586"/>
                  <a:pt x="301036" y="142708"/>
                </a:cubicBezTo>
                <a:cubicBezTo>
                  <a:pt x="315715" y="122886"/>
                  <a:pt x="326264" y="100328"/>
                  <a:pt x="332053" y="76360"/>
                </a:cubicBezTo>
                <a:cubicBezTo>
                  <a:pt x="332053" y="64584"/>
                  <a:pt x="341839" y="39537"/>
                  <a:pt x="343332" y="18472"/>
                </a:cubicBezTo>
                <a:cubicBezTo>
                  <a:pt x="344825" y="-2593"/>
                  <a:pt x="326745" y="-4749"/>
                  <a:pt x="321769" y="7027"/>
                </a:cubicBezTo>
                <a:cubicBezTo>
                  <a:pt x="316793" y="18804"/>
                  <a:pt x="274165" y="26766"/>
                  <a:pt x="247129" y="27263"/>
                </a:cubicBezTo>
                <a:cubicBezTo>
                  <a:pt x="220092" y="27761"/>
                  <a:pt x="203837" y="30249"/>
                  <a:pt x="194051" y="39537"/>
                </a:cubicBezTo>
                <a:cubicBezTo>
                  <a:pt x="184264" y="48826"/>
                  <a:pt x="159550" y="37049"/>
                  <a:pt x="150759" y="47333"/>
                </a:cubicBezTo>
                <a:cubicBezTo>
                  <a:pt x="141968" y="57617"/>
                  <a:pt x="106970" y="66574"/>
                  <a:pt x="95691" y="43021"/>
                </a:cubicBezTo>
                <a:cubicBezTo>
                  <a:pt x="92174" y="35159"/>
                  <a:pt x="86402" y="28524"/>
                  <a:pt x="79104" y="23946"/>
                </a:cubicBezTo>
                <a:cubicBezTo>
                  <a:pt x="69649" y="33732"/>
                  <a:pt x="58204" y="48163"/>
                  <a:pt x="60361" y="52807"/>
                </a:cubicBezTo>
                <a:cubicBezTo>
                  <a:pt x="65436" y="64235"/>
                  <a:pt x="72585" y="74635"/>
                  <a:pt x="81426" y="83492"/>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2" name="Freeform: Shape 451">
            <a:extLst>
              <a:ext uri="{FF2B5EF4-FFF2-40B4-BE49-F238E27FC236}">
                <a16:creationId xmlns:a16="http://schemas.microsoft.com/office/drawing/2014/main" id="{20ACF53B-D341-44BA-BFA2-23BEC9548861}"/>
              </a:ext>
            </a:extLst>
          </p:cNvPr>
          <p:cNvSpPr/>
          <p:nvPr/>
        </p:nvSpPr>
        <p:spPr>
          <a:xfrm>
            <a:off x="5528810" y="3653151"/>
            <a:ext cx="109504" cy="206266"/>
          </a:xfrm>
          <a:custGeom>
            <a:avLst/>
            <a:gdLst>
              <a:gd name="connsiteX0" fmla="*/ 34429 w 138111"/>
              <a:gd name="connsiteY0" fmla="*/ 63779 h 265242"/>
              <a:gd name="connsiteX1" fmla="*/ 24643 w 138111"/>
              <a:gd name="connsiteY1" fmla="*/ 99109 h 265242"/>
              <a:gd name="connsiteX2" fmla="*/ 3079 w 138111"/>
              <a:gd name="connsiteY2" fmla="*/ 120671 h 265242"/>
              <a:gd name="connsiteX3" fmla="*/ 16847 w 138111"/>
              <a:gd name="connsiteY3" fmla="*/ 156168 h 265242"/>
              <a:gd name="connsiteX4" fmla="*/ 30448 w 138111"/>
              <a:gd name="connsiteY4" fmla="*/ 177730 h 265242"/>
              <a:gd name="connsiteX5" fmla="*/ 55991 w 138111"/>
              <a:gd name="connsiteY5" fmla="*/ 197303 h 265242"/>
              <a:gd name="connsiteX6" fmla="*/ 71749 w 138111"/>
              <a:gd name="connsiteY6" fmla="*/ 256352 h 265242"/>
              <a:gd name="connsiteX7" fmla="*/ 74735 w 138111"/>
              <a:gd name="connsiteY7" fmla="*/ 265143 h 265242"/>
              <a:gd name="connsiteX8" fmla="*/ 88502 w 138111"/>
              <a:gd name="connsiteY8" fmla="*/ 252869 h 265242"/>
              <a:gd name="connsiteX9" fmla="*/ 94473 w 138111"/>
              <a:gd name="connsiteY9" fmla="*/ 226330 h 265242"/>
              <a:gd name="connsiteX10" fmla="*/ 97293 w 138111"/>
              <a:gd name="connsiteY10" fmla="*/ 211568 h 265242"/>
              <a:gd name="connsiteX11" fmla="*/ 122836 w 138111"/>
              <a:gd name="connsiteY11" fmla="*/ 187516 h 265242"/>
              <a:gd name="connsiteX12" fmla="*/ 137101 w 138111"/>
              <a:gd name="connsiteY12" fmla="*/ 177233 h 265242"/>
              <a:gd name="connsiteX13" fmla="*/ 138097 w 138111"/>
              <a:gd name="connsiteY13" fmla="*/ 160646 h 265242"/>
              <a:gd name="connsiteX14" fmla="*/ 125324 w 138111"/>
              <a:gd name="connsiteY14" fmla="*/ 146381 h 265242"/>
              <a:gd name="connsiteX15" fmla="*/ 111557 w 138111"/>
              <a:gd name="connsiteY15" fmla="*/ 135102 h 265242"/>
              <a:gd name="connsiteX16" fmla="*/ 85516 w 138111"/>
              <a:gd name="connsiteY16" fmla="*/ 123823 h 265242"/>
              <a:gd name="connsiteX17" fmla="*/ 111557 w 138111"/>
              <a:gd name="connsiteY17" fmla="*/ 100768 h 265242"/>
              <a:gd name="connsiteX18" fmla="*/ 116733 w 138111"/>
              <a:gd name="connsiteY18" fmla="*/ 60511 h 265242"/>
              <a:gd name="connsiteX19" fmla="*/ 112553 w 138111"/>
              <a:gd name="connsiteY19" fmla="*/ 56149 h 265242"/>
              <a:gd name="connsiteX20" fmla="*/ 118524 w 138111"/>
              <a:gd name="connsiteY20" fmla="*/ 27122 h 265242"/>
              <a:gd name="connsiteX21" fmla="*/ 114045 w 138111"/>
              <a:gd name="connsiteY21" fmla="*/ 15345 h 265242"/>
              <a:gd name="connsiteX22" fmla="*/ 98288 w 138111"/>
              <a:gd name="connsiteY22" fmla="*/ 9872 h 265242"/>
              <a:gd name="connsiteX23" fmla="*/ 52674 w 138111"/>
              <a:gd name="connsiteY23" fmla="*/ 7384 h 265242"/>
              <a:gd name="connsiteX24" fmla="*/ 34760 w 138111"/>
              <a:gd name="connsiteY24" fmla="*/ 12526 h 265242"/>
              <a:gd name="connsiteX25" fmla="*/ 34429 w 138111"/>
              <a:gd name="connsiteY25" fmla="*/ 63779 h 26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111" h="265242">
                <a:moveTo>
                  <a:pt x="34429" y="63779"/>
                </a:moveTo>
                <a:cubicBezTo>
                  <a:pt x="39952" y="76385"/>
                  <a:pt x="35872" y="91147"/>
                  <a:pt x="24643" y="99109"/>
                </a:cubicBezTo>
                <a:cubicBezTo>
                  <a:pt x="16847" y="103089"/>
                  <a:pt x="10875" y="120671"/>
                  <a:pt x="3079" y="120671"/>
                </a:cubicBezTo>
                <a:cubicBezTo>
                  <a:pt x="-4716" y="120671"/>
                  <a:pt x="3079" y="150196"/>
                  <a:pt x="16847" y="156168"/>
                </a:cubicBezTo>
                <a:cubicBezTo>
                  <a:pt x="25903" y="159236"/>
                  <a:pt x="31576" y="168226"/>
                  <a:pt x="30448" y="177730"/>
                </a:cubicBezTo>
                <a:cubicBezTo>
                  <a:pt x="30448" y="183536"/>
                  <a:pt x="50186" y="189507"/>
                  <a:pt x="55991" y="197303"/>
                </a:cubicBezTo>
                <a:cubicBezTo>
                  <a:pt x="64716" y="215896"/>
                  <a:pt x="70057" y="235884"/>
                  <a:pt x="71749" y="256352"/>
                </a:cubicBezTo>
                <a:cubicBezTo>
                  <a:pt x="71716" y="259537"/>
                  <a:pt x="72777" y="262639"/>
                  <a:pt x="74735" y="265143"/>
                </a:cubicBezTo>
                <a:cubicBezTo>
                  <a:pt x="80159" y="262091"/>
                  <a:pt x="84853" y="257895"/>
                  <a:pt x="88502" y="252869"/>
                </a:cubicBezTo>
                <a:cubicBezTo>
                  <a:pt x="93047" y="244791"/>
                  <a:pt x="95120" y="235569"/>
                  <a:pt x="94473" y="226330"/>
                </a:cubicBezTo>
                <a:cubicBezTo>
                  <a:pt x="92267" y="221304"/>
                  <a:pt x="93395" y="215432"/>
                  <a:pt x="97293" y="211568"/>
                </a:cubicBezTo>
                <a:cubicBezTo>
                  <a:pt x="101771" y="207752"/>
                  <a:pt x="119519" y="189009"/>
                  <a:pt x="122836" y="187516"/>
                </a:cubicBezTo>
                <a:cubicBezTo>
                  <a:pt x="126154" y="186024"/>
                  <a:pt x="137599" y="187516"/>
                  <a:pt x="137101" y="177233"/>
                </a:cubicBezTo>
                <a:cubicBezTo>
                  <a:pt x="137101" y="171693"/>
                  <a:pt x="137433" y="166153"/>
                  <a:pt x="138097" y="160646"/>
                </a:cubicBezTo>
                <a:cubicBezTo>
                  <a:pt x="130135" y="155504"/>
                  <a:pt x="125324" y="149367"/>
                  <a:pt x="125324" y="146381"/>
                </a:cubicBezTo>
                <a:cubicBezTo>
                  <a:pt x="125324" y="140078"/>
                  <a:pt x="116533" y="129795"/>
                  <a:pt x="111557" y="135102"/>
                </a:cubicBezTo>
                <a:cubicBezTo>
                  <a:pt x="106582" y="140410"/>
                  <a:pt x="88004" y="136097"/>
                  <a:pt x="85516" y="123823"/>
                </a:cubicBezTo>
                <a:cubicBezTo>
                  <a:pt x="83028" y="111549"/>
                  <a:pt x="97791" y="112047"/>
                  <a:pt x="111557" y="100768"/>
                </a:cubicBezTo>
                <a:cubicBezTo>
                  <a:pt x="124097" y="91081"/>
                  <a:pt x="126419" y="73067"/>
                  <a:pt x="116733" y="60511"/>
                </a:cubicBezTo>
                <a:cubicBezTo>
                  <a:pt x="115489" y="58919"/>
                  <a:pt x="114096" y="57459"/>
                  <a:pt x="112553" y="56149"/>
                </a:cubicBezTo>
                <a:cubicBezTo>
                  <a:pt x="97791" y="44206"/>
                  <a:pt x="108074" y="37903"/>
                  <a:pt x="118524" y="27122"/>
                </a:cubicBezTo>
                <a:cubicBezTo>
                  <a:pt x="128973" y="16340"/>
                  <a:pt x="119519" y="10535"/>
                  <a:pt x="114045" y="15345"/>
                </a:cubicBezTo>
                <a:cubicBezTo>
                  <a:pt x="108572" y="20155"/>
                  <a:pt x="99781" y="21648"/>
                  <a:pt x="98288" y="9872"/>
                </a:cubicBezTo>
                <a:cubicBezTo>
                  <a:pt x="96795" y="-1905"/>
                  <a:pt x="65115" y="-3896"/>
                  <a:pt x="52674" y="7384"/>
                </a:cubicBezTo>
                <a:cubicBezTo>
                  <a:pt x="47533" y="11232"/>
                  <a:pt x="41163" y="13056"/>
                  <a:pt x="34760" y="12526"/>
                </a:cubicBezTo>
                <a:cubicBezTo>
                  <a:pt x="31941" y="31435"/>
                  <a:pt x="29287" y="55817"/>
                  <a:pt x="34429" y="6377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3" name="Freeform: Shape 452">
            <a:extLst>
              <a:ext uri="{FF2B5EF4-FFF2-40B4-BE49-F238E27FC236}">
                <a16:creationId xmlns:a16="http://schemas.microsoft.com/office/drawing/2014/main" id="{901E1985-FC27-4889-8AA4-3A142A613E39}"/>
              </a:ext>
            </a:extLst>
          </p:cNvPr>
          <p:cNvSpPr/>
          <p:nvPr/>
        </p:nvSpPr>
        <p:spPr>
          <a:xfrm>
            <a:off x="5101617" y="3657165"/>
            <a:ext cx="548138" cy="516982"/>
          </a:xfrm>
          <a:custGeom>
            <a:avLst/>
            <a:gdLst>
              <a:gd name="connsiteX0" fmla="*/ 236347 w 691338"/>
              <a:gd name="connsiteY0" fmla="*/ 125794 h 664800"/>
              <a:gd name="connsiteX1" fmla="*/ 238504 w 691338"/>
              <a:gd name="connsiteY1" fmla="*/ 156148 h 664800"/>
              <a:gd name="connsiteX2" fmla="*/ 251607 w 691338"/>
              <a:gd name="connsiteY2" fmla="*/ 178872 h 664800"/>
              <a:gd name="connsiteX3" fmla="*/ 243977 w 691338"/>
              <a:gd name="connsiteY3" fmla="*/ 191810 h 664800"/>
              <a:gd name="connsiteX4" fmla="*/ 195212 w 691338"/>
              <a:gd name="connsiteY4" fmla="*/ 193966 h 664800"/>
              <a:gd name="connsiteX5" fmla="*/ 175806 w 691338"/>
              <a:gd name="connsiteY5" fmla="*/ 205909 h 664800"/>
              <a:gd name="connsiteX6" fmla="*/ 164858 w 691338"/>
              <a:gd name="connsiteY6" fmla="*/ 214534 h 664800"/>
              <a:gd name="connsiteX7" fmla="*/ 160545 w 691338"/>
              <a:gd name="connsiteY7" fmla="*/ 235267 h 664800"/>
              <a:gd name="connsiteX8" fmla="*/ 145451 w 691338"/>
              <a:gd name="connsiteY8" fmla="*/ 244888 h 664800"/>
              <a:gd name="connsiteX9" fmla="*/ 120571 w 691338"/>
              <a:gd name="connsiteY9" fmla="*/ 253513 h 664800"/>
              <a:gd name="connsiteX10" fmla="*/ 103984 w 691338"/>
              <a:gd name="connsiteY10" fmla="*/ 273085 h 664800"/>
              <a:gd name="connsiteX11" fmla="*/ 74791 w 691338"/>
              <a:gd name="connsiteY11" fmla="*/ 279554 h 664800"/>
              <a:gd name="connsiteX12" fmla="*/ 53063 w 691338"/>
              <a:gd name="connsiteY12" fmla="*/ 286023 h 664800"/>
              <a:gd name="connsiteX13" fmla="*/ -15 w 691338"/>
              <a:gd name="connsiteY13" fmla="*/ 320690 h 664800"/>
              <a:gd name="connsiteX14" fmla="*/ 814 w 691338"/>
              <a:gd name="connsiteY14" fmla="*/ 366138 h 664800"/>
              <a:gd name="connsiteX15" fmla="*/ 7283 w 691338"/>
              <a:gd name="connsiteY15" fmla="*/ 372109 h 664800"/>
              <a:gd name="connsiteX16" fmla="*/ 329731 w 691338"/>
              <a:gd name="connsiteY16" fmla="*/ 587738 h 664800"/>
              <a:gd name="connsiteX17" fmla="*/ 350796 w 691338"/>
              <a:gd name="connsiteY17" fmla="*/ 618092 h 664800"/>
              <a:gd name="connsiteX18" fmla="*/ 388117 w 691338"/>
              <a:gd name="connsiteY18" fmla="*/ 629702 h 664800"/>
              <a:gd name="connsiteX19" fmla="*/ 404704 w 691338"/>
              <a:gd name="connsiteY19" fmla="*/ 664701 h 664800"/>
              <a:gd name="connsiteX20" fmla="*/ 437877 w 691338"/>
              <a:gd name="connsiteY20" fmla="*/ 657734 h 664800"/>
              <a:gd name="connsiteX21" fmla="*/ 489297 w 691338"/>
              <a:gd name="connsiteY21" fmla="*/ 641147 h 664800"/>
              <a:gd name="connsiteX22" fmla="*/ 550004 w 691338"/>
              <a:gd name="connsiteY22" fmla="*/ 592216 h 664800"/>
              <a:gd name="connsiteX23" fmla="*/ 691324 w 691338"/>
              <a:gd name="connsiteY23" fmla="*/ 502316 h 664800"/>
              <a:gd name="connsiteX24" fmla="*/ 691324 w 691338"/>
              <a:gd name="connsiteY24" fmla="*/ 502316 h 664800"/>
              <a:gd name="connsiteX25" fmla="*/ 674737 w 691338"/>
              <a:gd name="connsiteY25" fmla="*/ 474118 h 664800"/>
              <a:gd name="connsiteX26" fmla="*/ 650355 w 691338"/>
              <a:gd name="connsiteY26" fmla="*/ 466654 h 664800"/>
              <a:gd name="connsiteX27" fmla="*/ 626967 w 691338"/>
              <a:gd name="connsiteY27" fmla="*/ 453219 h 664800"/>
              <a:gd name="connsiteX28" fmla="*/ 623318 w 691338"/>
              <a:gd name="connsiteY28" fmla="*/ 427509 h 664800"/>
              <a:gd name="connsiteX29" fmla="*/ 608556 w 691338"/>
              <a:gd name="connsiteY29" fmla="*/ 406610 h 664800"/>
              <a:gd name="connsiteX30" fmla="*/ 622986 w 691338"/>
              <a:gd name="connsiteY30" fmla="*/ 390023 h 664800"/>
              <a:gd name="connsiteX31" fmla="*/ 618176 w 691338"/>
              <a:gd name="connsiteY31" fmla="*/ 374763 h 664800"/>
              <a:gd name="connsiteX32" fmla="*/ 618176 w 691338"/>
              <a:gd name="connsiteY32" fmla="*/ 354195 h 664800"/>
              <a:gd name="connsiteX33" fmla="*/ 620498 w 691338"/>
              <a:gd name="connsiteY33" fmla="*/ 331637 h 664800"/>
              <a:gd name="connsiteX34" fmla="*/ 621494 w 691338"/>
              <a:gd name="connsiteY34" fmla="*/ 296639 h 664800"/>
              <a:gd name="connsiteX35" fmla="*/ 606400 w 691338"/>
              <a:gd name="connsiteY35" fmla="*/ 266285 h 664800"/>
              <a:gd name="connsiteX36" fmla="*/ 613698 w 691338"/>
              <a:gd name="connsiteY36" fmla="*/ 259319 h 664800"/>
              <a:gd name="connsiteX37" fmla="*/ 610712 w 691338"/>
              <a:gd name="connsiteY37" fmla="*/ 250528 h 664800"/>
              <a:gd name="connsiteX38" fmla="*/ 594955 w 691338"/>
              <a:gd name="connsiteY38" fmla="*/ 191478 h 664800"/>
              <a:gd name="connsiteX39" fmla="*/ 569411 w 691338"/>
              <a:gd name="connsiteY39" fmla="*/ 171906 h 664800"/>
              <a:gd name="connsiteX40" fmla="*/ 555809 w 691338"/>
              <a:gd name="connsiteY40" fmla="*/ 150343 h 664800"/>
              <a:gd name="connsiteX41" fmla="*/ 542043 w 691338"/>
              <a:gd name="connsiteY41" fmla="*/ 114847 h 664800"/>
              <a:gd name="connsiteX42" fmla="*/ 563605 w 691338"/>
              <a:gd name="connsiteY42" fmla="*/ 93284 h 664800"/>
              <a:gd name="connsiteX43" fmla="*/ 573392 w 691338"/>
              <a:gd name="connsiteY43" fmla="*/ 57954 h 664800"/>
              <a:gd name="connsiteX44" fmla="*/ 573392 w 691338"/>
              <a:gd name="connsiteY44" fmla="*/ 6038 h 664800"/>
              <a:gd name="connsiteX45" fmla="*/ 542209 w 691338"/>
              <a:gd name="connsiteY45" fmla="*/ -100 h 664800"/>
              <a:gd name="connsiteX46" fmla="*/ 509035 w 691338"/>
              <a:gd name="connsiteY46" fmla="*/ 3384 h 664800"/>
              <a:gd name="connsiteX47" fmla="*/ 462924 w 691338"/>
              <a:gd name="connsiteY47" fmla="*/ 12672 h 664800"/>
              <a:gd name="connsiteX48" fmla="*/ 338025 w 691338"/>
              <a:gd name="connsiteY48" fmla="*/ 20136 h 664800"/>
              <a:gd name="connsiteX49" fmla="*/ 286439 w 691338"/>
              <a:gd name="connsiteY49" fmla="*/ 47670 h 664800"/>
              <a:gd name="connsiteX50" fmla="*/ 234357 w 691338"/>
              <a:gd name="connsiteY50" fmla="*/ 74541 h 664800"/>
              <a:gd name="connsiteX51" fmla="*/ 221917 w 691338"/>
              <a:gd name="connsiteY51" fmla="*/ 80181 h 664800"/>
              <a:gd name="connsiteX52" fmla="*/ 227390 w 691338"/>
              <a:gd name="connsiteY52" fmla="*/ 90465 h 664800"/>
              <a:gd name="connsiteX53" fmla="*/ 236347 w 691338"/>
              <a:gd name="connsiteY53" fmla="*/ 125794 h 66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91338" h="664800">
                <a:moveTo>
                  <a:pt x="236347" y="125794"/>
                </a:moveTo>
                <a:cubicBezTo>
                  <a:pt x="236347" y="138732"/>
                  <a:pt x="232035" y="154987"/>
                  <a:pt x="238504" y="156148"/>
                </a:cubicBezTo>
                <a:cubicBezTo>
                  <a:pt x="244972" y="157310"/>
                  <a:pt x="250446" y="172735"/>
                  <a:pt x="251607" y="178872"/>
                </a:cubicBezTo>
                <a:cubicBezTo>
                  <a:pt x="252768" y="185009"/>
                  <a:pt x="250446" y="191810"/>
                  <a:pt x="243977" y="191810"/>
                </a:cubicBezTo>
                <a:cubicBezTo>
                  <a:pt x="237509" y="191810"/>
                  <a:pt x="195212" y="187497"/>
                  <a:pt x="195212" y="193966"/>
                </a:cubicBezTo>
                <a:cubicBezTo>
                  <a:pt x="195212" y="200435"/>
                  <a:pt x="185426" y="205909"/>
                  <a:pt x="175806" y="205909"/>
                </a:cubicBezTo>
                <a:cubicBezTo>
                  <a:pt x="166185" y="205909"/>
                  <a:pt x="166019" y="203753"/>
                  <a:pt x="164858" y="214534"/>
                </a:cubicBezTo>
                <a:cubicBezTo>
                  <a:pt x="163697" y="225315"/>
                  <a:pt x="167015" y="235267"/>
                  <a:pt x="160545" y="235267"/>
                </a:cubicBezTo>
                <a:cubicBezTo>
                  <a:pt x="154076" y="235267"/>
                  <a:pt x="155238" y="243893"/>
                  <a:pt x="145451" y="244888"/>
                </a:cubicBezTo>
                <a:cubicBezTo>
                  <a:pt x="135665" y="245883"/>
                  <a:pt x="120571" y="243893"/>
                  <a:pt x="120571" y="253513"/>
                </a:cubicBezTo>
                <a:cubicBezTo>
                  <a:pt x="120538" y="263200"/>
                  <a:pt x="113538" y="271477"/>
                  <a:pt x="103984" y="273085"/>
                </a:cubicBezTo>
                <a:cubicBezTo>
                  <a:pt x="93203" y="275242"/>
                  <a:pt x="74791" y="270929"/>
                  <a:pt x="74791" y="279554"/>
                </a:cubicBezTo>
                <a:cubicBezTo>
                  <a:pt x="74791" y="288179"/>
                  <a:pt x="60693" y="281711"/>
                  <a:pt x="53063" y="286023"/>
                </a:cubicBezTo>
                <a:cubicBezTo>
                  <a:pt x="34469" y="296125"/>
                  <a:pt x="16721" y="307719"/>
                  <a:pt x="-15" y="320690"/>
                </a:cubicBezTo>
                <a:cubicBezTo>
                  <a:pt x="-15" y="322846"/>
                  <a:pt x="-15" y="344409"/>
                  <a:pt x="814" y="366138"/>
                </a:cubicBezTo>
                <a:cubicBezTo>
                  <a:pt x="2473" y="368609"/>
                  <a:pt x="4696" y="370649"/>
                  <a:pt x="7283" y="372109"/>
                </a:cubicBezTo>
                <a:cubicBezTo>
                  <a:pt x="23870" y="381397"/>
                  <a:pt x="320443" y="577620"/>
                  <a:pt x="329731" y="587738"/>
                </a:cubicBezTo>
                <a:cubicBezTo>
                  <a:pt x="337759" y="597109"/>
                  <a:pt x="344825" y="607294"/>
                  <a:pt x="350796" y="618092"/>
                </a:cubicBezTo>
                <a:cubicBezTo>
                  <a:pt x="363817" y="619750"/>
                  <a:pt x="376456" y="623681"/>
                  <a:pt x="388117" y="629702"/>
                </a:cubicBezTo>
                <a:cubicBezTo>
                  <a:pt x="398749" y="638195"/>
                  <a:pt x="404870" y="651099"/>
                  <a:pt x="404704" y="664701"/>
                </a:cubicBezTo>
                <a:cubicBezTo>
                  <a:pt x="404704" y="664701"/>
                  <a:pt x="425603" y="660056"/>
                  <a:pt x="437877" y="657734"/>
                </a:cubicBezTo>
                <a:cubicBezTo>
                  <a:pt x="450151" y="655412"/>
                  <a:pt x="489297" y="641147"/>
                  <a:pt x="489297" y="641147"/>
                </a:cubicBezTo>
                <a:lnTo>
                  <a:pt x="550004" y="592216"/>
                </a:lnTo>
                <a:lnTo>
                  <a:pt x="691324" y="502316"/>
                </a:lnTo>
                <a:lnTo>
                  <a:pt x="691324" y="502316"/>
                </a:lnTo>
                <a:cubicBezTo>
                  <a:pt x="687011" y="486724"/>
                  <a:pt x="682201" y="474118"/>
                  <a:pt x="674737" y="474118"/>
                </a:cubicBezTo>
                <a:cubicBezTo>
                  <a:pt x="667273" y="474118"/>
                  <a:pt x="660141" y="466654"/>
                  <a:pt x="650355" y="466654"/>
                </a:cubicBezTo>
                <a:cubicBezTo>
                  <a:pt x="640568" y="466654"/>
                  <a:pt x="628294" y="461844"/>
                  <a:pt x="626967" y="453219"/>
                </a:cubicBezTo>
                <a:cubicBezTo>
                  <a:pt x="625640" y="444593"/>
                  <a:pt x="630616" y="438456"/>
                  <a:pt x="623318" y="427509"/>
                </a:cubicBezTo>
                <a:cubicBezTo>
                  <a:pt x="616020" y="416561"/>
                  <a:pt x="608556" y="410922"/>
                  <a:pt x="608556" y="406610"/>
                </a:cubicBezTo>
                <a:cubicBezTo>
                  <a:pt x="608556" y="402297"/>
                  <a:pt x="621162" y="392179"/>
                  <a:pt x="622986" y="390023"/>
                </a:cubicBezTo>
                <a:cubicBezTo>
                  <a:pt x="624811" y="387866"/>
                  <a:pt x="618176" y="380237"/>
                  <a:pt x="618176" y="374763"/>
                </a:cubicBezTo>
                <a:cubicBezTo>
                  <a:pt x="618176" y="369289"/>
                  <a:pt x="613200" y="360001"/>
                  <a:pt x="618176" y="354195"/>
                </a:cubicBezTo>
                <a:cubicBezTo>
                  <a:pt x="624280" y="348208"/>
                  <a:pt x="625259" y="338736"/>
                  <a:pt x="620498" y="331637"/>
                </a:cubicBezTo>
                <a:cubicBezTo>
                  <a:pt x="615191" y="320856"/>
                  <a:pt x="627962" y="310903"/>
                  <a:pt x="621494" y="296639"/>
                </a:cubicBezTo>
                <a:cubicBezTo>
                  <a:pt x="615024" y="282374"/>
                  <a:pt x="604907" y="271095"/>
                  <a:pt x="606400" y="266285"/>
                </a:cubicBezTo>
                <a:cubicBezTo>
                  <a:pt x="606400" y="264129"/>
                  <a:pt x="609883" y="261806"/>
                  <a:pt x="613698" y="259319"/>
                </a:cubicBezTo>
                <a:cubicBezTo>
                  <a:pt x="611740" y="256814"/>
                  <a:pt x="610679" y="253712"/>
                  <a:pt x="610712" y="250528"/>
                </a:cubicBezTo>
                <a:cubicBezTo>
                  <a:pt x="609020" y="230059"/>
                  <a:pt x="603679" y="210072"/>
                  <a:pt x="594955" y="191478"/>
                </a:cubicBezTo>
                <a:cubicBezTo>
                  <a:pt x="589149" y="183683"/>
                  <a:pt x="569411" y="177711"/>
                  <a:pt x="569411" y="171906"/>
                </a:cubicBezTo>
                <a:cubicBezTo>
                  <a:pt x="570538" y="162401"/>
                  <a:pt x="564866" y="153411"/>
                  <a:pt x="555809" y="150343"/>
                </a:cubicBezTo>
                <a:cubicBezTo>
                  <a:pt x="542043" y="144372"/>
                  <a:pt x="534081" y="114847"/>
                  <a:pt x="542043" y="114847"/>
                </a:cubicBezTo>
                <a:cubicBezTo>
                  <a:pt x="550004" y="114847"/>
                  <a:pt x="555809" y="97265"/>
                  <a:pt x="563605" y="93284"/>
                </a:cubicBezTo>
                <a:cubicBezTo>
                  <a:pt x="574835" y="85323"/>
                  <a:pt x="578915" y="70560"/>
                  <a:pt x="573392" y="57954"/>
                </a:cubicBezTo>
                <a:cubicBezTo>
                  <a:pt x="568250" y="49993"/>
                  <a:pt x="570903" y="25610"/>
                  <a:pt x="573392" y="6038"/>
                </a:cubicBezTo>
                <a:cubicBezTo>
                  <a:pt x="562743" y="5573"/>
                  <a:pt x="552227" y="3500"/>
                  <a:pt x="542209" y="-100"/>
                </a:cubicBezTo>
                <a:cubicBezTo>
                  <a:pt x="531078" y="116"/>
                  <a:pt x="519966" y="1277"/>
                  <a:pt x="509035" y="3384"/>
                </a:cubicBezTo>
                <a:cubicBezTo>
                  <a:pt x="498253" y="3384"/>
                  <a:pt x="471715" y="21132"/>
                  <a:pt x="462924" y="12672"/>
                </a:cubicBezTo>
                <a:cubicBezTo>
                  <a:pt x="454133" y="4213"/>
                  <a:pt x="363403" y="19141"/>
                  <a:pt x="338025" y="20136"/>
                </a:cubicBezTo>
                <a:cubicBezTo>
                  <a:pt x="312647" y="21132"/>
                  <a:pt x="301700" y="47670"/>
                  <a:pt x="286439" y="47670"/>
                </a:cubicBezTo>
                <a:cubicBezTo>
                  <a:pt x="266485" y="50308"/>
                  <a:pt x="248074" y="59795"/>
                  <a:pt x="234357" y="74541"/>
                </a:cubicBezTo>
                <a:cubicBezTo>
                  <a:pt x="231321" y="78257"/>
                  <a:pt x="226711" y="80346"/>
                  <a:pt x="221917" y="80181"/>
                </a:cubicBezTo>
                <a:cubicBezTo>
                  <a:pt x="223376" y="83797"/>
                  <a:pt x="225217" y="87230"/>
                  <a:pt x="227390" y="90465"/>
                </a:cubicBezTo>
                <a:cubicBezTo>
                  <a:pt x="234307" y="100881"/>
                  <a:pt x="237475" y="113338"/>
                  <a:pt x="236347" y="12579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4" name="Freeform: Shape 453">
            <a:extLst>
              <a:ext uri="{FF2B5EF4-FFF2-40B4-BE49-F238E27FC236}">
                <a16:creationId xmlns:a16="http://schemas.microsoft.com/office/drawing/2014/main" id="{4321D693-8667-420C-AE83-1F04CB030099}"/>
              </a:ext>
            </a:extLst>
          </p:cNvPr>
          <p:cNvSpPr/>
          <p:nvPr/>
        </p:nvSpPr>
        <p:spPr>
          <a:xfrm>
            <a:off x="5582235" y="3776737"/>
            <a:ext cx="398272" cy="377803"/>
          </a:xfrm>
          <a:custGeom>
            <a:avLst/>
            <a:gdLst>
              <a:gd name="connsiteX0" fmla="*/ 55455 w 502319"/>
              <a:gd name="connsiteY0" fmla="*/ 28595 h 485827"/>
              <a:gd name="connsiteX1" fmla="*/ 29912 w 502319"/>
              <a:gd name="connsiteY1" fmla="*/ 52646 h 485827"/>
              <a:gd name="connsiteX2" fmla="*/ 27092 w 502319"/>
              <a:gd name="connsiteY2" fmla="*/ 67409 h 485827"/>
              <a:gd name="connsiteX3" fmla="*/ 21121 w 502319"/>
              <a:gd name="connsiteY3" fmla="*/ 93948 h 485827"/>
              <a:gd name="connsiteX4" fmla="*/ 55 w 502319"/>
              <a:gd name="connsiteY4" fmla="*/ 113188 h 485827"/>
              <a:gd name="connsiteX5" fmla="*/ 15149 w 502319"/>
              <a:gd name="connsiteY5" fmla="*/ 143543 h 485827"/>
              <a:gd name="connsiteX6" fmla="*/ 14154 w 502319"/>
              <a:gd name="connsiteY6" fmla="*/ 178540 h 485827"/>
              <a:gd name="connsiteX7" fmla="*/ 11832 w 502319"/>
              <a:gd name="connsiteY7" fmla="*/ 201098 h 485827"/>
              <a:gd name="connsiteX8" fmla="*/ 11832 w 502319"/>
              <a:gd name="connsiteY8" fmla="*/ 221666 h 485827"/>
              <a:gd name="connsiteX9" fmla="*/ 16642 w 502319"/>
              <a:gd name="connsiteY9" fmla="*/ 236926 h 485827"/>
              <a:gd name="connsiteX10" fmla="*/ 2212 w 502319"/>
              <a:gd name="connsiteY10" fmla="*/ 253513 h 485827"/>
              <a:gd name="connsiteX11" fmla="*/ 16974 w 502319"/>
              <a:gd name="connsiteY11" fmla="*/ 274412 h 485827"/>
              <a:gd name="connsiteX12" fmla="*/ 20623 w 502319"/>
              <a:gd name="connsiteY12" fmla="*/ 300122 h 485827"/>
              <a:gd name="connsiteX13" fmla="*/ 44010 w 502319"/>
              <a:gd name="connsiteY13" fmla="*/ 313558 h 485827"/>
              <a:gd name="connsiteX14" fmla="*/ 68393 w 502319"/>
              <a:gd name="connsiteY14" fmla="*/ 321021 h 485827"/>
              <a:gd name="connsiteX15" fmla="*/ 84980 w 502319"/>
              <a:gd name="connsiteY15" fmla="*/ 349219 h 485827"/>
              <a:gd name="connsiteX16" fmla="*/ 133745 w 502319"/>
              <a:gd name="connsiteY16" fmla="*/ 358673 h 485827"/>
              <a:gd name="connsiteX17" fmla="*/ 154811 w 502319"/>
              <a:gd name="connsiteY17" fmla="*/ 379739 h 485827"/>
              <a:gd name="connsiteX18" fmla="*/ 210874 w 502319"/>
              <a:gd name="connsiteY18" fmla="*/ 349219 h 485827"/>
              <a:gd name="connsiteX19" fmla="*/ 464487 w 502319"/>
              <a:gd name="connsiteY19" fmla="*/ 485728 h 485827"/>
              <a:gd name="connsiteX20" fmla="*/ 464487 w 502319"/>
              <a:gd name="connsiteY20" fmla="*/ 467981 h 485827"/>
              <a:gd name="connsiteX21" fmla="*/ 495172 w 502319"/>
              <a:gd name="connsiteY21" fmla="*/ 467981 h 485827"/>
              <a:gd name="connsiteX22" fmla="*/ 495172 w 502319"/>
              <a:gd name="connsiteY22" fmla="*/ 142049 h 485827"/>
              <a:gd name="connsiteX23" fmla="*/ 495172 w 502319"/>
              <a:gd name="connsiteY23" fmla="*/ 92289 h 485827"/>
              <a:gd name="connsiteX24" fmla="*/ 499319 w 502319"/>
              <a:gd name="connsiteY24" fmla="*/ 51319 h 485827"/>
              <a:gd name="connsiteX25" fmla="*/ 502305 w 502319"/>
              <a:gd name="connsiteY25" fmla="*/ 43026 h 485827"/>
              <a:gd name="connsiteX26" fmla="*/ 501475 w 502319"/>
              <a:gd name="connsiteY26" fmla="*/ 41699 h 485827"/>
              <a:gd name="connsiteX27" fmla="*/ 456691 w 502319"/>
              <a:gd name="connsiteY27" fmla="*/ 29923 h 485827"/>
              <a:gd name="connsiteX28" fmla="*/ 406101 w 502319"/>
              <a:gd name="connsiteY28" fmla="*/ 3881 h 485827"/>
              <a:gd name="connsiteX29" fmla="*/ 331958 w 502319"/>
              <a:gd name="connsiteY29" fmla="*/ 41699 h 485827"/>
              <a:gd name="connsiteX30" fmla="*/ 336271 w 502319"/>
              <a:gd name="connsiteY30" fmla="*/ 84991 h 485827"/>
              <a:gd name="connsiteX31" fmla="*/ 287041 w 502319"/>
              <a:gd name="connsiteY31" fmla="*/ 86848 h 485827"/>
              <a:gd name="connsiteX32" fmla="*/ 285183 w 502319"/>
              <a:gd name="connsiteY32" fmla="*/ 84991 h 485827"/>
              <a:gd name="connsiteX33" fmla="*/ 223812 w 502319"/>
              <a:gd name="connsiteY33" fmla="*/ 62764 h 485827"/>
              <a:gd name="connsiteX34" fmla="*/ 190638 w 502319"/>
              <a:gd name="connsiteY34" fmla="*/ 39211 h 485827"/>
              <a:gd name="connsiteX35" fmla="*/ 169075 w 502319"/>
              <a:gd name="connsiteY35" fmla="*/ 20136 h 485827"/>
              <a:gd name="connsiteX36" fmla="*/ 108533 w 502319"/>
              <a:gd name="connsiteY36" fmla="*/ 7862 h 485827"/>
              <a:gd name="connsiteX37" fmla="*/ 70218 w 502319"/>
              <a:gd name="connsiteY37" fmla="*/ -100 h 485827"/>
              <a:gd name="connsiteX38" fmla="*/ 69223 w 502319"/>
              <a:gd name="connsiteY38" fmla="*/ 16487 h 485827"/>
              <a:gd name="connsiteX39" fmla="*/ 55455 w 502319"/>
              <a:gd name="connsiteY39" fmla="*/ 28595 h 485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2319" h="485827">
                <a:moveTo>
                  <a:pt x="55455" y="28595"/>
                </a:moveTo>
                <a:cubicBezTo>
                  <a:pt x="52138" y="30088"/>
                  <a:pt x="34390" y="48831"/>
                  <a:pt x="29912" y="52646"/>
                </a:cubicBezTo>
                <a:cubicBezTo>
                  <a:pt x="26014" y="56511"/>
                  <a:pt x="24886" y="62383"/>
                  <a:pt x="27092" y="67409"/>
                </a:cubicBezTo>
                <a:cubicBezTo>
                  <a:pt x="27739" y="76647"/>
                  <a:pt x="25666" y="85870"/>
                  <a:pt x="21121" y="93948"/>
                </a:cubicBezTo>
                <a:cubicBezTo>
                  <a:pt x="16642" y="102407"/>
                  <a:pt x="1051" y="108212"/>
                  <a:pt x="55" y="113188"/>
                </a:cubicBezTo>
                <a:cubicBezTo>
                  <a:pt x="-940" y="118164"/>
                  <a:pt x="8846" y="129775"/>
                  <a:pt x="15149" y="143543"/>
                </a:cubicBezTo>
                <a:cubicBezTo>
                  <a:pt x="21453" y="157309"/>
                  <a:pt x="8846" y="167759"/>
                  <a:pt x="14154" y="178540"/>
                </a:cubicBezTo>
                <a:cubicBezTo>
                  <a:pt x="18915" y="185640"/>
                  <a:pt x="17936" y="195111"/>
                  <a:pt x="11832" y="201098"/>
                </a:cubicBezTo>
                <a:cubicBezTo>
                  <a:pt x="6856" y="206904"/>
                  <a:pt x="11832" y="216358"/>
                  <a:pt x="11832" y="221666"/>
                </a:cubicBezTo>
                <a:cubicBezTo>
                  <a:pt x="11832" y="226974"/>
                  <a:pt x="18633" y="234936"/>
                  <a:pt x="16642" y="236926"/>
                </a:cubicBezTo>
                <a:cubicBezTo>
                  <a:pt x="14652" y="238917"/>
                  <a:pt x="2212" y="248537"/>
                  <a:pt x="2212" y="253513"/>
                </a:cubicBezTo>
                <a:cubicBezTo>
                  <a:pt x="2212" y="258489"/>
                  <a:pt x="9676" y="263299"/>
                  <a:pt x="16974" y="274412"/>
                </a:cubicBezTo>
                <a:cubicBezTo>
                  <a:pt x="24272" y="285526"/>
                  <a:pt x="19462" y="290999"/>
                  <a:pt x="20623" y="300122"/>
                </a:cubicBezTo>
                <a:cubicBezTo>
                  <a:pt x="21784" y="309245"/>
                  <a:pt x="34224" y="313558"/>
                  <a:pt x="44010" y="313558"/>
                </a:cubicBezTo>
                <a:cubicBezTo>
                  <a:pt x="53797" y="313558"/>
                  <a:pt x="60597" y="321021"/>
                  <a:pt x="68393" y="321021"/>
                </a:cubicBezTo>
                <a:cubicBezTo>
                  <a:pt x="76189" y="321021"/>
                  <a:pt x="80833" y="333627"/>
                  <a:pt x="84980" y="349219"/>
                </a:cubicBezTo>
                <a:cubicBezTo>
                  <a:pt x="101716" y="348987"/>
                  <a:pt x="118320" y="352205"/>
                  <a:pt x="133745" y="358673"/>
                </a:cubicBezTo>
                <a:cubicBezTo>
                  <a:pt x="142089" y="364230"/>
                  <a:pt x="149254" y="371396"/>
                  <a:pt x="154811" y="379739"/>
                </a:cubicBezTo>
                <a:lnTo>
                  <a:pt x="210874" y="349219"/>
                </a:lnTo>
                <a:lnTo>
                  <a:pt x="464487" y="485728"/>
                </a:lnTo>
                <a:lnTo>
                  <a:pt x="464487" y="467981"/>
                </a:lnTo>
                <a:lnTo>
                  <a:pt x="495172" y="467981"/>
                </a:lnTo>
                <a:lnTo>
                  <a:pt x="495172" y="142049"/>
                </a:lnTo>
                <a:cubicBezTo>
                  <a:pt x="495172" y="119657"/>
                  <a:pt x="485054" y="105226"/>
                  <a:pt x="495172" y="92289"/>
                </a:cubicBezTo>
                <a:cubicBezTo>
                  <a:pt x="505290" y="79351"/>
                  <a:pt x="491192" y="73878"/>
                  <a:pt x="499319" y="51319"/>
                </a:cubicBezTo>
                <a:lnTo>
                  <a:pt x="502305" y="43026"/>
                </a:lnTo>
                <a:cubicBezTo>
                  <a:pt x="502305" y="43026"/>
                  <a:pt x="502305" y="42197"/>
                  <a:pt x="501475" y="41699"/>
                </a:cubicBezTo>
                <a:cubicBezTo>
                  <a:pt x="498988" y="34898"/>
                  <a:pt x="485718" y="34401"/>
                  <a:pt x="456691" y="29923"/>
                </a:cubicBezTo>
                <a:cubicBezTo>
                  <a:pt x="427664" y="25444"/>
                  <a:pt x="438611" y="5871"/>
                  <a:pt x="406101" y="3881"/>
                </a:cubicBezTo>
                <a:cubicBezTo>
                  <a:pt x="373591" y="1891"/>
                  <a:pt x="332456" y="27932"/>
                  <a:pt x="331958" y="41699"/>
                </a:cubicBezTo>
                <a:cubicBezTo>
                  <a:pt x="331460" y="55466"/>
                  <a:pt x="347218" y="70726"/>
                  <a:pt x="336271" y="84991"/>
                </a:cubicBezTo>
                <a:cubicBezTo>
                  <a:pt x="323200" y="99106"/>
                  <a:pt x="301156" y="99935"/>
                  <a:pt x="287041" y="86848"/>
                </a:cubicBezTo>
                <a:cubicBezTo>
                  <a:pt x="286394" y="86251"/>
                  <a:pt x="285780" y="85637"/>
                  <a:pt x="285183" y="84991"/>
                </a:cubicBezTo>
                <a:cubicBezTo>
                  <a:pt x="268032" y="70494"/>
                  <a:pt x="246270" y="62615"/>
                  <a:pt x="223812" y="62764"/>
                </a:cubicBezTo>
                <a:cubicBezTo>
                  <a:pt x="203742" y="62764"/>
                  <a:pt x="189477" y="50159"/>
                  <a:pt x="190638" y="39211"/>
                </a:cubicBezTo>
                <a:cubicBezTo>
                  <a:pt x="191799" y="28264"/>
                  <a:pt x="185662" y="23453"/>
                  <a:pt x="169075" y="20136"/>
                </a:cubicBezTo>
                <a:cubicBezTo>
                  <a:pt x="152488" y="16819"/>
                  <a:pt x="138058" y="3550"/>
                  <a:pt x="108533" y="7862"/>
                </a:cubicBezTo>
                <a:cubicBezTo>
                  <a:pt x="95214" y="10035"/>
                  <a:pt x="81563" y="7199"/>
                  <a:pt x="70218" y="-100"/>
                </a:cubicBezTo>
                <a:cubicBezTo>
                  <a:pt x="69554" y="5407"/>
                  <a:pt x="69223" y="10947"/>
                  <a:pt x="69223" y="16487"/>
                </a:cubicBezTo>
                <a:cubicBezTo>
                  <a:pt x="70218" y="29093"/>
                  <a:pt x="58939" y="27103"/>
                  <a:pt x="55455" y="28595"/>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5" name="Freeform: Shape 454">
            <a:extLst>
              <a:ext uri="{FF2B5EF4-FFF2-40B4-BE49-F238E27FC236}">
                <a16:creationId xmlns:a16="http://schemas.microsoft.com/office/drawing/2014/main" id="{A0BAF1DA-BAEA-42B1-94C7-FC5F4549F3E4}"/>
              </a:ext>
            </a:extLst>
          </p:cNvPr>
          <p:cNvSpPr/>
          <p:nvPr/>
        </p:nvSpPr>
        <p:spPr>
          <a:xfrm>
            <a:off x="4879827" y="4236202"/>
            <a:ext cx="150110" cy="115214"/>
          </a:xfrm>
          <a:custGeom>
            <a:avLst/>
            <a:gdLst>
              <a:gd name="connsiteX0" fmla="*/ 37550 w 189326"/>
              <a:gd name="connsiteY0" fmla="*/ 144521 h 148156"/>
              <a:gd name="connsiteX1" fmla="*/ 56127 w 189326"/>
              <a:gd name="connsiteY1" fmla="*/ 137057 h 148156"/>
              <a:gd name="connsiteX2" fmla="*/ 104561 w 189326"/>
              <a:gd name="connsiteY2" fmla="*/ 133408 h 148156"/>
              <a:gd name="connsiteX3" fmla="*/ 113020 w 189326"/>
              <a:gd name="connsiteY3" fmla="*/ 135564 h 148156"/>
              <a:gd name="connsiteX4" fmla="*/ 113020 w 189326"/>
              <a:gd name="connsiteY4" fmla="*/ 132578 h 148156"/>
              <a:gd name="connsiteX5" fmla="*/ 136739 w 189326"/>
              <a:gd name="connsiteY5" fmla="*/ 142033 h 148156"/>
              <a:gd name="connsiteX6" fmla="*/ 185339 w 189326"/>
              <a:gd name="connsiteY6" fmla="*/ 145019 h 148156"/>
              <a:gd name="connsiteX7" fmla="*/ 188988 w 189326"/>
              <a:gd name="connsiteY7" fmla="*/ 143691 h 148156"/>
              <a:gd name="connsiteX8" fmla="*/ 188988 w 189326"/>
              <a:gd name="connsiteY8" fmla="*/ 122626 h 148156"/>
              <a:gd name="connsiteX9" fmla="*/ 171240 w 189326"/>
              <a:gd name="connsiteY9" fmla="*/ 101064 h 148156"/>
              <a:gd name="connsiteX10" fmla="*/ 166264 w 189326"/>
              <a:gd name="connsiteY10" fmla="*/ 80496 h 148156"/>
              <a:gd name="connsiteX11" fmla="*/ 160126 w 189326"/>
              <a:gd name="connsiteY11" fmla="*/ 71373 h 148156"/>
              <a:gd name="connsiteX12" fmla="*/ 141549 w 189326"/>
              <a:gd name="connsiteY12" fmla="*/ 47985 h 148156"/>
              <a:gd name="connsiteX13" fmla="*/ 118162 w 189326"/>
              <a:gd name="connsiteY13" fmla="*/ 17632 h 148156"/>
              <a:gd name="connsiteX14" fmla="*/ 106385 w 189326"/>
              <a:gd name="connsiteY14" fmla="*/ 17632 h 148156"/>
              <a:gd name="connsiteX15" fmla="*/ 87808 w 189326"/>
              <a:gd name="connsiteY15" fmla="*/ 1045 h 148156"/>
              <a:gd name="connsiteX16" fmla="*/ 62099 w 189326"/>
              <a:gd name="connsiteY16" fmla="*/ 3533 h 148156"/>
              <a:gd name="connsiteX17" fmla="*/ 31744 w 189326"/>
              <a:gd name="connsiteY17" fmla="*/ 3533 h 148156"/>
              <a:gd name="connsiteX18" fmla="*/ 13001 w 189326"/>
              <a:gd name="connsiteY18" fmla="*/ 20120 h 148156"/>
              <a:gd name="connsiteX19" fmla="*/ 11343 w 189326"/>
              <a:gd name="connsiteY19" fmla="*/ 20120 h 148156"/>
              <a:gd name="connsiteX20" fmla="*/ 3713 w 189326"/>
              <a:gd name="connsiteY20" fmla="*/ 46659 h 148156"/>
              <a:gd name="connsiteX21" fmla="*/ 15987 w 189326"/>
              <a:gd name="connsiteY21" fmla="*/ 93931 h 148156"/>
              <a:gd name="connsiteX22" fmla="*/ 17978 w 189326"/>
              <a:gd name="connsiteY22" fmla="*/ 100068 h 148156"/>
              <a:gd name="connsiteX23" fmla="*/ 59942 w 189326"/>
              <a:gd name="connsiteY23" fmla="*/ 93268 h 148156"/>
              <a:gd name="connsiteX24" fmla="*/ 91789 w 189326"/>
              <a:gd name="connsiteY24" fmla="*/ 106869 h 148156"/>
              <a:gd name="connsiteX25" fmla="*/ 109703 w 189326"/>
              <a:gd name="connsiteY25" fmla="*/ 109357 h 148156"/>
              <a:gd name="connsiteX26" fmla="*/ 89301 w 189326"/>
              <a:gd name="connsiteY26" fmla="*/ 114996 h 148156"/>
              <a:gd name="connsiteX27" fmla="*/ 61269 w 189326"/>
              <a:gd name="connsiteY27" fmla="*/ 107532 h 148156"/>
              <a:gd name="connsiteX28" fmla="*/ 23285 w 189326"/>
              <a:gd name="connsiteY28" fmla="*/ 118148 h 148156"/>
              <a:gd name="connsiteX29" fmla="*/ 13665 w 189326"/>
              <a:gd name="connsiteY29" fmla="*/ 120138 h 148156"/>
              <a:gd name="connsiteX30" fmla="*/ 17480 w 189326"/>
              <a:gd name="connsiteY30" fmla="*/ 135564 h 148156"/>
              <a:gd name="connsiteX31" fmla="*/ 20797 w 189326"/>
              <a:gd name="connsiteY31" fmla="*/ 139545 h 148156"/>
              <a:gd name="connsiteX32" fmla="*/ 37550 w 189326"/>
              <a:gd name="connsiteY32" fmla="*/ 144521 h 14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9326" h="148156">
                <a:moveTo>
                  <a:pt x="37550" y="144521"/>
                </a:moveTo>
                <a:cubicBezTo>
                  <a:pt x="44234" y="143476"/>
                  <a:pt x="50587" y="140921"/>
                  <a:pt x="56127" y="137057"/>
                </a:cubicBezTo>
                <a:lnTo>
                  <a:pt x="104561" y="133408"/>
                </a:lnTo>
                <a:cubicBezTo>
                  <a:pt x="107530" y="133358"/>
                  <a:pt x="110449" y="134104"/>
                  <a:pt x="113020" y="135564"/>
                </a:cubicBezTo>
                <a:cubicBezTo>
                  <a:pt x="113120" y="134569"/>
                  <a:pt x="113120" y="133574"/>
                  <a:pt x="113020" y="132578"/>
                </a:cubicBezTo>
                <a:cubicBezTo>
                  <a:pt x="113020" y="132578"/>
                  <a:pt x="135246" y="136891"/>
                  <a:pt x="136739" y="142033"/>
                </a:cubicBezTo>
                <a:cubicBezTo>
                  <a:pt x="138232" y="147175"/>
                  <a:pt x="168420" y="150990"/>
                  <a:pt x="185339" y="145019"/>
                </a:cubicBezTo>
                <a:lnTo>
                  <a:pt x="188988" y="143691"/>
                </a:lnTo>
                <a:cubicBezTo>
                  <a:pt x="189419" y="136675"/>
                  <a:pt x="189419" y="129643"/>
                  <a:pt x="188988" y="122626"/>
                </a:cubicBezTo>
                <a:cubicBezTo>
                  <a:pt x="184327" y="114482"/>
                  <a:pt x="178339" y="107201"/>
                  <a:pt x="171240" y="101064"/>
                </a:cubicBezTo>
                <a:cubicBezTo>
                  <a:pt x="165269" y="95258"/>
                  <a:pt x="166264" y="80496"/>
                  <a:pt x="166264" y="80496"/>
                </a:cubicBezTo>
                <a:lnTo>
                  <a:pt x="160126" y="71373"/>
                </a:lnTo>
                <a:cubicBezTo>
                  <a:pt x="160126" y="71373"/>
                  <a:pt x="155482" y="52630"/>
                  <a:pt x="141549" y="47985"/>
                </a:cubicBezTo>
                <a:cubicBezTo>
                  <a:pt x="127616" y="43341"/>
                  <a:pt x="118162" y="17632"/>
                  <a:pt x="118162" y="17632"/>
                </a:cubicBezTo>
                <a:lnTo>
                  <a:pt x="106385" y="17632"/>
                </a:lnTo>
                <a:cubicBezTo>
                  <a:pt x="101177" y="11080"/>
                  <a:pt x="94907" y="5474"/>
                  <a:pt x="87808" y="1045"/>
                </a:cubicBezTo>
                <a:cubicBezTo>
                  <a:pt x="79199" y="-1095"/>
                  <a:pt x="70126" y="-216"/>
                  <a:pt x="62099" y="3533"/>
                </a:cubicBezTo>
                <a:cubicBezTo>
                  <a:pt x="52014" y="4793"/>
                  <a:pt x="41829" y="4793"/>
                  <a:pt x="31744" y="3533"/>
                </a:cubicBezTo>
                <a:cubicBezTo>
                  <a:pt x="19968" y="1045"/>
                  <a:pt x="22290" y="17466"/>
                  <a:pt x="13001" y="20120"/>
                </a:cubicBezTo>
                <a:lnTo>
                  <a:pt x="11343" y="20120"/>
                </a:lnTo>
                <a:cubicBezTo>
                  <a:pt x="10878" y="29441"/>
                  <a:pt x="8274" y="38514"/>
                  <a:pt x="3713" y="46659"/>
                </a:cubicBezTo>
                <a:cubicBezTo>
                  <a:pt x="-7069" y="63246"/>
                  <a:pt x="8191" y="86467"/>
                  <a:pt x="15987" y="93931"/>
                </a:cubicBezTo>
                <a:cubicBezTo>
                  <a:pt x="17596" y="95540"/>
                  <a:pt x="18326" y="97829"/>
                  <a:pt x="17978" y="100068"/>
                </a:cubicBezTo>
                <a:cubicBezTo>
                  <a:pt x="32325" y="102374"/>
                  <a:pt x="47054" y="99985"/>
                  <a:pt x="59942" y="93268"/>
                </a:cubicBezTo>
                <a:cubicBezTo>
                  <a:pt x="74373" y="86301"/>
                  <a:pt x="75534" y="105708"/>
                  <a:pt x="91789" y="106869"/>
                </a:cubicBezTo>
                <a:cubicBezTo>
                  <a:pt x="97843" y="106885"/>
                  <a:pt x="103864" y="107731"/>
                  <a:pt x="109703" y="109357"/>
                </a:cubicBezTo>
                <a:cubicBezTo>
                  <a:pt x="103648" y="113304"/>
                  <a:pt x="96516" y="115278"/>
                  <a:pt x="89301" y="114996"/>
                </a:cubicBezTo>
                <a:cubicBezTo>
                  <a:pt x="79349" y="113835"/>
                  <a:pt x="68070" y="101395"/>
                  <a:pt x="61269" y="107532"/>
                </a:cubicBezTo>
                <a:cubicBezTo>
                  <a:pt x="49608" y="113968"/>
                  <a:pt x="36604" y="117600"/>
                  <a:pt x="23285" y="118148"/>
                </a:cubicBezTo>
                <a:cubicBezTo>
                  <a:pt x="20051" y="118629"/>
                  <a:pt x="16833" y="119292"/>
                  <a:pt x="13665" y="120138"/>
                </a:cubicBezTo>
                <a:cubicBezTo>
                  <a:pt x="12487" y="125595"/>
                  <a:pt x="13897" y="131285"/>
                  <a:pt x="17480" y="135564"/>
                </a:cubicBezTo>
                <a:lnTo>
                  <a:pt x="20797" y="139545"/>
                </a:lnTo>
                <a:cubicBezTo>
                  <a:pt x="37384" y="135730"/>
                  <a:pt x="32242" y="144023"/>
                  <a:pt x="37550" y="14452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6" name="Freeform: Shape 455">
            <a:extLst>
              <a:ext uri="{FF2B5EF4-FFF2-40B4-BE49-F238E27FC236}">
                <a16:creationId xmlns:a16="http://schemas.microsoft.com/office/drawing/2014/main" id="{E55B1194-B90D-46F3-91D2-02073548F997}"/>
              </a:ext>
            </a:extLst>
          </p:cNvPr>
          <p:cNvSpPr/>
          <p:nvPr/>
        </p:nvSpPr>
        <p:spPr>
          <a:xfrm>
            <a:off x="4896459" y="4339764"/>
            <a:ext cx="72996" cy="42696"/>
          </a:xfrm>
          <a:custGeom>
            <a:avLst/>
            <a:gdLst>
              <a:gd name="connsiteX0" fmla="*/ 47921 w 92065"/>
              <a:gd name="connsiteY0" fmla="*/ 51654 h 54904"/>
              <a:gd name="connsiteX1" fmla="*/ 75123 w 92065"/>
              <a:gd name="connsiteY1" fmla="*/ 35067 h 54904"/>
              <a:gd name="connsiteX2" fmla="*/ 86900 w 92065"/>
              <a:gd name="connsiteY2" fmla="*/ 29925 h 54904"/>
              <a:gd name="connsiteX3" fmla="*/ 84743 w 92065"/>
              <a:gd name="connsiteY3" fmla="*/ 14499 h 54904"/>
              <a:gd name="connsiteX4" fmla="*/ 92042 w 92065"/>
              <a:gd name="connsiteY4" fmla="*/ 2059 h 54904"/>
              <a:gd name="connsiteX5" fmla="*/ 83583 w 92065"/>
              <a:gd name="connsiteY5" fmla="*/ -97 h 54904"/>
              <a:gd name="connsiteX6" fmla="*/ 35149 w 92065"/>
              <a:gd name="connsiteY6" fmla="*/ 3552 h 54904"/>
              <a:gd name="connsiteX7" fmla="*/ 16572 w 92065"/>
              <a:gd name="connsiteY7" fmla="*/ 11016 h 54904"/>
              <a:gd name="connsiteX8" fmla="*/ -15 w 92065"/>
              <a:gd name="connsiteY8" fmla="*/ 6371 h 54904"/>
              <a:gd name="connsiteX9" fmla="*/ 26690 w 92065"/>
              <a:gd name="connsiteY9" fmla="*/ 26939 h 54904"/>
              <a:gd name="connsiteX10" fmla="*/ 40788 w 92065"/>
              <a:gd name="connsiteY10" fmla="*/ 52151 h 54904"/>
              <a:gd name="connsiteX11" fmla="*/ 44604 w 92065"/>
              <a:gd name="connsiteY11" fmla="*/ 54805 h 54904"/>
              <a:gd name="connsiteX12" fmla="*/ 47921 w 92065"/>
              <a:gd name="connsiteY12" fmla="*/ 51654 h 5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65" h="54904">
                <a:moveTo>
                  <a:pt x="47921" y="51654"/>
                </a:moveTo>
                <a:cubicBezTo>
                  <a:pt x="55219" y="46512"/>
                  <a:pt x="69981" y="33242"/>
                  <a:pt x="75123" y="35067"/>
                </a:cubicBezTo>
                <a:cubicBezTo>
                  <a:pt x="80265" y="36891"/>
                  <a:pt x="86900" y="32910"/>
                  <a:pt x="86900" y="29925"/>
                </a:cubicBezTo>
                <a:cubicBezTo>
                  <a:pt x="86900" y="26939"/>
                  <a:pt x="76616" y="17485"/>
                  <a:pt x="84743" y="14499"/>
                </a:cubicBezTo>
                <a:cubicBezTo>
                  <a:pt x="89388" y="12127"/>
                  <a:pt x="92224" y="7267"/>
                  <a:pt x="92042" y="2059"/>
                </a:cubicBezTo>
                <a:cubicBezTo>
                  <a:pt x="89471" y="599"/>
                  <a:pt x="86552" y="-147"/>
                  <a:pt x="83583" y="-97"/>
                </a:cubicBezTo>
                <a:lnTo>
                  <a:pt x="35149" y="3552"/>
                </a:lnTo>
                <a:cubicBezTo>
                  <a:pt x="29609" y="7417"/>
                  <a:pt x="23256" y="9971"/>
                  <a:pt x="16572" y="11016"/>
                </a:cubicBezTo>
                <a:cubicBezTo>
                  <a:pt x="11264" y="11016"/>
                  <a:pt x="16572" y="2225"/>
                  <a:pt x="-15" y="6371"/>
                </a:cubicBezTo>
                <a:cubicBezTo>
                  <a:pt x="8444" y="16987"/>
                  <a:pt x="9440" y="22129"/>
                  <a:pt x="26690" y="26939"/>
                </a:cubicBezTo>
                <a:cubicBezTo>
                  <a:pt x="43940" y="31749"/>
                  <a:pt x="25197" y="42199"/>
                  <a:pt x="40788" y="52151"/>
                </a:cubicBezTo>
                <a:cubicBezTo>
                  <a:pt x="42116" y="52964"/>
                  <a:pt x="43393" y="53843"/>
                  <a:pt x="44604" y="54805"/>
                </a:cubicBezTo>
                <a:cubicBezTo>
                  <a:pt x="45599" y="53644"/>
                  <a:pt x="46710" y="52582"/>
                  <a:pt x="47921" y="5165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7" name="Freeform: Shape 456">
            <a:extLst>
              <a:ext uri="{FF2B5EF4-FFF2-40B4-BE49-F238E27FC236}">
                <a16:creationId xmlns:a16="http://schemas.microsoft.com/office/drawing/2014/main" id="{511EED10-3690-469B-99A2-8A57E72C04BE}"/>
              </a:ext>
            </a:extLst>
          </p:cNvPr>
          <p:cNvSpPr/>
          <p:nvPr/>
        </p:nvSpPr>
        <p:spPr>
          <a:xfrm>
            <a:off x="5710909" y="4380519"/>
            <a:ext cx="324439" cy="221478"/>
          </a:xfrm>
          <a:custGeom>
            <a:avLst/>
            <a:gdLst>
              <a:gd name="connsiteX0" fmla="*/ 378165 w 409197"/>
              <a:gd name="connsiteY0" fmla="*/ 160802 h 284804"/>
              <a:gd name="connsiteX1" fmla="*/ 365890 w 409197"/>
              <a:gd name="connsiteY1" fmla="*/ 138244 h 284804"/>
              <a:gd name="connsiteX2" fmla="*/ 345489 w 409197"/>
              <a:gd name="connsiteY2" fmla="*/ 119832 h 284804"/>
              <a:gd name="connsiteX3" fmla="*/ 331058 w 409197"/>
              <a:gd name="connsiteY3" fmla="*/ 99431 h 284804"/>
              <a:gd name="connsiteX4" fmla="*/ 304520 w 409197"/>
              <a:gd name="connsiteY4" fmla="*/ 87156 h 284804"/>
              <a:gd name="connsiteX5" fmla="*/ 300373 w 409197"/>
              <a:gd name="connsiteY5" fmla="*/ 76872 h 284804"/>
              <a:gd name="connsiteX6" fmla="*/ 285942 w 409197"/>
              <a:gd name="connsiteY6" fmla="*/ 74882 h 284804"/>
              <a:gd name="connsiteX7" fmla="*/ 290089 w 409197"/>
              <a:gd name="connsiteY7" fmla="*/ 62442 h 284804"/>
              <a:gd name="connsiteX8" fmla="*/ 288098 w 409197"/>
              <a:gd name="connsiteY8" fmla="*/ 33746 h 284804"/>
              <a:gd name="connsiteX9" fmla="*/ 264545 w 409197"/>
              <a:gd name="connsiteY9" fmla="*/ 2231 h 284804"/>
              <a:gd name="connsiteX10" fmla="*/ 258740 w 409197"/>
              <a:gd name="connsiteY10" fmla="*/ 905 h 284804"/>
              <a:gd name="connsiteX11" fmla="*/ 231205 w 409197"/>
              <a:gd name="connsiteY11" fmla="*/ 11852 h 284804"/>
              <a:gd name="connsiteX12" fmla="*/ 224405 w 409197"/>
              <a:gd name="connsiteY12" fmla="*/ 27444 h 284804"/>
              <a:gd name="connsiteX13" fmla="*/ 191231 w 409197"/>
              <a:gd name="connsiteY13" fmla="*/ 60617 h 284804"/>
              <a:gd name="connsiteX14" fmla="*/ 144125 w 409197"/>
              <a:gd name="connsiteY14" fmla="*/ 70404 h 284804"/>
              <a:gd name="connsiteX15" fmla="*/ 142134 w 409197"/>
              <a:gd name="connsiteY15" fmla="*/ 88151 h 284804"/>
              <a:gd name="connsiteX16" fmla="*/ 112610 w 409197"/>
              <a:gd name="connsiteY16" fmla="*/ 103743 h 284804"/>
              <a:gd name="connsiteX17" fmla="*/ 76285 w 409197"/>
              <a:gd name="connsiteY17" fmla="*/ 114690 h 284804"/>
              <a:gd name="connsiteX18" fmla="*/ 54722 w 409197"/>
              <a:gd name="connsiteY18" fmla="*/ 114690 h 284804"/>
              <a:gd name="connsiteX19" fmla="*/ 35979 w 409197"/>
              <a:gd name="connsiteY19" fmla="*/ 122486 h 284804"/>
              <a:gd name="connsiteX20" fmla="*/ 33159 w 409197"/>
              <a:gd name="connsiteY20" fmla="*/ 119003 h 284804"/>
              <a:gd name="connsiteX21" fmla="*/ 16572 w 409197"/>
              <a:gd name="connsiteY21" fmla="*/ 139736 h 284804"/>
              <a:gd name="connsiteX22" fmla="*/ -15 w 409197"/>
              <a:gd name="connsiteY22" fmla="*/ 172910 h 284804"/>
              <a:gd name="connsiteX23" fmla="*/ 4464 w 409197"/>
              <a:gd name="connsiteY23" fmla="*/ 200278 h 284804"/>
              <a:gd name="connsiteX24" fmla="*/ 13918 w 409197"/>
              <a:gd name="connsiteY24" fmla="*/ 226817 h 284804"/>
              <a:gd name="connsiteX25" fmla="*/ 19226 w 409197"/>
              <a:gd name="connsiteY25" fmla="*/ 246722 h 284804"/>
              <a:gd name="connsiteX26" fmla="*/ 26524 w 409197"/>
              <a:gd name="connsiteY26" fmla="*/ 257669 h 284804"/>
              <a:gd name="connsiteX27" fmla="*/ 47921 w 409197"/>
              <a:gd name="connsiteY27" fmla="*/ 279232 h 284804"/>
              <a:gd name="connsiteX28" fmla="*/ 53561 w 409197"/>
              <a:gd name="connsiteY28" fmla="*/ 284705 h 284804"/>
              <a:gd name="connsiteX29" fmla="*/ 55551 w 409197"/>
              <a:gd name="connsiteY29" fmla="*/ 281554 h 284804"/>
              <a:gd name="connsiteX30" fmla="*/ 61854 w 409197"/>
              <a:gd name="connsiteY30" fmla="*/ 257005 h 284804"/>
              <a:gd name="connsiteX31" fmla="*/ 80265 w 409197"/>
              <a:gd name="connsiteY31" fmla="*/ 252859 h 284804"/>
              <a:gd name="connsiteX32" fmla="*/ 94530 w 409197"/>
              <a:gd name="connsiteY32" fmla="*/ 248878 h 284804"/>
              <a:gd name="connsiteX33" fmla="*/ 123225 w 409197"/>
              <a:gd name="connsiteY33" fmla="*/ 252859 h 284804"/>
              <a:gd name="connsiteX34" fmla="*/ 123225 w 409197"/>
              <a:gd name="connsiteY34" fmla="*/ 230632 h 284804"/>
              <a:gd name="connsiteX35" fmla="*/ 158058 w 409197"/>
              <a:gd name="connsiteY35" fmla="*/ 203927 h 284804"/>
              <a:gd name="connsiteX36" fmla="*/ 184763 w 409197"/>
              <a:gd name="connsiteY36" fmla="*/ 222339 h 284804"/>
              <a:gd name="connsiteX37" fmla="*/ 248290 w 409197"/>
              <a:gd name="connsiteY37" fmla="*/ 234613 h 284804"/>
              <a:gd name="connsiteX38" fmla="*/ 258574 w 409197"/>
              <a:gd name="connsiteY38" fmla="*/ 212055 h 284804"/>
              <a:gd name="connsiteX39" fmla="*/ 285113 w 409197"/>
              <a:gd name="connsiteY39" fmla="*/ 212055 h 284804"/>
              <a:gd name="connsiteX40" fmla="*/ 320940 w 409197"/>
              <a:gd name="connsiteY40" fmla="*/ 202435 h 284804"/>
              <a:gd name="connsiteX41" fmla="*/ 347645 w 409197"/>
              <a:gd name="connsiteY41" fmla="*/ 198454 h 284804"/>
              <a:gd name="connsiteX42" fmla="*/ 384468 w 409197"/>
              <a:gd name="connsiteY42" fmla="*/ 202435 h 284804"/>
              <a:gd name="connsiteX43" fmla="*/ 409182 w 409197"/>
              <a:gd name="connsiteY43" fmla="*/ 198454 h 284804"/>
              <a:gd name="connsiteX44" fmla="*/ 400889 w 409197"/>
              <a:gd name="connsiteY44" fmla="*/ 177886 h 284804"/>
              <a:gd name="connsiteX45" fmla="*/ 378165 w 409197"/>
              <a:gd name="connsiteY45" fmla="*/ 160802 h 28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09197" h="284804">
                <a:moveTo>
                  <a:pt x="378165" y="160802"/>
                </a:moveTo>
                <a:cubicBezTo>
                  <a:pt x="378165" y="154664"/>
                  <a:pt x="378165" y="148527"/>
                  <a:pt x="365890" y="138244"/>
                </a:cubicBezTo>
                <a:cubicBezTo>
                  <a:pt x="353616" y="127960"/>
                  <a:pt x="345489" y="125970"/>
                  <a:pt x="345489" y="119832"/>
                </a:cubicBezTo>
                <a:cubicBezTo>
                  <a:pt x="345489" y="113695"/>
                  <a:pt x="341342" y="111705"/>
                  <a:pt x="331058" y="99431"/>
                </a:cubicBezTo>
                <a:cubicBezTo>
                  <a:pt x="324224" y="91933"/>
                  <a:pt x="314654" y="87505"/>
                  <a:pt x="304520" y="87156"/>
                </a:cubicBezTo>
                <a:lnTo>
                  <a:pt x="300373" y="76872"/>
                </a:lnTo>
                <a:lnTo>
                  <a:pt x="285942" y="74882"/>
                </a:lnTo>
                <a:cubicBezTo>
                  <a:pt x="285942" y="74882"/>
                  <a:pt x="277814" y="68579"/>
                  <a:pt x="290089" y="62442"/>
                </a:cubicBezTo>
                <a:cubicBezTo>
                  <a:pt x="302363" y="56305"/>
                  <a:pt x="290089" y="39884"/>
                  <a:pt x="288098" y="33746"/>
                </a:cubicBezTo>
                <a:cubicBezTo>
                  <a:pt x="281115" y="22617"/>
                  <a:pt x="273236" y="12084"/>
                  <a:pt x="264545" y="2231"/>
                </a:cubicBezTo>
                <a:cubicBezTo>
                  <a:pt x="262521" y="2348"/>
                  <a:pt x="260514" y="1883"/>
                  <a:pt x="258740" y="905"/>
                </a:cubicBezTo>
                <a:cubicBezTo>
                  <a:pt x="251939" y="-2910"/>
                  <a:pt x="238172" y="4885"/>
                  <a:pt x="231205" y="11852"/>
                </a:cubicBezTo>
                <a:cubicBezTo>
                  <a:pt x="224239" y="18818"/>
                  <a:pt x="229215" y="22633"/>
                  <a:pt x="224405" y="27444"/>
                </a:cubicBezTo>
                <a:cubicBezTo>
                  <a:pt x="212645" y="37777"/>
                  <a:pt x="201565" y="48857"/>
                  <a:pt x="191231" y="60617"/>
                </a:cubicBezTo>
                <a:cubicBezTo>
                  <a:pt x="180450" y="74384"/>
                  <a:pt x="152916" y="65427"/>
                  <a:pt x="144125" y="70404"/>
                </a:cubicBezTo>
                <a:cubicBezTo>
                  <a:pt x="135334" y="75379"/>
                  <a:pt x="148105" y="83175"/>
                  <a:pt x="142134" y="88151"/>
                </a:cubicBezTo>
                <a:cubicBezTo>
                  <a:pt x="132746" y="94156"/>
                  <a:pt x="122861" y="99364"/>
                  <a:pt x="112610" y="103743"/>
                </a:cubicBezTo>
                <a:cubicBezTo>
                  <a:pt x="106804" y="106729"/>
                  <a:pt x="83251" y="105734"/>
                  <a:pt x="76285" y="114690"/>
                </a:cubicBezTo>
                <a:cubicBezTo>
                  <a:pt x="69318" y="123647"/>
                  <a:pt x="61522" y="104738"/>
                  <a:pt x="54722" y="114690"/>
                </a:cubicBezTo>
                <a:cubicBezTo>
                  <a:pt x="47921" y="124642"/>
                  <a:pt x="39959" y="125472"/>
                  <a:pt x="35979" y="122486"/>
                </a:cubicBezTo>
                <a:cubicBezTo>
                  <a:pt x="34851" y="121491"/>
                  <a:pt x="33889" y="120313"/>
                  <a:pt x="33159" y="119003"/>
                </a:cubicBezTo>
                <a:cubicBezTo>
                  <a:pt x="25960" y="124394"/>
                  <a:pt x="20238" y="131526"/>
                  <a:pt x="16572" y="139736"/>
                </a:cubicBezTo>
                <a:cubicBezTo>
                  <a:pt x="12094" y="153669"/>
                  <a:pt x="-15" y="166275"/>
                  <a:pt x="-15" y="172910"/>
                </a:cubicBezTo>
                <a:cubicBezTo>
                  <a:pt x="-15" y="179545"/>
                  <a:pt x="4464" y="188502"/>
                  <a:pt x="4464" y="200278"/>
                </a:cubicBezTo>
                <a:cubicBezTo>
                  <a:pt x="4082" y="210015"/>
                  <a:pt x="7466" y="219519"/>
                  <a:pt x="13918" y="226817"/>
                </a:cubicBezTo>
                <a:cubicBezTo>
                  <a:pt x="17949" y="232623"/>
                  <a:pt x="19823" y="239672"/>
                  <a:pt x="19226" y="246722"/>
                </a:cubicBezTo>
                <a:cubicBezTo>
                  <a:pt x="21282" y="250603"/>
                  <a:pt x="23737" y="254269"/>
                  <a:pt x="26524" y="257669"/>
                </a:cubicBezTo>
                <a:cubicBezTo>
                  <a:pt x="31666" y="264304"/>
                  <a:pt x="46428" y="274255"/>
                  <a:pt x="47921" y="279232"/>
                </a:cubicBezTo>
                <a:cubicBezTo>
                  <a:pt x="49049" y="281703"/>
                  <a:pt x="51056" y="283660"/>
                  <a:pt x="53561" y="284705"/>
                </a:cubicBezTo>
                <a:lnTo>
                  <a:pt x="55551" y="281554"/>
                </a:lnTo>
                <a:cubicBezTo>
                  <a:pt x="60593" y="274421"/>
                  <a:pt x="62849" y="265680"/>
                  <a:pt x="61854" y="257005"/>
                </a:cubicBezTo>
                <a:lnTo>
                  <a:pt x="80265" y="252859"/>
                </a:lnTo>
                <a:lnTo>
                  <a:pt x="94530" y="248878"/>
                </a:lnTo>
                <a:lnTo>
                  <a:pt x="123225" y="252859"/>
                </a:lnTo>
                <a:lnTo>
                  <a:pt x="123225" y="230632"/>
                </a:lnTo>
                <a:cubicBezTo>
                  <a:pt x="123225" y="230632"/>
                  <a:pt x="143793" y="203927"/>
                  <a:pt x="158058" y="203927"/>
                </a:cubicBezTo>
                <a:cubicBezTo>
                  <a:pt x="172322" y="203927"/>
                  <a:pt x="184763" y="222339"/>
                  <a:pt x="184763" y="222339"/>
                </a:cubicBezTo>
                <a:lnTo>
                  <a:pt x="248290" y="234613"/>
                </a:lnTo>
                <a:cubicBezTo>
                  <a:pt x="248290" y="234613"/>
                  <a:pt x="252437" y="216201"/>
                  <a:pt x="258574" y="212055"/>
                </a:cubicBezTo>
                <a:cubicBezTo>
                  <a:pt x="264711" y="207908"/>
                  <a:pt x="276985" y="216201"/>
                  <a:pt x="285113" y="212055"/>
                </a:cubicBezTo>
                <a:cubicBezTo>
                  <a:pt x="296110" y="206017"/>
                  <a:pt x="308400" y="202717"/>
                  <a:pt x="320940" y="202435"/>
                </a:cubicBezTo>
                <a:cubicBezTo>
                  <a:pt x="335371" y="202435"/>
                  <a:pt x="341508" y="210728"/>
                  <a:pt x="347645" y="198454"/>
                </a:cubicBezTo>
                <a:cubicBezTo>
                  <a:pt x="353782" y="186179"/>
                  <a:pt x="384468" y="202435"/>
                  <a:pt x="384468" y="202435"/>
                </a:cubicBezTo>
                <a:lnTo>
                  <a:pt x="409182" y="198454"/>
                </a:lnTo>
                <a:lnTo>
                  <a:pt x="400889" y="177886"/>
                </a:lnTo>
                <a:cubicBezTo>
                  <a:pt x="400889" y="177886"/>
                  <a:pt x="378165" y="166939"/>
                  <a:pt x="378165" y="160802"/>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8" name="Freeform: Shape 457">
            <a:extLst>
              <a:ext uri="{FF2B5EF4-FFF2-40B4-BE49-F238E27FC236}">
                <a16:creationId xmlns:a16="http://schemas.microsoft.com/office/drawing/2014/main" id="{6368FB59-970C-4EBB-9D63-AE5AD759B57C}"/>
              </a:ext>
            </a:extLst>
          </p:cNvPr>
          <p:cNvSpPr/>
          <p:nvPr/>
        </p:nvSpPr>
        <p:spPr>
          <a:xfrm>
            <a:off x="5404698" y="4308948"/>
            <a:ext cx="311397" cy="248050"/>
          </a:xfrm>
          <a:custGeom>
            <a:avLst/>
            <a:gdLst>
              <a:gd name="connsiteX0" fmla="*/ 242717 w 392748"/>
              <a:gd name="connsiteY0" fmla="*/ 234426 h 318974"/>
              <a:gd name="connsiteX1" fmla="*/ 262455 w 392748"/>
              <a:gd name="connsiteY1" fmla="*/ 231607 h 318974"/>
              <a:gd name="connsiteX2" fmla="*/ 286008 w 392748"/>
              <a:gd name="connsiteY2" fmla="*/ 248193 h 318974"/>
              <a:gd name="connsiteX3" fmla="*/ 299775 w 392748"/>
              <a:gd name="connsiteY3" fmla="*/ 233597 h 318974"/>
              <a:gd name="connsiteX4" fmla="*/ 324324 w 392748"/>
              <a:gd name="connsiteY4" fmla="*/ 182510 h 318974"/>
              <a:gd name="connsiteX5" fmla="*/ 340081 w 392748"/>
              <a:gd name="connsiteY5" fmla="*/ 162771 h 318974"/>
              <a:gd name="connsiteX6" fmla="*/ 344062 w 392748"/>
              <a:gd name="connsiteY6" fmla="*/ 145023 h 318974"/>
              <a:gd name="connsiteX7" fmla="*/ 351858 w 392748"/>
              <a:gd name="connsiteY7" fmla="*/ 123461 h 318974"/>
              <a:gd name="connsiteX8" fmla="*/ 371431 w 392748"/>
              <a:gd name="connsiteY8" fmla="*/ 87135 h 318974"/>
              <a:gd name="connsiteX9" fmla="*/ 391169 w 392748"/>
              <a:gd name="connsiteY9" fmla="*/ 76354 h 318974"/>
              <a:gd name="connsiteX10" fmla="*/ 389178 w 392748"/>
              <a:gd name="connsiteY10" fmla="*/ 55620 h 318974"/>
              <a:gd name="connsiteX11" fmla="*/ 375411 w 392748"/>
              <a:gd name="connsiteY11" fmla="*/ 41853 h 318974"/>
              <a:gd name="connsiteX12" fmla="*/ 377402 w 392748"/>
              <a:gd name="connsiteY12" fmla="*/ 23940 h 318974"/>
              <a:gd name="connsiteX13" fmla="*/ 364630 w 392748"/>
              <a:gd name="connsiteY13" fmla="*/ 10504 h 318974"/>
              <a:gd name="connsiteX14" fmla="*/ 352854 w 392748"/>
              <a:gd name="connsiteY14" fmla="*/ 3538 h 318974"/>
              <a:gd name="connsiteX15" fmla="*/ 329300 w 392748"/>
              <a:gd name="connsiteY15" fmla="*/ 25266 h 318974"/>
              <a:gd name="connsiteX16" fmla="*/ 301766 w 392748"/>
              <a:gd name="connsiteY16" fmla="*/ 18300 h 318974"/>
              <a:gd name="connsiteX17" fmla="*/ 259470 w 392748"/>
              <a:gd name="connsiteY17" fmla="*/ 17305 h 318974"/>
              <a:gd name="connsiteX18" fmla="*/ 234921 w 392748"/>
              <a:gd name="connsiteY18" fmla="*/ 33062 h 318974"/>
              <a:gd name="connsiteX19" fmla="*/ 201747 w 392748"/>
              <a:gd name="connsiteY19" fmla="*/ 33062 h 318974"/>
              <a:gd name="connsiteX20" fmla="*/ 176203 w 392748"/>
              <a:gd name="connsiteY20" fmla="*/ 19295 h 318974"/>
              <a:gd name="connsiteX21" fmla="*/ 148835 w 392748"/>
              <a:gd name="connsiteY21" fmla="*/ 27091 h 318974"/>
              <a:gd name="connsiteX22" fmla="*/ 130092 w 392748"/>
              <a:gd name="connsiteY22" fmla="*/ 9509 h 318974"/>
              <a:gd name="connsiteX23" fmla="*/ 103553 w 392748"/>
              <a:gd name="connsiteY23" fmla="*/ 1713 h 318974"/>
              <a:gd name="connsiteX24" fmla="*/ 83815 w 392748"/>
              <a:gd name="connsiteY24" fmla="*/ 8514 h 318974"/>
              <a:gd name="connsiteX25" fmla="*/ 53461 w 392748"/>
              <a:gd name="connsiteY25" fmla="*/ 8514 h 318974"/>
              <a:gd name="connsiteX26" fmla="*/ 45499 w 392748"/>
              <a:gd name="connsiteY26" fmla="*/ 35052 h 318974"/>
              <a:gd name="connsiteX27" fmla="*/ 30903 w 392748"/>
              <a:gd name="connsiteY27" fmla="*/ 58606 h 318974"/>
              <a:gd name="connsiteX28" fmla="*/ 27752 w 392748"/>
              <a:gd name="connsiteY28" fmla="*/ 65241 h 318974"/>
              <a:gd name="connsiteX29" fmla="*/ 31069 w 392748"/>
              <a:gd name="connsiteY29" fmla="*/ 87633 h 318974"/>
              <a:gd name="connsiteX30" fmla="*/ 27420 w 392748"/>
              <a:gd name="connsiteY30" fmla="*/ 134739 h 318974"/>
              <a:gd name="connsiteX31" fmla="*/ 14814 w 392748"/>
              <a:gd name="connsiteY31" fmla="*/ 153980 h 318974"/>
              <a:gd name="connsiteX32" fmla="*/ 881 w 392748"/>
              <a:gd name="connsiteY32" fmla="*/ 178197 h 318974"/>
              <a:gd name="connsiteX33" fmla="*/ 881 w 392748"/>
              <a:gd name="connsiteY33" fmla="*/ 217342 h 318974"/>
              <a:gd name="connsiteX34" fmla="*/ 11165 w 392748"/>
              <a:gd name="connsiteY34" fmla="*/ 243549 h 318974"/>
              <a:gd name="connsiteX35" fmla="*/ 11165 w 392748"/>
              <a:gd name="connsiteY35" fmla="*/ 243549 h 318974"/>
              <a:gd name="connsiteX36" fmla="*/ 60925 w 392748"/>
              <a:gd name="connsiteY36" fmla="*/ 256321 h 318974"/>
              <a:gd name="connsiteX37" fmla="*/ 92440 w 392748"/>
              <a:gd name="connsiteY37" fmla="*/ 289495 h 318974"/>
              <a:gd name="connsiteX38" fmla="*/ 110022 w 392748"/>
              <a:gd name="connsiteY38" fmla="*/ 318024 h 318974"/>
              <a:gd name="connsiteX39" fmla="*/ 144025 w 392748"/>
              <a:gd name="connsiteY39" fmla="*/ 310726 h 318974"/>
              <a:gd name="connsiteX40" fmla="*/ 188146 w 392748"/>
              <a:gd name="connsiteY40" fmla="*/ 305750 h 318974"/>
              <a:gd name="connsiteX41" fmla="*/ 193454 w 392748"/>
              <a:gd name="connsiteY41" fmla="*/ 305750 h 318974"/>
              <a:gd name="connsiteX42" fmla="*/ 203240 w 392748"/>
              <a:gd name="connsiteY42" fmla="*/ 270088 h 318974"/>
              <a:gd name="connsiteX43" fmla="*/ 242717 w 392748"/>
              <a:gd name="connsiteY43" fmla="*/ 234426 h 31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2748" h="318974">
                <a:moveTo>
                  <a:pt x="242717" y="234426"/>
                </a:moveTo>
                <a:cubicBezTo>
                  <a:pt x="246697" y="233597"/>
                  <a:pt x="255488" y="236417"/>
                  <a:pt x="262455" y="231607"/>
                </a:cubicBezTo>
                <a:cubicBezTo>
                  <a:pt x="269421" y="226797"/>
                  <a:pt x="284018" y="238407"/>
                  <a:pt x="286008" y="248193"/>
                </a:cubicBezTo>
                <a:cubicBezTo>
                  <a:pt x="287999" y="257980"/>
                  <a:pt x="293804" y="244379"/>
                  <a:pt x="299775" y="233597"/>
                </a:cubicBezTo>
                <a:cubicBezTo>
                  <a:pt x="309694" y="217458"/>
                  <a:pt x="317921" y="200341"/>
                  <a:pt x="324324" y="182510"/>
                </a:cubicBezTo>
                <a:cubicBezTo>
                  <a:pt x="324324" y="174548"/>
                  <a:pt x="340081" y="167747"/>
                  <a:pt x="340081" y="162771"/>
                </a:cubicBezTo>
                <a:cubicBezTo>
                  <a:pt x="340081" y="157795"/>
                  <a:pt x="339086" y="147014"/>
                  <a:pt x="344062" y="145023"/>
                </a:cubicBezTo>
                <a:cubicBezTo>
                  <a:pt x="349038" y="143033"/>
                  <a:pt x="352854" y="128436"/>
                  <a:pt x="351858" y="123461"/>
                </a:cubicBezTo>
                <a:cubicBezTo>
                  <a:pt x="356635" y="110489"/>
                  <a:pt x="363220" y="98265"/>
                  <a:pt x="371431" y="87135"/>
                </a:cubicBezTo>
                <a:cubicBezTo>
                  <a:pt x="374416" y="83155"/>
                  <a:pt x="390174" y="85145"/>
                  <a:pt x="391169" y="76354"/>
                </a:cubicBezTo>
                <a:cubicBezTo>
                  <a:pt x="392164" y="67563"/>
                  <a:pt x="394984" y="57611"/>
                  <a:pt x="389178" y="55620"/>
                </a:cubicBezTo>
                <a:cubicBezTo>
                  <a:pt x="383373" y="53630"/>
                  <a:pt x="375411" y="46829"/>
                  <a:pt x="375411" y="41853"/>
                </a:cubicBezTo>
                <a:cubicBezTo>
                  <a:pt x="375478" y="35832"/>
                  <a:pt x="376141" y="29828"/>
                  <a:pt x="377402" y="23940"/>
                </a:cubicBezTo>
                <a:cubicBezTo>
                  <a:pt x="369606" y="22944"/>
                  <a:pt x="369108" y="14983"/>
                  <a:pt x="364630" y="10504"/>
                </a:cubicBezTo>
                <a:cubicBezTo>
                  <a:pt x="360151" y="6025"/>
                  <a:pt x="359654" y="1713"/>
                  <a:pt x="352854" y="3538"/>
                </a:cubicBezTo>
                <a:cubicBezTo>
                  <a:pt x="346053" y="5362"/>
                  <a:pt x="338091" y="22281"/>
                  <a:pt x="329300" y="25266"/>
                </a:cubicBezTo>
                <a:cubicBezTo>
                  <a:pt x="319597" y="26113"/>
                  <a:pt x="309893" y="23658"/>
                  <a:pt x="301766" y="18300"/>
                </a:cubicBezTo>
                <a:cubicBezTo>
                  <a:pt x="287717" y="16940"/>
                  <a:pt x="273568" y="16608"/>
                  <a:pt x="259470" y="17305"/>
                </a:cubicBezTo>
                <a:cubicBezTo>
                  <a:pt x="250679" y="16310"/>
                  <a:pt x="241722" y="29081"/>
                  <a:pt x="234921" y="33062"/>
                </a:cubicBezTo>
                <a:cubicBezTo>
                  <a:pt x="224090" y="36181"/>
                  <a:pt x="212579" y="36181"/>
                  <a:pt x="201747" y="33062"/>
                </a:cubicBezTo>
                <a:cubicBezTo>
                  <a:pt x="195942" y="31072"/>
                  <a:pt x="182175" y="19295"/>
                  <a:pt x="176203" y="19295"/>
                </a:cubicBezTo>
                <a:cubicBezTo>
                  <a:pt x="166583" y="19644"/>
                  <a:pt x="157195" y="22330"/>
                  <a:pt x="148835" y="27091"/>
                </a:cubicBezTo>
                <a:cubicBezTo>
                  <a:pt x="138883" y="33062"/>
                  <a:pt x="135898" y="16310"/>
                  <a:pt x="130092" y="9509"/>
                </a:cubicBezTo>
                <a:cubicBezTo>
                  <a:pt x="124287" y="2708"/>
                  <a:pt x="111349" y="8514"/>
                  <a:pt x="103553" y="1713"/>
                </a:cubicBezTo>
                <a:cubicBezTo>
                  <a:pt x="95758" y="-5087"/>
                  <a:pt x="90781" y="9509"/>
                  <a:pt x="83815" y="8514"/>
                </a:cubicBezTo>
                <a:cubicBezTo>
                  <a:pt x="76848" y="7519"/>
                  <a:pt x="59266" y="3538"/>
                  <a:pt x="53461" y="8514"/>
                </a:cubicBezTo>
                <a:cubicBezTo>
                  <a:pt x="47655" y="13490"/>
                  <a:pt x="48485" y="32067"/>
                  <a:pt x="45499" y="35052"/>
                </a:cubicBezTo>
                <a:cubicBezTo>
                  <a:pt x="42514" y="38038"/>
                  <a:pt x="30903" y="51639"/>
                  <a:pt x="30903" y="58606"/>
                </a:cubicBezTo>
                <a:cubicBezTo>
                  <a:pt x="31119" y="61227"/>
                  <a:pt x="29924" y="63765"/>
                  <a:pt x="27752" y="65241"/>
                </a:cubicBezTo>
                <a:cubicBezTo>
                  <a:pt x="29078" y="73368"/>
                  <a:pt x="30737" y="83818"/>
                  <a:pt x="31069" y="87633"/>
                </a:cubicBezTo>
                <a:cubicBezTo>
                  <a:pt x="31069" y="94268"/>
                  <a:pt x="34718" y="127441"/>
                  <a:pt x="27420" y="134739"/>
                </a:cubicBezTo>
                <a:cubicBezTo>
                  <a:pt x="22228" y="140445"/>
                  <a:pt x="17982" y="146947"/>
                  <a:pt x="14814" y="153980"/>
                </a:cubicBezTo>
                <a:cubicBezTo>
                  <a:pt x="7134" y="159885"/>
                  <a:pt x="2125" y="168593"/>
                  <a:pt x="881" y="178197"/>
                </a:cubicBezTo>
                <a:cubicBezTo>
                  <a:pt x="-314" y="191218"/>
                  <a:pt x="-314" y="204321"/>
                  <a:pt x="881" y="217342"/>
                </a:cubicBezTo>
                <a:cubicBezTo>
                  <a:pt x="881" y="226133"/>
                  <a:pt x="7516" y="232602"/>
                  <a:pt x="11165" y="243549"/>
                </a:cubicBezTo>
                <a:lnTo>
                  <a:pt x="11165" y="243549"/>
                </a:lnTo>
                <a:cubicBezTo>
                  <a:pt x="17136" y="251345"/>
                  <a:pt x="44338" y="252838"/>
                  <a:pt x="60925" y="256321"/>
                </a:cubicBezTo>
                <a:cubicBezTo>
                  <a:pt x="76185" y="261612"/>
                  <a:pt x="87945" y="273970"/>
                  <a:pt x="92440" y="289495"/>
                </a:cubicBezTo>
                <a:cubicBezTo>
                  <a:pt x="94232" y="300973"/>
                  <a:pt x="100567" y="311257"/>
                  <a:pt x="110022" y="318024"/>
                </a:cubicBezTo>
                <a:cubicBezTo>
                  <a:pt x="117486" y="322005"/>
                  <a:pt x="135566" y="310726"/>
                  <a:pt x="144025" y="310726"/>
                </a:cubicBezTo>
                <a:cubicBezTo>
                  <a:pt x="152484" y="310726"/>
                  <a:pt x="182340" y="310726"/>
                  <a:pt x="188146" y="305750"/>
                </a:cubicBezTo>
                <a:cubicBezTo>
                  <a:pt x="189622" y="304323"/>
                  <a:pt x="191978" y="304323"/>
                  <a:pt x="193454" y="305750"/>
                </a:cubicBezTo>
                <a:cubicBezTo>
                  <a:pt x="197799" y="294189"/>
                  <a:pt x="201067" y="282246"/>
                  <a:pt x="203240" y="270088"/>
                </a:cubicBezTo>
                <a:cubicBezTo>
                  <a:pt x="215680" y="257432"/>
                  <a:pt x="228867" y="245523"/>
                  <a:pt x="242717" y="234426"/>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59" name="Freeform: Shape 458">
            <a:extLst>
              <a:ext uri="{FF2B5EF4-FFF2-40B4-BE49-F238E27FC236}">
                <a16:creationId xmlns:a16="http://schemas.microsoft.com/office/drawing/2014/main" id="{08788716-04A4-4DB8-A95B-4A739D34FA65}"/>
              </a:ext>
            </a:extLst>
          </p:cNvPr>
          <p:cNvSpPr/>
          <p:nvPr/>
        </p:nvSpPr>
        <p:spPr>
          <a:xfrm>
            <a:off x="5352541" y="4347238"/>
            <a:ext cx="77727" cy="158663"/>
          </a:xfrm>
          <a:custGeom>
            <a:avLst/>
            <a:gdLst>
              <a:gd name="connsiteX0" fmla="*/ 66664 w 98033"/>
              <a:gd name="connsiteY0" fmla="*/ 129124 h 204029"/>
              <a:gd name="connsiteX1" fmla="*/ 80597 w 98033"/>
              <a:gd name="connsiteY1" fmla="*/ 104907 h 204029"/>
              <a:gd name="connsiteX2" fmla="*/ 93203 w 98033"/>
              <a:gd name="connsiteY2" fmla="*/ 85666 h 204029"/>
              <a:gd name="connsiteX3" fmla="*/ 96852 w 98033"/>
              <a:gd name="connsiteY3" fmla="*/ 38560 h 204029"/>
              <a:gd name="connsiteX4" fmla="*/ 93535 w 98033"/>
              <a:gd name="connsiteY4" fmla="*/ 16167 h 204029"/>
              <a:gd name="connsiteX5" fmla="*/ 82919 w 98033"/>
              <a:gd name="connsiteY5" fmla="*/ 16167 h 204029"/>
              <a:gd name="connsiteX6" fmla="*/ 72138 w 98033"/>
              <a:gd name="connsiteY6" fmla="*/ 410 h 204029"/>
              <a:gd name="connsiteX7" fmla="*/ 60195 w 98033"/>
              <a:gd name="connsiteY7" fmla="*/ 16167 h 204029"/>
              <a:gd name="connsiteX8" fmla="*/ 51404 w 98033"/>
              <a:gd name="connsiteY8" fmla="*/ 28939 h 204029"/>
              <a:gd name="connsiteX9" fmla="*/ 23870 w 98033"/>
              <a:gd name="connsiteY9" fmla="*/ 34744 h 204029"/>
              <a:gd name="connsiteX10" fmla="*/ 5293 w 98033"/>
              <a:gd name="connsiteY10" fmla="*/ 47516 h 204029"/>
              <a:gd name="connsiteX11" fmla="*/ -15 w 98033"/>
              <a:gd name="connsiteY11" fmla="*/ 47516 h 204029"/>
              <a:gd name="connsiteX12" fmla="*/ 18065 w 98033"/>
              <a:gd name="connsiteY12" fmla="*/ 78699 h 204029"/>
              <a:gd name="connsiteX13" fmla="*/ 24700 w 98033"/>
              <a:gd name="connsiteY13" fmla="*/ 103746 h 204029"/>
              <a:gd name="connsiteX14" fmla="*/ 29842 w 98033"/>
              <a:gd name="connsiteY14" fmla="*/ 142725 h 204029"/>
              <a:gd name="connsiteX15" fmla="*/ 32661 w 98033"/>
              <a:gd name="connsiteY15" fmla="*/ 203930 h 204029"/>
              <a:gd name="connsiteX16" fmla="*/ 54887 w 98033"/>
              <a:gd name="connsiteY16" fmla="*/ 201940 h 204029"/>
              <a:gd name="connsiteX17" fmla="*/ 77611 w 98033"/>
              <a:gd name="connsiteY17" fmla="*/ 194807 h 204029"/>
              <a:gd name="connsiteX18" fmla="*/ 67328 w 98033"/>
              <a:gd name="connsiteY18" fmla="*/ 168600 h 204029"/>
              <a:gd name="connsiteX19" fmla="*/ 66664 w 98033"/>
              <a:gd name="connsiteY19" fmla="*/ 129124 h 204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033" h="204029">
                <a:moveTo>
                  <a:pt x="66664" y="129124"/>
                </a:moveTo>
                <a:cubicBezTo>
                  <a:pt x="67908" y="119520"/>
                  <a:pt x="72917" y="110812"/>
                  <a:pt x="80597" y="104907"/>
                </a:cubicBezTo>
                <a:cubicBezTo>
                  <a:pt x="83765" y="97874"/>
                  <a:pt x="88011" y="91372"/>
                  <a:pt x="93203" y="85666"/>
                </a:cubicBezTo>
                <a:cubicBezTo>
                  <a:pt x="100501" y="78368"/>
                  <a:pt x="97516" y="45194"/>
                  <a:pt x="96852" y="38560"/>
                </a:cubicBezTo>
                <a:cubicBezTo>
                  <a:pt x="96852" y="34744"/>
                  <a:pt x="94862" y="24295"/>
                  <a:pt x="93535" y="16167"/>
                </a:cubicBezTo>
                <a:cubicBezTo>
                  <a:pt x="90201" y="17876"/>
                  <a:pt x="86253" y="17876"/>
                  <a:pt x="82919" y="16167"/>
                </a:cubicBezTo>
                <a:cubicBezTo>
                  <a:pt x="73962" y="12187"/>
                  <a:pt x="81924" y="3396"/>
                  <a:pt x="72138" y="410"/>
                </a:cubicBezTo>
                <a:cubicBezTo>
                  <a:pt x="62352" y="-2576"/>
                  <a:pt x="58371" y="8205"/>
                  <a:pt x="60195" y="16167"/>
                </a:cubicBezTo>
                <a:cubicBezTo>
                  <a:pt x="62020" y="24129"/>
                  <a:pt x="55385" y="23963"/>
                  <a:pt x="51404" y="28939"/>
                </a:cubicBezTo>
                <a:cubicBezTo>
                  <a:pt x="47424" y="33915"/>
                  <a:pt x="29842" y="34744"/>
                  <a:pt x="23870" y="34744"/>
                </a:cubicBezTo>
                <a:cubicBezTo>
                  <a:pt x="17899" y="34744"/>
                  <a:pt x="11098" y="45526"/>
                  <a:pt x="5293" y="47516"/>
                </a:cubicBezTo>
                <a:cubicBezTo>
                  <a:pt x="3535" y="47881"/>
                  <a:pt x="1744" y="47881"/>
                  <a:pt x="-15" y="47516"/>
                </a:cubicBezTo>
                <a:cubicBezTo>
                  <a:pt x="1312" y="73558"/>
                  <a:pt x="5624" y="71567"/>
                  <a:pt x="18065" y="78699"/>
                </a:cubicBezTo>
                <a:cubicBezTo>
                  <a:pt x="30505" y="85832"/>
                  <a:pt x="18065" y="97774"/>
                  <a:pt x="24700" y="103746"/>
                </a:cubicBezTo>
                <a:cubicBezTo>
                  <a:pt x="31334" y="109717"/>
                  <a:pt x="28348" y="124313"/>
                  <a:pt x="29842" y="142725"/>
                </a:cubicBezTo>
                <a:cubicBezTo>
                  <a:pt x="30671" y="154004"/>
                  <a:pt x="31832" y="182865"/>
                  <a:pt x="32661" y="203930"/>
                </a:cubicBezTo>
                <a:cubicBezTo>
                  <a:pt x="39993" y="202620"/>
                  <a:pt x="47440" y="201956"/>
                  <a:pt x="54887" y="201940"/>
                </a:cubicBezTo>
                <a:cubicBezTo>
                  <a:pt x="65503" y="201940"/>
                  <a:pt x="71474" y="188007"/>
                  <a:pt x="77611" y="194807"/>
                </a:cubicBezTo>
                <a:cubicBezTo>
                  <a:pt x="73962" y="183860"/>
                  <a:pt x="67328" y="177391"/>
                  <a:pt x="67328" y="168600"/>
                </a:cubicBezTo>
                <a:cubicBezTo>
                  <a:pt x="65884" y="155497"/>
                  <a:pt x="65669" y="142277"/>
                  <a:pt x="66664" y="12912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0" name="Freeform: Shape 459">
            <a:extLst>
              <a:ext uri="{FF2B5EF4-FFF2-40B4-BE49-F238E27FC236}">
                <a16:creationId xmlns:a16="http://schemas.microsoft.com/office/drawing/2014/main" id="{88D6CA6F-7585-4CA6-B564-935243DD1C94}"/>
              </a:ext>
            </a:extLst>
          </p:cNvPr>
          <p:cNvSpPr/>
          <p:nvPr/>
        </p:nvSpPr>
        <p:spPr>
          <a:xfrm>
            <a:off x="5329395" y="4380394"/>
            <a:ext cx="49053" cy="133762"/>
          </a:xfrm>
          <a:custGeom>
            <a:avLst/>
            <a:gdLst>
              <a:gd name="connsiteX0" fmla="*/ 53892 w 61868"/>
              <a:gd name="connsiteY0" fmla="*/ 60612 h 172009"/>
              <a:gd name="connsiteX1" fmla="*/ 47257 w 61868"/>
              <a:gd name="connsiteY1" fmla="*/ 35566 h 172009"/>
              <a:gd name="connsiteX2" fmla="*/ 29178 w 61868"/>
              <a:gd name="connsiteY2" fmla="*/ 4383 h 172009"/>
              <a:gd name="connsiteX3" fmla="*/ 3966 w 61868"/>
              <a:gd name="connsiteY3" fmla="*/ 236 h 172009"/>
              <a:gd name="connsiteX4" fmla="*/ -15 w 61868"/>
              <a:gd name="connsiteY4" fmla="*/ 236 h 172009"/>
              <a:gd name="connsiteX5" fmla="*/ 6620 w 61868"/>
              <a:gd name="connsiteY5" fmla="*/ 21633 h 172009"/>
              <a:gd name="connsiteX6" fmla="*/ 14747 w 61868"/>
              <a:gd name="connsiteY6" fmla="*/ 41538 h 172009"/>
              <a:gd name="connsiteX7" fmla="*/ 15576 w 61868"/>
              <a:gd name="connsiteY7" fmla="*/ 87981 h 172009"/>
              <a:gd name="connsiteX8" fmla="*/ 24367 w 61868"/>
              <a:gd name="connsiteY8" fmla="*/ 133594 h 172009"/>
              <a:gd name="connsiteX9" fmla="*/ 36476 w 61868"/>
              <a:gd name="connsiteY9" fmla="*/ 171910 h 172009"/>
              <a:gd name="connsiteX10" fmla="*/ 43276 w 61868"/>
              <a:gd name="connsiteY10" fmla="*/ 167432 h 172009"/>
              <a:gd name="connsiteX11" fmla="*/ 61854 w 61868"/>
              <a:gd name="connsiteY11" fmla="*/ 160133 h 172009"/>
              <a:gd name="connsiteX12" fmla="*/ 59034 w 61868"/>
              <a:gd name="connsiteY12" fmla="*/ 98928 h 172009"/>
              <a:gd name="connsiteX13" fmla="*/ 53892 w 61868"/>
              <a:gd name="connsiteY13" fmla="*/ 60612 h 17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868" h="172009">
                <a:moveTo>
                  <a:pt x="53892" y="60612"/>
                </a:moveTo>
                <a:cubicBezTo>
                  <a:pt x="47921" y="54641"/>
                  <a:pt x="61190" y="44026"/>
                  <a:pt x="47257" y="35566"/>
                </a:cubicBezTo>
                <a:cubicBezTo>
                  <a:pt x="33324" y="27107"/>
                  <a:pt x="30670" y="30424"/>
                  <a:pt x="29178" y="4383"/>
                </a:cubicBezTo>
                <a:cubicBezTo>
                  <a:pt x="22045" y="4383"/>
                  <a:pt x="11596" y="900"/>
                  <a:pt x="3966" y="236"/>
                </a:cubicBezTo>
                <a:cubicBezTo>
                  <a:pt x="2672" y="-211"/>
                  <a:pt x="1278" y="-211"/>
                  <a:pt x="-15" y="236"/>
                </a:cubicBezTo>
                <a:cubicBezTo>
                  <a:pt x="549" y="7783"/>
                  <a:pt x="2805" y="15098"/>
                  <a:pt x="6620" y="21633"/>
                </a:cubicBezTo>
                <a:cubicBezTo>
                  <a:pt x="13205" y="25929"/>
                  <a:pt x="16439" y="33858"/>
                  <a:pt x="14747" y="41538"/>
                </a:cubicBezTo>
                <a:cubicBezTo>
                  <a:pt x="12458" y="56963"/>
                  <a:pt x="12740" y="72654"/>
                  <a:pt x="15576" y="87981"/>
                </a:cubicBezTo>
                <a:cubicBezTo>
                  <a:pt x="21133" y="102560"/>
                  <a:pt x="24119" y="117986"/>
                  <a:pt x="24367" y="133594"/>
                </a:cubicBezTo>
                <a:cubicBezTo>
                  <a:pt x="25761" y="147063"/>
                  <a:pt x="29874" y="160100"/>
                  <a:pt x="36476" y="171910"/>
                </a:cubicBezTo>
                <a:cubicBezTo>
                  <a:pt x="38897" y="170666"/>
                  <a:pt x="41186" y="169173"/>
                  <a:pt x="43276" y="167432"/>
                </a:cubicBezTo>
                <a:cubicBezTo>
                  <a:pt x="48817" y="163584"/>
                  <a:pt x="55169" y="161079"/>
                  <a:pt x="61854" y="160133"/>
                </a:cubicBezTo>
                <a:cubicBezTo>
                  <a:pt x="61024" y="139068"/>
                  <a:pt x="59863" y="110373"/>
                  <a:pt x="59034" y="98928"/>
                </a:cubicBezTo>
                <a:cubicBezTo>
                  <a:pt x="57541" y="81180"/>
                  <a:pt x="59697" y="66418"/>
                  <a:pt x="53892" y="60612"/>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1" name="Freeform: Shape 460">
            <a:extLst>
              <a:ext uri="{FF2B5EF4-FFF2-40B4-BE49-F238E27FC236}">
                <a16:creationId xmlns:a16="http://schemas.microsoft.com/office/drawing/2014/main" id="{C9FC31EA-27F5-4772-9BDE-7B6330FD08ED}"/>
              </a:ext>
            </a:extLst>
          </p:cNvPr>
          <p:cNvSpPr/>
          <p:nvPr/>
        </p:nvSpPr>
        <p:spPr>
          <a:xfrm>
            <a:off x="5558882" y="4327900"/>
            <a:ext cx="195162" cy="297444"/>
          </a:xfrm>
          <a:custGeom>
            <a:avLst/>
            <a:gdLst>
              <a:gd name="connsiteX0" fmla="*/ 102658 w 246148"/>
              <a:gd name="connsiteY0" fmla="*/ 363816 h 382492"/>
              <a:gd name="connsiteX1" fmla="*/ 190900 w 246148"/>
              <a:gd name="connsiteY1" fmla="*/ 365806 h 382492"/>
              <a:gd name="connsiteX2" fmla="*/ 238006 w 246148"/>
              <a:gd name="connsiteY2" fmla="*/ 382393 h 382492"/>
              <a:gd name="connsiteX3" fmla="*/ 246134 w 246148"/>
              <a:gd name="connsiteY3" fmla="*/ 352703 h 382492"/>
              <a:gd name="connsiteX4" fmla="*/ 240494 w 246148"/>
              <a:gd name="connsiteY4" fmla="*/ 347229 h 382492"/>
              <a:gd name="connsiteX5" fmla="*/ 219097 w 246148"/>
              <a:gd name="connsiteY5" fmla="*/ 325666 h 382492"/>
              <a:gd name="connsiteX6" fmla="*/ 211799 w 246148"/>
              <a:gd name="connsiteY6" fmla="*/ 314719 h 382492"/>
              <a:gd name="connsiteX7" fmla="*/ 206491 w 246148"/>
              <a:gd name="connsiteY7" fmla="*/ 294814 h 382492"/>
              <a:gd name="connsiteX8" fmla="*/ 197037 w 246148"/>
              <a:gd name="connsiteY8" fmla="*/ 268276 h 382492"/>
              <a:gd name="connsiteX9" fmla="*/ 192558 w 246148"/>
              <a:gd name="connsiteY9" fmla="*/ 240907 h 382492"/>
              <a:gd name="connsiteX10" fmla="*/ 209145 w 246148"/>
              <a:gd name="connsiteY10" fmla="*/ 207733 h 382492"/>
              <a:gd name="connsiteX11" fmla="*/ 225732 w 246148"/>
              <a:gd name="connsiteY11" fmla="*/ 187000 h 382492"/>
              <a:gd name="connsiteX12" fmla="*/ 215780 w 246148"/>
              <a:gd name="connsiteY12" fmla="*/ 162949 h 382492"/>
              <a:gd name="connsiteX13" fmla="*/ 188246 w 246148"/>
              <a:gd name="connsiteY13" fmla="*/ 134420 h 382492"/>
              <a:gd name="connsiteX14" fmla="*/ 180450 w 246148"/>
              <a:gd name="connsiteY14" fmla="*/ 110866 h 382492"/>
              <a:gd name="connsiteX15" fmla="*/ 208979 w 246148"/>
              <a:gd name="connsiteY15" fmla="*/ 106886 h 382492"/>
              <a:gd name="connsiteX16" fmla="*/ 222746 w 246148"/>
              <a:gd name="connsiteY16" fmla="*/ 102075 h 382492"/>
              <a:gd name="connsiteX17" fmla="*/ 208979 w 246148"/>
              <a:gd name="connsiteY17" fmla="*/ 60774 h 382492"/>
              <a:gd name="connsiteX18" fmla="*/ 204999 w 246148"/>
              <a:gd name="connsiteY18" fmla="*/ 31250 h 382492"/>
              <a:gd name="connsiteX19" fmla="*/ 184431 w 246148"/>
              <a:gd name="connsiteY19" fmla="*/ -100 h 382492"/>
              <a:gd name="connsiteX20" fmla="*/ 182440 w 246148"/>
              <a:gd name="connsiteY20" fmla="*/ -100 h 382492"/>
              <a:gd name="connsiteX21" fmla="*/ 180450 w 246148"/>
              <a:gd name="connsiteY21" fmla="*/ 17815 h 382492"/>
              <a:gd name="connsiteX22" fmla="*/ 194217 w 246148"/>
              <a:gd name="connsiteY22" fmla="*/ 31581 h 382492"/>
              <a:gd name="connsiteX23" fmla="*/ 196208 w 246148"/>
              <a:gd name="connsiteY23" fmla="*/ 52315 h 382492"/>
              <a:gd name="connsiteX24" fmla="*/ 176469 w 246148"/>
              <a:gd name="connsiteY24" fmla="*/ 63096 h 382492"/>
              <a:gd name="connsiteX25" fmla="*/ 156896 w 246148"/>
              <a:gd name="connsiteY25" fmla="*/ 99421 h 382492"/>
              <a:gd name="connsiteX26" fmla="*/ 149100 w 246148"/>
              <a:gd name="connsiteY26" fmla="*/ 120985 h 382492"/>
              <a:gd name="connsiteX27" fmla="*/ 145120 w 246148"/>
              <a:gd name="connsiteY27" fmla="*/ 138732 h 382492"/>
              <a:gd name="connsiteX28" fmla="*/ 129363 w 246148"/>
              <a:gd name="connsiteY28" fmla="*/ 158471 h 382492"/>
              <a:gd name="connsiteX29" fmla="*/ 104814 w 246148"/>
              <a:gd name="connsiteY29" fmla="*/ 209558 h 382492"/>
              <a:gd name="connsiteX30" fmla="*/ 91047 w 246148"/>
              <a:gd name="connsiteY30" fmla="*/ 224155 h 382492"/>
              <a:gd name="connsiteX31" fmla="*/ 67494 w 246148"/>
              <a:gd name="connsiteY31" fmla="*/ 207568 h 382492"/>
              <a:gd name="connsiteX32" fmla="*/ 47755 w 246148"/>
              <a:gd name="connsiteY32" fmla="*/ 210387 h 382492"/>
              <a:gd name="connsiteX33" fmla="*/ 9771 w 246148"/>
              <a:gd name="connsiteY33" fmla="*/ 246713 h 382492"/>
              <a:gd name="connsiteX34" fmla="*/ -15 w 246148"/>
              <a:gd name="connsiteY34" fmla="*/ 282374 h 382492"/>
              <a:gd name="connsiteX35" fmla="*/ 13918 w 246148"/>
              <a:gd name="connsiteY35" fmla="*/ 300786 h 382492"/>
              <a:gd name="connsiteX36" fmla="*/ 39462 w 246148"/>
              <a:gd name="connsiteY36" fmla="*/ 306259 h 382492"/>
              <a:gd name="connsiteX37" fmla="*/ 48750 w 246148"/>
              <a:gd name="connsiteY37" fmla="*/ 339433 h 382492"/>
              <a:gd name="connsiteX38" fmla="*/ 42447 w 246148"/>
              <a:gd name="connsiteY38" fmla="*/ 368792 h 382492"/>
              <a:gd name="connsiteX39" fmla="*/ 88559 w 246148"/>
              <a:gd name="connsiteY39" fmla="*/ 368792 h 38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6148" h="382492">
                <a:moveTo>
                  <a:pt x="102658" y="363816"/>
                </a:moveTo>
                <a:cubicBezTo>
                  <a:pt x="102658" y="363816"/>
                  <a:pt x="180616" y="367797"/>
                  <a:pt x="190900" y="365806"/>
                </a:cubicBezTo>
                <a:cubicBezTo>
                  <a:pt x="201183" y="363816"/>
                  <a:pt x="238006" y="382393"/>
                  <a:pt x="238006" y="382393"/>
                </a:cubicBezTo>
                <a:cubicBezTo>
                  <a:pt x="238935" y="372092"/>
                  <a:pt x="241688" y="362041"/>
                  <a:pt x="246134" y="352703"/>
                </a:cubicBezTo>
                <a:cubicBezTo>
                  <a:pt x="243629" y="351657"/>
                  <a:pt x="241622" y="349701"/>
                  <a:pt x="240494" y="347229"/>
                </a:cubicBezTo>
                <a:cubicBezTo>
                  <a:pt x="239001" y="341921"/>
                  <a:pt x="223907" y="332301"/>
                  <a:pt x="219097" y="325666"/>
                </a:cubicBezTo>
                <a:cubicBezTo>
                  <a:pt x="216310" y="322266"/>
                  <a:pt x="213856" y="318600"/>
                  <a:pt x="211799" y="314719"/>
                </a:cubicBezTo>
                <a:cubicBezTo>
                  <a:pt x="212396" y="307670"/>
                  <a:pt x="210522" y="300620"/>
                  <a:pt x="206491" y="294814"/>
                </a:cubicBezTo>
                <a:cubicBezTo>
                  <a:pt x="200039" y="287516"/>
                  <a:pt x="196655" y="278012"/>
                  <a:pt x="197037" y="268276"/>
                </a:cubicBezTo>
                <a:cubicBezTo>
                  <a:pt x="197037" y="256499"/>
                  <a:pt x="192558" y="247708"/>
                  <a:pt x="192558" y="240907"/>
                </a:cubicBezTo>
                <a:cubicBezTo>
                  <a:pt x="192558" y="234106"/>
                  <a:pt x="204335" y="221832"/>
                  <a:pt x="209145" y="207733"/>
                </a:cubicBezTo>
                <a:cubicBezTo>
                  <a:pt x="212811" y="199523"/>
                  <a:pt x="218533" y="192391"/>
                  <a:pt x="225732" y="187000"/>
                </a:cubicBezTo>
                <a:cubicBezTo>
                  <a:pt x="221452" y="179420"/>
                  <a:pt x="218102" y="171342"/>
                  <a:pt x="215780" y="162949"/>
                </a:cubicBezTo>
                <a:cubicBezTo>
                  <a:pt x="211965" y="150177"/>
                  <a:pt x="201017" y="146362"/>
                  <a:pt x="188246" y="134420"/>
                </a:cubicBezTo>
                <a:cubicBezTo>
                  <a:pt x="180715" y="129162"/>
                  <a:pt x="177547" y="119574"/>
                  <a:pt x="180450" y="110866"/>
                </a:cubicBezTo>
                <a:cubicBezTo>
                  <a:pt x="180450" y="106056"/>
                  <a:pt x="197037" y="106056"/>
                  <a:pt x="208979" y="106886"/>
                </a:cubicBezTo>
                <a:cubicBezTo>
                  <a:pt x="220922" y="107715"/>
                  <a:pt x="227556" y="105061"/>
                  <a:pt x="222746" y="102075"/>
                </a:cubicBezTo>
                <a:cubicBezTo>
                  <a:pt x="213540" y="90299"/>
                  <a:pt x="208681" y="75719"/>
                  <a:pt x="208979" y="60774"/>
                </a:cubicBezTo>
                <a:cubicBezTo>
                  <a:pt x="209974" y="45017"/>
                  <a:pt x="204003" y="40207"/>
                  <a:pt x="204999" y="31250"/>
                </a:cubicBezTo>
                <a:cubicBezTo>
                  <a:pt x="205994" y="22293"/>
                  <a:pt x="194217" y="-100"/>
                  <a:pt x="184431" y="-100"/>
                </a:cubicBezTo>
                <a:lnTo>
                  <a:pt x="182440" y="-100"/>
                </a:lnTo>
                <a:cubicBezTo>
                  <a:pt x="181180" y="5789"/>
                  <a:pt x="180516" y="11793"/>
                  <a:pt x="180450" y="17815"/>
                </a:cubicBezTo>
                <a:cubicBezTo>
                  <a:pt x="180450" y="22790"/>
                  <a:pt x="188246" y="29591"/>
                  <a:pt x="194217" y="31581"/>
                </a:cubicBezTo>
                <a:cubicBezTo>
                  <a:pt x="200188" y="33572"/>
                  <a:pt x="197203" y="43358"/>
                  <a:pt x="196208" y="52315"/>
                </a:cubicBezTo>
                <a:cubicBezTo>
                  <a:pt x="195212" y="61272"/>
                  <a:pt x="179621" y="59116"/>
                  <a:pt x="176469" y="63096"/>
                </a:cubicBezTo>
                <a:cubicBezTo>
                  <a:pt x="168258" y="74226"/>
                  <a:pt x="161674" y="86451"/>
                  <a:pt x="156896" y="99421"/>
                </a:cubicBezTo>
                <a:cubicBezTo>
                  <a:pt x="157891" y="104398"/>
                  <a:pt x="153911" y="119160"/>
                  <a:pt x="149100" y="120985"/>
                </a:cubicBezTo>
                <a:cubicBezTo>
                  <a:pt x="144291" y="122809"/>
                  <a:pt x="145120" y="133756"/>
                  <a:pt x="145120" y="138732"/>
                </a:cubicBezTo>
                <a:cubicBezTo>
                  <a:pt x="145120" y="143709"/>
                  <a:pt x="129363" y="150509"/>
                  <a:pt x="129363" y="158471"/>
                </a:cubicBezTo>
                <a:cubicBezTo>
                  <a:pt x="122960" y="176302"/>
                  <a:pt x="114733" y="193419"/>
                  <a:pt x="104814" y="209558"/>
                </a:cubicBezTo>
                <a:cubicBezTo>
                  <a:pt x="98842" y="220340"/>
                  <a:pt x="93037" y="234106"/>
                  <a:pt x="91047" y="224155"/>
                </a:cubicBezTo>
                <a:cubicBezTo>
                  <a:pt x="89056" y="214203"/>
                  <a:pt x="74460" y="202592"/>
                  <a:pt x="67494" y="207568"/>
                </a:cubicBezTo>
                <a:cubicBezTo>
                  <a:pt x="60527" y="212544"/>
                  <a:pt x="51736" y="209558"/>
                  <a:pt x="47755" y="210387"/>
                </a:cubicBezTo>
                <a:cubicBezTo>
                  <a:pt x="34403" y="221749"/>
                  <a:pt x="21714" y="233875"/>
                  <a:pt x="9771" y="246713"/>
                </a:cubicBezTo>
                <a:cubicBezTo>
                  <a:pt x="7599" y="258871"/>
                  <a:pt x="4331" y="270813"/>
                  <a:pt x="-15" y="282374"/>
                </a:cubicBezTo>
                <a:cubicBezTo>
                  <a:pt x="5459" y="287831"/>
                  <a:pt x="10153" y="294035"/>
                  <a:pt x="13918" y="300786"/>
                </a:cubicBezTo>
                <a:cubicBezTo>
                  <a:pt x="20719" y="310738"/>
                  <a:pt x="33988" y="303274"/>
                  <a:pt x="39462" y="306259"/>
                </a:cubicBezTo>
                <a:cubicBezTo>
                  <a:pt x="46412" y="315863"/>
                  <a:pt x="49696" y="327623"/>
                  <a:pt x="48750" y="339433"/>
                </a:cubicBezTo>
                <a:cubicBezTo>
                  <a:pt x="46926" y="345570"/>
                  <a:pt x="38798" y="361162"/>
                  <a:pt x="42447" y="368792"/>
                </a:cubicBezTo>
                <a:lnTo>
                  <a:pt x="88559" y="368792"/>
                </a:ln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2" name="Freeform: Shape 461">
            <a:extLst>
              <a:ext uri="{FF2B5EF4-FFF2-40B4-BE49-F238E27FC236}">
                <a16:creationId xmlns:a16="http://schemas.microsoft.com/office/drawing/2014/main" id="{6731B2B8-3393-4330-88CA-04E3154D8309}"/>
              </a:ext>
            </a:extLst>
          </p:cNvPr>
          <p:cNvSpPr/>
          <p:nvPr/>
        </p:nvSpPr>
        <p:spPr>
          <a:xfrm>
            <a:off x="5105959" y="4393213"/>
            <a:ext cx="160311" cy="161059"/>
          </a:xfrm>
          <a:custGeom>
            <a:avLst/>
            <a:gdLst>
              <a:gd name="connsiteX0" fmla="*/ 191229 w 202191"/>
              <a:gd name="connsiteY0" fmla="*/ 173007 h 207110"/>
              <a:gd name="connsiteX1" fmla="*/ 177130 w 202191"/>
              <a:gd name="connsiteY1" fmla="*/ 136185 h 207110"/>
              <a:gd name="connsiteX2" fmla="*/ 189736 w 202191"/>
              <a:gd name="connsiteY2" fmla="*/ 103841 h 207110"/>
              <a:gd name="connsiteX3" fmla="*/ 202176 w 202191"/>
              <a:gd name="connsiteY3" fmla="*/ 81614 h 207110"/>
              <a:gd name="connsiteX4" fmla="*/ 190731 w 202191"/>
              <a:gd name="connsiteY4" fmla="*/ 30029 h 207110"/>
              <a:gd name="connsiteX5" fmla="*/ 184594 w 202191"/>
              <a:gd name="connsiteY5" fmla="*/ 26877 h 207110"/>
              <a:gd name="connsiteX6" fmla="*/ 145283 w 202191"/>
              <a:gd name="connsiteY6" fmla="*/ 31854 h 207110"/>
              <a:gd name="connsiteX7" fmla="*/ 115759 w 202191"/>
              <a:gd name="connsiteY7" fmla="*/ 18086 h 207110"/>
              <a:gd name="connsiteX8" fmla="*/ 90215 w 202191"/>
              <a:gd name="connsiteY8" fmla="*/ 9129 h 207110"/>
              <a:gd name="connsiteX9" fmla="*/ 78438 w 202191"/>
              <a:gd name="connsiteY9" fmla="*/ 5315 h 207110"/>
              <a:gd name="connsiteX10" fmla="*/ 61852 w 202191"/>
              <a:gd name="connsiteY10" fmla="*/ 7305 h 207110"/>
              <a:gd name="connsiteX11" fmla="*/ 43274 w 202191"/>
              <a:gd name="connsiteY11" fmla="*/ 16096 h 207110"/>
              <a:gd name="connsiteX12" fmla="*/ 26688 w 202191"/>
              <a:gd name="connsiteY12" fmla="*/ 11120 h 207110"/>
              <a:gd name="connsiteX13" fmla="*/ 15408 w 202191"/>
              <a:gd name="connsiteY13" fmla="*/ 13940 h 207110"/>
              <a:gd name="connsiteX14" fmla="*/ 15408 w 202191"/>
              <a:gd name="connsiteY14" fmla="*/ 40313 h 207110"/>
              <a:gd name="connsiteX15" fmla="*/ 21214 w 202191"/>
              <a:gd name="connsiteY15" fmla="*/ 55904 h 207110"/>
              <a:gd name="connsiteX16" fmla="*/ 27185 w 202191"/>
              <a:gd name="connsiteY16" fmla="*/ 76472 h 207110"/>
              <a:gd name="connsiteX17" fmla="*/ 11759 w 202191"/>
              <a:gd name="connsiteY17" fmla="*/ 78794 h 207110"/>
              <a:gd name="connsiteX18" fmla="*/ 14579 w 202191"/>
              <a:gd name="connsiteY18" fmla="*/ 98699 h 207110"/>
              <a:gd name="connsiteX19" fmla="*/ 5124 w 202191"/>
              <a:gd name="connsiteY19" fmla="*/ 117110 h 207110"/>
              <a:gd name="connsiteX20" fmla="*/ 1310 w 202191"/>
              <a:gd name="connsiteY20" fmla="*/ 140663 h 207110"/>
              <a:gd name="connsiteX21" fmla="*/ 12423 w 202191"/>
              <a:gd name="connsiteY21" fmla="*/ 150947 h 207110"/>
              <a:gd name="connsiteX22" fmla="*/ 38298 w 202191"/>
              <a:gd name="connsiteY22" fmla="*/ 175993 h 207110"/>
              <a:gd name="connsiteX23" fmla="*/ 28346 w 202191"/>
              <a:gd name="connsiteY23" fmla="*/ 207011 h 207110"/>
              <a:gd name="connsiteX24" fmla="*/ 126374 w 202191"/>
              <a:gd name="connsiteY24" fmla="*/ 185614 h 207110"/>
              <a:gd name="connsiteX25" fmla="*/ 190897 w 202191"/>
              <a:gd name="connsiteY25" fmla="*/ 189429 h 207110"/>
              <a:gd name="connsiteX26" fmla="*/ 191229 w 202191"/>
              <a:gd name="connsiteY26" fmla="*/ 173007 h 20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2191" h="207110">
                <a:moveTo>
                  <a:pt x="191229" y="173007"/>
                </a:moveTo>
                <a:cubicBezTo>
                  <a:pt x="184295" y="161712"/>
                  <a:pt x="179519" y="149222"/>
                  <a:pt x="177130" y="136185"/>
                </a:cubicBezTo>
                <a:cubicBezTo>
                  <a:pt x="177959" y="130214"/>
                  <a:pt x="190400" y="112632"/>
                  <a:pt x="189736" y="103841"/>
                </a:cubicBezTo>
                <a:cubicBezTo>
                  <a:pt x="189072" y="95050"/>
                  <a:pt x="202176" y="89078"/>
                  <a:pt x="202176" y="81614"/>
                </a:cubicBezTo>
                <a:cubicBezTo>
                  <a:pt x="201015" y="63933"/>
                  <a:pt x="197150" y="46533"/>
                  <a:pt x="190731" y="30029"/>
                </a:cubicBezTo>
                <a:cubicBezTo>
                  <a:pt x="188310" y="29996"/>
                  <a:pt x="186037" y="28818"/>
                  <a:pt x="184594" y="26877"/>
                </a:cubicBezTo>
                <a:cubicBezTo>
                  <a:pt x="171623" y="20823"/>
                  <a:pt x="156330" y="22764"/>
                  <a:pt x="145283" y="31854"/>
                </a:cubicBezTo>
                <a:cubicBezTo>
                  <a:pt x="136492" y="41640"/>
                  <a:pt x="118744" y="22897"/>
                  <a:pt x="115759" y="18086"/>
                </a:cubicBezTo>
                <a:cubicBezTo>
                  <a:pt x="112773" y="13276"/>
                  <a:pt x="100001" y="2329"/>
                  <a:pt x="90215" y="9129"/>
                </a:cubicBezTo>
                <a:cubicBezTo>
                  <a:pt x="80429" y="15930"/>
                  <a:pt x="77443" y="14106"/>
                  <a:pt x="78438" y="5315"/>
                </a:cubicBezTo>
                <a:cubicBezTo>
                  <a:pt x="79434" y="-3476"/>
                  <a:pt x="63676" y="-657"/>
                  <a:pt x="61852" y="7305"/>
                </a:cubicBezTo>
                <a:cubicBezTo>
                  <a:pt x="60027" y="15267"/>
                  <a:pt x="47089" y="22067"/>
                  <a:pt x="43274" y="16096"/>
                </a:cubicBezTo>
                <a:cubicBezTo>
                  <a:pt x="39459" y="10125"/>
                  <a:pt x="30502" y="2329"/>
                  <a:pt x="26688" y="11120"/>
                </a:cubicBezTo>
                <a:cubicBezTo>
                  <a:pt x="24034" y="17257"/>
                  <a:pt x="19389" y="16760"/>
                  <a:pt x="15408" y="13940"/>
                </a:cubicBezTo>
                <a:cubicBezTo>
                  <a:pt x="12920" y="24887"/>
                  <a:pt x="9935" y="37327"/>
                  <a:pt x="15408" y="40313"/>
                </a:cubicBezTo>
                <a:cubicBezTo>
                  <a:pt x="20816" y="43464"/>
                  <a:pt x="23254" y="49983"/>
                  <a:pt x="21214" y="55904"/>
                </a:cubicBezTo>
                <a:cubicBezTo>
                  <a:pt x="19887" y="60383"/>
                  <a:pt x="32327" y="71330"/>
                  <a:pt x="27185" y="76472"/>
                </a:cubicBezTo>
                <a:cubicBezTo>
                  <a:pt x="22043" y="81614"/>
                  <a:pt x="15408" y="71330"/>
                  <a:pt x="11759" y="78794"/>
                </a:cubicBezTo>
                <a:cubicBezTo>
                  <a:pt x="8110" y="86259"/>
                  <a:pt x="19057" y="92727"/>
                  <a:pt x="14579" y="98699"/>
                </a:cubicBezTo>
                <a:cubicBezTo>
                  <a:pt x="10101" y="104670"/>
                  <a:pt x="3632" y="105333"/>
                  <a:pt x="5124" y="117110"/>
                </a:cubicBezTo>
                <a:cubicBezTo>
                  <a:pt x="6617" y="128886"/>
                  <a:pt x="5124" y="137014"/>
                  <a:pt x="1310" y="140663"/>
                </a:cubicBezTo>
                <a:cubicBezTo>
                  <a:pt x="-2505" y="144313"/>
                  <a:pt x="2139" y="144313"/>
                  <a:pt x="12423" y="150947"/>
                </a:cubicBezTo>
                <a:cubicBezTo>
                  <a:pt x="22706" y="157582"/>
                  <a:pt x="39625" y="164880"/>
                  <a:pt x="38298" y="175993"/>
                </a:cubicBezTo>
                <a:cubicBezTo>
                  <a:pt x="36971" y="187106"/>
                  <a:pt x="32493" y="188434"/>
                  <a:pt x="28346" y="207011"/>
                </a:cubicBezTo>
                <a:cubicBezTo>
                  <a:pt x="48416" y="207011"/>
                  <a:pt x="84244" y="192912"/>
                  <a:pt x="126374" y="185614"/>
                </a:cubicBezTo>
                <a:cubicBezTo>
                  <a:pt x="147887" y="181948"/>
                  <a:pt x="169965" y="183242"/>
                  <a:pt x="190897" y="189429"/>
                </a:cubicBezTo>
                <a:cubicBezTo>
                  <a:pt x="192224" y="183126"/>
                  <a:pt x="193385" y="175993"/>
                  <a:pt x="191229" y="17300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3" name="Freeform: Shape 462">
            <a:extLst>
              <a:ext uri="{FF2B5EF4-FFF2-40B4-BE49-F238E27FC236}">
                <a16:creationId xmlns:a16="http://schemas.microsoft.com/office/drawing/2014/main" id="{742D867A-E33C-4127-BE02-C5EA8AFFE16C}"/>
              </a:ext>
            </a:extLst>
          </p:cNvPr>
          <p:cNvSpPr/>
          <p:nvPr/>
        </p:nvSpPr>
        <p:spPr>
          <a:xfrm>
            <a:off x="5246806" y="4381171"/>
            <a:ext cx="112442" cy="166394"/>
          </a:xfrm>
          <a:custGeom>
            <a:avLst/>
            <a:gdLst>
              <a:gd name="connsiteX0" fmla="*/ 119742 w 141817"/>
              <a:gd name="connsiteY0" fmla="*/ 87645 h 213970"/>
              <a:gd name="connsiteX1" fmla="*/ 118913 w 141817"/>
              <a:gd name="connsiteY1" fmla="*/ 41202 h 213970"/>
              <a:gd name="connsiteX2" fmla="*/ 110785 w 141817"/>
              <a:gd name="connsiteY2" fmla="*/ 21298 h 213970"/>
              <a:gd name="connsiteX3" fmla="*/ 104151 w 141817"/>
              <a:gd name="connsiteY3" fmla="*/ -100 h 213970"/>
              <a:gd name="connsiteX4" fmla="*/ 95359 w 141817"/>
              <a:gd name="connsiteY4" fmla="*/ 8028 h 213970"/>
              <a:gd name="connsiteX5" fmla="*/ 12425 w 141817"/>
              <a:gd name="connsiteY5" fmla="*/ 6038 h 213970"/>
              <a:gd name="connsiteX6" fmla="*/ 18231 w 141817"/>
              <a:gd name="connsiteY6" fmla="*/ 39211 h 213970"/>
              <a:gd name="connsiteX7" fmla="*/ 13586 w 141817"/>
              <a:gd name="connsiteY7" fmla="*/ 45348 h 213970"/>
              <a:gd name="connsiteX8" fmla="*/ 25031 w 141817"/>
              <a:gd name="connsiteY8" fmla="*/ 96934 h 213970"/>
              <a:gd name="connsiteX9" fmla="*/ 12591 w 141817"/>
              <a:gd name="connsiteY9" fmla="*/ 119160 h 213970"/>
              <a:gd name="connsiteX10" fmla="*/ -15 w 141817"/>
              <a:gd name="connsiteY10" fmla="*/ 151504 h 213970"/>
              <a:gd name="connsiteX11" fmla="*/ 14084 w 141817"/>
              <a:gd name="connsiteY11" fmla="*/ 188327 h 213970"/>
              <a:gd name="connsiteX12" fmla="*/ 14084 w 141817"/>
              <a:gd name="connsiteY12" fmla="*/ 204914 h 213970"/>
              <a:gd name="connsiteX13" fmla="*/ 38964 w 141817"/>
              <a:gd name="connsiteY13" fmla="*/ 213871 h 213970"/>
              <a:gd name="connsiteX14" fmla="*/ 103487 w 141817"/>
              <a:gd name="connsiteY14" fmla="*/ 187830 h 213970"/>
              <a:gd name="connsiteX15" fmla="*/ 141803 w 141817"/>
              <a:gd name="connsiteY15" fmla="*/ 171243 h 213970"/>
              <a:gd name="connsiteX16" fmla="*/ 129694 w 141817"/>
              <a:gd name="connsiteY16" fmla="*/ 132927 h 213970"/>
              <a:gd name="connsiteX17" fmla="*/ 119742 w 141817"/>
              <a:gd name="connsiteY17" fmla="*/ 87645 h 213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817" h="213970">
                <a:moveTo>
                  <a:pt x="119742" y="87645"/>
                </a:moveTo>
                <a:cubicBezTo>
                  <a:pt x="116906" y="72319"/>
                  <a:pt x="116624" y="56628"/>
                  <a:pt x="118913" y="41202"/>
                </a:cubicBezTo>
                <a:cubicBezTo>
                  <a:pt x="120605" y="33522"/>
                  <a:pt x="117370" y="25594"/>
                  <a:pt x="110785" y="21298"/>
                </a:cubicBezTo>
                <a:cubicBezTo>
                  <a:pt x="106970" y="14762"/>
                  <a:pt x="104715" y="7448"/>
                  <a:pt x="104151" y="-100"/>
                </a:cubicBezTo>
                <a:cubicBezTo>
                  <a:pt x="98345" y="2554"/>
                  <a:pt x="97848" y="12175"/>
                  <a:pt x="95359" y="8028"/>
                </a:cubicBezTo>
                <a:cubicBezTo>
                  <a:pt x="92871" y="3881"/>
                  <a:pt x="15743" y="67"/>
                  <a:pt x="12425" y="6038"/>
                </a:cubicBezTo>
                <a:cubicBezTo>
                  <a:pt x="9108" y="12009"/>
                  <a:pt x="19226" y="33572"/>
                  <a:pt x="18231" y="39211"/>
                </a:cubicBezTo>
                <a:cubicBezTo>
                  <a:pt x="17235" y="44851"/>
                  <a:pt x="15909" y="45183"/>
                  <a:pt x="13586" y="45348"/>
                </a:cubicBezTo>
                <a:cubicBezTo>
                  <a:pt x="20005" y="61853"/>
                  <a:pt x="23870" y="79252"/>
                  <a:pt x="25031" y="96934"/>
                </a:cubicBezTo>
                <a:cubicBezTo>
                  <a:pt x="25031" y="104398"/>
                  <a:pt x="11928" y="110203"/>
                  <a:pt x="12591" y="119160"/>
                </a:cubicBezTo>
                <a:cubicBezTo>
                  <a:pt x="13255" y="128117"/>
                  <a:pt x="815" y="145533"/>
                  <a:pt x="-15" y="151504"/>
                </a:cubicBezTo>
                <a:cubicBezTo>
                  <a:pt x="2374" y="164541"/>
                  <a:pt x="7151" y="177032"/>
                  <a:pt x="14084" y="188327"/>
                </a:cubicBezTo>
                <a:cubicBezTo>
                  <a:pt x="16240" y="191313"/>
                  <a:pt x="15079" y="198445"/>
                  <a:pt x="14084" y="204914"/>
                </a:cubicBezTo>
                <a:cubicBezTo>
                  <a:pt x="27519" y="208729"/>
                  <a:pt x="36310" y="213207"/>
                  <a:pt x="38964" y="213871"/>
                </a:cubicBezTo>
                <a:cubicBezTo>
                  <a:pt x="61373" y="207601"/>
                  <a:pt x="83002" y="198859"/>
                  <a:pt x="103487" y="187830"/>
                </a:cubicBezTo>
                <a:cubicBezTo>
                  <a:pt x="116756" y="181194"/>
                  <a:pt x="131519" y="176882"/>
                  <a:pt x="141803" y="171243"/>
                </a:cubicBezTo>
                <a:cubicBezTo>
                  <a:pt x="135201" y="159433"/>
                  <a:pt x="131088" y="146395"/>
                  <a:pt x="129694" y="132927"/>
                </a:cubicBezTo>
                <a:cubicBezTo>
                  <a:pt x="129031" y="117368"/>
                  <a:pt x="125664" y="102042"/>
                  <a:pt x="119742" y="87645"/>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4" name="Freeform: Shape 463">
            <a:extLst>
              <a:ext uri="{FF2B5EF4-FFF2-40B4-BE49-F238E27FC236}">
                <a16:creationId xmlns:a16="http://schemas.microsoft.com/office/drawing/2014/main" id="{DD962B31-269D-40B9-B289-7B9AAF666F63}"/>
              </a:ext>
            </a:extLst>
          </p:cNvPr>
          <p:cNvSpPr/>
          <p:nvPr/>
        </p:nvSpPr>
        <p:spPr>
          <a:xfrm>
            <a:off x="4931967" y="4339250"/>
            <a:ext cx="196813" cy="144804"/>
          </a:xfrm>
          <a:custGeom>
            <a:avLst/>
            <a:gdLst>
              <a:gd name="connsiteX0" fmla="*/ 83417 w 248229"/>
              <a:gd name="connsiteY0" fmla="*/ 100914 h 186208"/>
              <a:gd name="connsiteX1" fmla="*/ 98842 w 248229"/>
              <a:gd name="connsiteY1" fmla="*/ 97265 h 186208"/>
              <a:gd name="connsiteX2" fmla="*/ 123889 w 248229"/>
              <a:gd name="connsiteY2" fmla="*/ 92123 h 186208"/>
              <a:gd name="connsiteX3" fmla="*/ 150427 w 248229"/>
              <a:gd name="connsiteY3" fmla="*/ 125297 h 186208"/>
              <a:gd name="connsiteX4" fmla="*/ 154906 w 248229"/>
              <a:gd name="connsiteY4" fmla="*/ 145201 h 186208"/>
              <a:gd name="connsiteX5" fmla="*/ 155901 w 248229"/>
              <a:gd name="connsiteY5" fmla="*/ 147523 h 186208"/>
              <a:gd name="connsiteX6" fmla="*/ 179952 w 248229"/>
              <a:gd name="connsiteY6" fmla="*/ 143376 h 186208"/>
              <a:gd name="connsiteX7" fmla="*/ 189406 w 248229"/>
              <a:gd name="connsiteY7" fmla="*/ 171574 h 186208"/>
              <a:gd name="connsiteX8" fmla="*/ 205993 w 248229"/>
              <a:gd name="connsiteY8" fmla="*/ 183185 h 186208"/>
              <a:gd name="connsiteX9" fmla="*/ 219097 w 248229"/>
              <a:gd name="connsiteY9" fmla="*/ 173067 h 186208"/>
              <a:gd name="connsiteX10" fmla="*/ 225732 w 248229"/>
              <a:gd name="connsiteY10" fmla="*/ 178043 h 186208"/>
              <a:gd name="connsiteX11" fmla="*/ 234357 w 248229"/>
              <a:gd name="connsiteY11" fmla="*/ 168091 h 186208"/>
              <a:gd name="connsiteX12" fmla="*/ 231537 w 248229"/>
              <a:gd name="connsiteY12" fmla="*/ 148187 h 186208"/>
              <a:gd name="connsiteX13" fmla="*/ 246963 w 248229"/>
              <a:gd name="connsiteY13" fmla="*/ 145865 h 186208"/>
              <a:gd name="connsiteX14" fmla="*/ 240992 w 248229"/>
              <a:gd name="connsiteY14" fmla="*/ 125297 h 186208"/>
              <a:gd name="connsiteX15" fmla="*/ 235186 w 248229"/>
              <a:gd name="connsiteY15" fmla="*/ 109705 h 186208"/>
              <a:gd name="connsiteX16" fmla="*/ 235186 w 248229"/>
              <a:gd name="connsiteY16" fmla="*/ 83332 h 186208"/>
              <a:gd name="connsiteX17" fmla="*/ 230707 w 248229"/>
              <a:gd name="connsiteY17" fmla="*/ 78522 h 186208"/>
              <a:gd name="connsiteX18" fmla="*/ 222912 w 248229"/>
              <a:gd name="connsiteY18" fmla="*/ 59945 h 186208"/>
              <a:gd name="connsiteX19" fmla="*/ 222912 w 248229"/>
              <a:gd name="connsiteY19" fmla="*/ 48168 h 186208"/>
              <a:gd name="connsiteX20" fmla="*/ 211135 w 248229"/>
              <a:gd name="connsiteY20" fmla="*/ 32411 h 186208"/>
              <a:gd name="connsiteX21" fmla="*/ 198363 w 248229"/>
              <a:gd name="connsiteY21" fmla="*/ 7862 h 186208"/>
              <a:gd name="connsiteX22" fmla="*/ 174810 w 248229"/>
              <a:gd name="connsiteY22" fmla="*/ 24449 h 186208"/>
              <a:gd name="connsiteX23" fmla="*/ 152086 w 248229"/>
              <a:gd name="connsiteY23" fmla="*/ 22459 h 186208"/>
              <a:gd name="connsiteX24" fmla="*/ 133509 w 248229"/>
              <a:gd name="connsiteY24" fmla="*/ 25444 h 186208"/>
              <a:gd name="connsiteX25" fmla="*/ 123723 w 248229"/>
              <a:gd name="connsiteY25" fmla="*/ 16487 h 186208"/>
              <a:gd name="connsiteX26" fmla="*/ 123723 w 248229"/>
              <a:gd name="connsiteY26" fmla="*/ 11014 h 186208"/>
              <a:gd name="connsiteX27" fmla="*/ 120074 w 248229"/>
              <a:gd name="connsiteY27" fmla="*/ 12341 h 186208"/>
              <a:gd name="connsiteX28" fmla="*/ 71474 w 248229"/>
              <a:gd name="connsiteY28" fmla="*/ 9355 h 186208"/>
              <a:gd name="connsiteX29" fmla="*/ 47755 w 248229"/>
              <a:gd name="connsiteY29" fmla="*/ -100 h 186208"/>
              <a:gd name="connsiteX30" fmla="*/ 40456 w 248229"/>
              <a:gd name="connsiteY30" fmla="*/ 15326 h 186208"/>
              <a:gd name="connsiteX31" fmla="*/ 42613 w 248229"/>
              <a:gd name="connsiteY31" fmla="*/ 30752 h 186208"/>
              <a:gd name="connsiteX32" fmla="*/ 30836 w 248229"/>
              <a:gd name="connsiteY32" fmla="*/ 35894 h 186208"/>
              <a:gd name="connsiteX33" fmla="*/ 3634 w 248229"/>
              <a:gd name="connsiteY33" fmla="*/ 52481 h 186208"/>
              <a:gd name="connsiteX34" fmla="*/ -15 w 248229"/>
              <a:gd name="connsiteY34" fmla="*/ 55964 h 186208"/>
              <a:gd name="connsiteX35" fmla="*/ 23704 w 248229"/>
              <a:gd name="connsiteY35" fmla="*/ 85157 h 186208"/>
              <a:gd name="connsiteX36" fmla="*/ 61190 w 248229"/>
              <a:gd name="connsiteY36" fmla="*/ 125961 h 186208"/>
              <a:gd name="connsiteX37" fmla="*/ 83417 w 248229"/>
              <a:gd name="connsiteY37" fmla="*/ 100914 h 18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229" h="186208">
                <a:moveTo>
                  <a:pt x="83417" y="100914"/>
                </a:moveTo>
                <a:cubicBezTo>
                  <a:pt x="84246" y="92787"/>
                  <a:pt x="90881" y="95772"/>
                  <a:pt x="98842" y="97265"/>
                </a:cubicBezTo>
                <a:cubicBezTo>
                  <a:pt x="106804" y="98758"/>
                  <a:pt x="116590" y="92123"/>
                  <a:pt x="123889" y="92123"/>
                </a:cubicBezTo>
                <a:cubicBezTo>
                  <a:pt x="131186" y="92123"/>
                  <a:pt x="150427" y="117833"/>
                  <a:pt x="150427" y="125297"/>
                </a:cubicBezTo>
                <a:cubicBezTo>
                  <a:pt x="150013" y="132213"/>
                  <a:pt x="151555" y="139131"/>
                  <a:pt x="154906" y="145201"/>
                </a:cubicBezTo>
                <a:cubicBezTo>
                  <a:pt x="155404" y="145898"/>
                  <a:pt x="155735" y="146694"/>
                  <a:pt x="155901" y="147523"/>
                </a:cubicBezTo>
                <a:cubicBezTo>
                  <a:pt x="163796" y="145516"/>
                  <a:pt x="171841" y="144140"/>
                  <a:pt x="179952" y="143376"/>
                </a:cubicBezTo>
                <a:cubicBezTo>
                  <a:pt x="183601" y="143376"/>
                  <a:pt x="190899" y="159963"/>
                  <a:pt x="189406" y="171574"/>
                </a:cubicBezTo>
                <a:cubicBezTo>
                  <a:pt x="187914" y="183185"/>
                  <a:pt x="200188" y="190483"/>
                  <a:pt x="205993" y="183185"/>
                </a:cubicBezTo>
                <a:cubicBezTo>
                  <a:pt x="211799" y="175887"/>
                  <a:pt x="217604" y="166598"/>
                  <a:pt x="219097" y="173067"/>
                </a:cubicBezTo>
                <a:cubicBezTo>
                  <a:pt x="219097" y="174892"/>
                  <a:pt x="222248" y="176716"/>
                  <a:pt x="225732" y="178043"/>
                </a:cubicBezTo>
                <a:cubicBezTo>
                  <a:pt x="227556" y="173731"/>
                  <a:pt x="231371" y="172072"/>
                  <a:pt x="234357" y="168091"/>
                </a:cubicBezTo>
                <a:cubicBezTo>
                  <a:pt x="237343" y="164110"/>
                  <a:pt x="227722" y="155485"/>
                  <a:pt x="231537" y="148187"/>
                </a:cubicBezTo>
                <a:cubicBezTo>
                  <a:pt x="235352" y="140889"/>
                  <a:pt x="241821" y="151007"/>
                  <a:pt x="246963" y="145865"/>
                </a:cubicBezTo>
                <a:cubicBezTo>
                  <a:pt x="252105" y="140723"/>
                  <a:pt x="239664" y="129278"/>
                  <a:pt x="240992" y="125297"/>
                </a:cubicBezTo>
                <a:cubicBezTo>
                  <a:pt x="243032" y="119375"/>
                  <a:pt x="240593" y="112857"/>
                  <a:pt x="235186" y="109705"/>
                </a:cubicBezTo>
                <a:cubicBezTo>
                  <a:pt x="229712" y="106720"/>
                  <a:pt x="232698" y="94280"/>
                  <a:pt x="235186" y="83332"/>
                </a:cubicBezTo>
                <a:cubicBezTo>
                  <a:pt x="233444" y="81972"/>
                  <a:pt x="231935" y="80363"/>
                  <a:pt x="230707" y="78522"/>
                </a:cubicBezTo>
                <a:cubicBezTo>
                  <a:pt x="226727" y="72717"/>
                  <a:pt x="229712" y="59945"/>
                  <a:pt x="222912" y="59945"/>
                </a:cubicBezTo>
                <a:cubicBezTo>
                  <a:pt x="216111" y="59945"/>
                  <a:pt x="216941" y="50159"/>
                  <a:pt x="222912" y="48168"/>
                </a:cubicBezTo>
                <a:cubicBezTo>
                  <a:pt x="228883" y="46178"/>
                  <a:pt x="211135" y="39377"/>
                  <a:pt x="211135" y="32411"/>
                </a:cubicBezTo>
                <a:cubicBezTo>
                  <a:pt x="209709" y="23039"/>
                  <a:pt x="205214" y="14414"/>
                  <a:pt x="198363" y="7862"/>
                </a:cubicBezTo>
                <a:cubicBezTo>
                  <a:pt x="194383" y="6867"/>
                  <a:pt x="180615" y="24449"/>
                  <a:pt x="174810" y="24449"/>
                </a:cubicBezTo>
                <a:cubicBezTo>
                  <a:pt x="169004" y="24449"/>
                  <a:pt x="156067" y="12672"/>
                  <a:pt x="152086" y="22459"/>
                </a:cubicBezTo>
                <a:cubicBezTo>
                  <a:pt x="148105" y="32245"/>
                  <a:pt x="139314" y="17482"/>
                  <a:pt x="133509" y="25444"/>
                </a:cubicBezTo>
                <a:cubicBezTo>
                  <a:pt x="127703" y="33406"/>
                  <a:pt x="123723" y="16487"/>
                  <a:pt x="123723" y="16487"/>
                </a:cubicBezTo>
                <a:cubicBezTo>
                  <a:pt x="123723" y="16487"/>
                  <a:pt x="123723" y="14165"/>
                  <a:pt x="123723" y="11014"/>
                </a:cubicBezTo>
                <a:lnTo>
                  <a:pt x="120074" y="12341"/>
                </a:lnTo>
                <a:cubicBezTo>
                  <a:pt x="103487" y="18312"/>
                  <a:pt x="72801" y="14497"/>
                  <a:pt x="71474" y="9355"/>
                </a:cubicBezTo>
                <a:cubicBezTo>
                  <a:pt x="70147" y="4213"/>
                  <a:pt x="47755" y="-100"/>
                  <a:pt x="47755" y="-100"/>
                </a:cubicBezTo>
                <a:cubicBezTo>
                  <a:pt x="47755" y="-100"/>
                  <a:pt x="48584" y="12341"/>
                  <a:pt x="40456" y="15326"/>
                </a:cubicBezTo>
                <a:cubicBezTo>
                  <a:pt x="32329" y="18312"/>
                  <a:pt x="42613" y="27766"/>
                  <a:pt x="42613" y="30752"/>
                </a:cubicBezTo>
                <a:cubicBezTo>
                  <a:pt x="42613" y="33738"/>
                  <a:pt x="35978" y="38216"/>
                  <a:pt x="30836" y="35894"/>
                </a:cubicBezTo>
                <a:cubicBezTo>
                  <a:pt x="25694" y="33572"/>
                  <a:pt x="10932" y="47007"/>
                  <a:pt x="3634" y="52481"/>
                </a:cubicBezTo>
                <a:cubicBezTo>
                  <a:pt x="2290" y="53493"/>
                  <a:pt x="1063" y="54670"/>
                  <a:pt x="-15" y="55964"/>
                </a:cubicBezTo>
                <a:cubicBezTo>
                  <a:pt x="11429" y="65253"/>
                  <a:pt x="10434" y="75371"/>
                  <a:pt x="23704" y="85157"/>
                </a:cubicBezTo>
                <a:cubicBezTo>
                  <a:pt x="39428" y="95391"/>
                  <a:pt x="52333" y="109423"/>
                  <a:pt x="61190" y="125961"/>
                </a:cubicBezTo>
                <a:cubicBezTo>
                  <a:pt x="70147" y="117833"/>
                  <a:pt x="82919" y="106222"/>
                  <a:pt x="83417" y="10091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5" name="Freeform: Shape 464">
            <a:extLst>
              <a:ext uri="{FF2B5EF4-FFF2-40B4-BE49-F238E27FC236}">
                <a16:creationId xmlns:a16="http://schemas.microsoft.com/office/drawing/2014/main" id="{C719D578-0CA4-4AA7-AA0D-3CCC36C8CE3A}"/>
              </a:ext>
            </a:extLst>
          </p:cNvPr>
          <p:cNvSpPr/>
          <p:nvPr/>
        </p:nvSpPr>
        <p:spPr>
          <a:xfrm>
            <a:off x="5025471" y="4450824"/>
            <a:ext cx="110135" cy="103319"/>
          </a:xfrm>
          <a:custGeom>
            <a:avLst/>
            <a:gdLst>
              <a:gd name="connsiteX0" fmla="*/ 113605 w 138908"/>
              <a:gd name="connsiteY0" fmla="*/ 76864 h 132860"/>
              <a:gd name="connsiteX1" fmla="*/ 102492 w 138908"/>
              <a:gd name="connsiteY1" fmla="*/ 66580 h 132860"/>
              <a:gd name="connsiteX2" fmla="*/ 106307 w 138908"/>
              <a:gd name="connsiteY2" fmla="*/ 43026 h 132860"/>
              <a:gd name="connsiteX3" fmla="*/ 107136 w 138908"/>
              <a:gd name="connsiteY3" fmla="*/ 34567 h 132860"/>
              <a:gd name="connsiteX4" fmla="*/ 100501 w 138908"/>
              <a:gd name="connsiteY4" fmla="*/ 29591 h 132860"/>
              <a:gd name="connsiteX5" fmla="*/ 87397 w 138908"/>
              <a:gd name="connsiteY5" fmla="*/ 39709 h 132860"/>
              <a:gd name="connsiteX6" fmla="*/ 70811 w 138908"/>
              <a:gd name="connsiteY6" fmla="*/ 28098 h 132860"/>
              <a:gd name="connsiteX7" fmla="*/ 61357 w 138908"/>
              <a:gd name="connsiteY7" fmla="*/ -100 h 132860"/>
              <a:gd name="connsiteX8" fmla="*/ 37305 w 138908"/>
              <a:gd name="connsiteY8" fmla="*/ 4047 h 132860"/>
              <a:gd name="connsiteX9" fmla="*/ 34154 w 138908"/>
              <a:gd name="connsiteY9" fmla="*/ 20634 h 132860"/>
              <a:gd name="connsiteX10" fmla="*/ 7615 w 138908"/>
              <a:gd name="connsiteY10" fmla="*/ 42860 h 132860"/>
              <a:gd name="connsiteX11" fmla="*/ -15 w 138908"/>
              <a:gd name="connsiteY11" fmla="*/ 53974 h 132860"/>
              <a:gd name="connsiteX12" fmla="*/ 43277 w 138908"/>
              <a:gd name="connsiteY12" fmla="*/ 82835 h 132860"/>
              <a:gd name="connsiteX13" fmla="*/ 120903 w 138908"/>
              <a:gd name="connsiteY13" fmla="*/ 131434 h 132860"/>
              <a:gd name="connsiteX14" fmla="*/ 128865 w 138908"/>
              <a:gd name="connsiteY14" fmla="*/ 132761 h 132860"/>
              <a:gd name="connsiteX15" fmla="*/ 138817 w 138908"/>
              <a:gd name="connsiteY15" fmla="*/ 101744 h 132860"/>
              <a:gd name="connsiteX16" fmla="*/ 113605 w 138908"/>
              <a:gd name="connsiteY16" fmla="*/ 76864 h 13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908" h="132860">
                <a:moveTo>
                  <a:pt x="113605" y="76864"/>
                </a:moveTo>
                <a:cubicBezTo>
                  <a:pt x="103321" y="70229"/>
                  <a:pt x="98179" y="70229"/>
                  <a:pt x="102492" y="66580"/>
                </a:cubicBezTo>
                <a:cubicBezTo>
                  <a:pt x="106804" y="62931"/>
                  <a:pt x="107799" y="54803"/>
                  <a:pt x="106307" y="43026"/>
                </a:cubicBezTo>
                <a:cubicBezTo>
                  <a:pt x="105726" y="40190"/>
                  <a:pt x="106025" y="37238"/>
                  <a:pt x="107136" y="34567"/>
                </a:cubicBezTo>
                <a:cubicBezTo>
                  <a:pt x="103653" y="33240"/>
                  <a:pt x="100833" y="31416"/>
                  <a:pt x="100501" y="29591"/>
                </a:cubicBezTo>
                <a:cubicBezTo>
                  <a:pt x="99008" y="22956"/>
                  <a:pt x="92539" y="32411"/>
                  <a:pt x="87397" y="39709"/>
                </a:cubicBezTo>
                <a:cubicBezTo>
                  <a:pt x="82256" y="47007"/>
                  <a:pt x="69981" y="39709"/>
                  <a:pt x="70811" y="28098"/>
                </a:cubicBezTo>
                <a:cubicBezTo>
                  <a:pt x="71640" y="16487"/>
                  <a:pt x="65006" y="-100"/>
                  <a:pt x="61357" y="-100"/>
                </a:cubicBezTo>
                <a:cubicBezTo>
                  <a:pt x="53245" y="664"/>
                  <a:pt x="45201" y="2040"/>
                  <a:pt x="37305" y="4047"/>
                </a:cubicBezTo>
                <a:cubicBezTo>
                  <a:pt x="38964" y="9355"/>
                  <a:pt x="35481" y="14995"/>
                  <a:pt x="34154" y="20634"/>
                </a:cubicBezTo>
                <a:cubicBezTo>
                  <a:pt x="32827" y="26273"/>
                  <a:pt x="14913" y="37221"/>
                  <a:pt x="7615" y="42860"/>
                </a:cubicBezTo>
                <a:cubicBezTo>
                  <a:pt x="4447" y="46095"/>
                  <a:pt x="1859" y="49860"/>
                  <a:pt x="-15" y="53974"/>
                </a:cubicBezTo>
                <a:cubicBezTo>
                  <a:pt x="13918" y="62765"/>
                  <a:pt x="30007" y="72883"/>
                  <a:pt x="43277" y="82835"/>
                </a:cubicBezTo>
                <a:cubicBezTo>
                  <a:pt x="67328" y="101777"/>
                  <a:pt x="93352" y="118065"/>
                  <a:pt x="120903" y="131434"/>
                </a:cubicBezTo>
                <a:cubicBezTo>
                  <a:pt x="123474" y="132264"/>
                  <a:pt x="126161" y="132712"/>
                  <a:pt x="128865" y="132761"/>
                </a:cubicBezTo>
                <a:cubicBezTo>
                  <a:pt x="133011" y="114184"/>
                  <a:pt x="137490" y="111862"/>
                  <a:pt x="138817" y="101744"/>
                </a:cubicBezTo>
                <a:cubicBezTo>
                  <a:pt x="140144" y="91626"/>
                  <a:pt x="123889" y="83498"/>
                  <a:pt x="113605" y="7686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6" name="Freeform: Shape 465">
            <a:extLst>
              <a:ext uri="{FF2B5EF4-FFF2-40B4-BE49-F238E27FC236}">
                <a16:creationId xmlns:a16="http://schemas.microsoft.com/office/drawing/2014/main" id="{447A0B2A-E2FB-4FF6-94B5-6D84AA4D856A}"/>
              </a:ext>
            </a:extLst>
          </p:cNvPr>
          <p:cNvSpPr/>
          <p:nvPr/>
        </p:nvSpPr>
        <p:spPr>
          <a:xfrm>
            <a:off x="4980101" y="4410967"/>
            <a:ext cx="75832" cy="82036"/>
          </a:xfrm>
          <a:custGeom>
            <a:avLst/>
            <a:gdLst>
              <a:gd name="connsiteX0" fmla="*/ 92042 w 95643"/>
              <a:gd name="connsiteY0" fmla="*/ 72053 h 105492"/>
              <a:gd name="connsiteX1" fmla="*/ 94199 w 95643"/>
              <a:gd name="connsiteY1" fmla="*/ 52979 h 105492"/>
              <a:gd name="connsiteX2" fmla="*/ 89720 w 95643"/>
              <a:gd name="connsiteY2" fmla="*/ 33074 h 105492"/>
              <a:gd name="connsiteX3" fmla="*/ 63181 w 95643"/>
              <a:gd name="connsiteY3" fmla="*/ -100 h 105492"/>
              <a:gd name="connsiteX4" fmla="*/ 38135 w 95643"/>
              <a:gd name="connsiteY4" fmla="*/ 5042 h 105492"/>
              <a:gd name="connsiteX5" fmla="*/ 22709 w 95643"/>
              <a:gd name="connsiteY5" fmla="*/ 8691 h 105492"/>
              <a:gd name="connsiteX6" fmla="*/ -15 w 95643"/>
              <a:gd name="connsiteY6" fmla="*/ 33572 h 105492"/>
              <a:gd name="connsiteX7" fmla="*/ 4795 w 95643"/>
              <a:gd name="connsiteY7" fmla="*/ 45846 h 105492"/>
              <a:gd name="connsiteX8" fmla="*/ 31334 w 95643"/>
              <a:gd name="connsiteY8" fmla="*/ 87645 h 105492"/>
              <a:gd name="connsiteX9" fmla="*/ 57873 w 95643"/>
              <a:gd name="connsiteY9" fmla="*/ 105393 h 105492"/>
              <a:gd name="connsiteX10" fmla="*/ 65503 w 95643"/>
              <a:gd name="connsiteY10" fmla="*/ 94280 h 105492"/>
              <a:gd name="connsiteX11" fmla="*/ 92042 w 95643"/>
              <a:gd name="connsiteY11" fmla="*/ 72053 h 10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643" h="105492">
                <a:moveTo>
                  <a:pt x="92042" y="72053"/>
                </a:moveTo>
                <a:cubicBezTo>
                  <a:pt x="93535" y="65419"/>
                  <a:pt x="97848" y="58784"/>
                  <a:pt x="94199" y="52979"/>
                </a:cubicBezTo>
                <a:cubicBezTo>
                  <a:pt x="90848" y="46908"/>
                  <a:pt x="89305" y="40007"/>
                  <a:pt x="89720" y="33074"/>
                </a:cubicBezTo>
                <a:cubicBezTo>
                  <a:pt x="89720" y="25610"/>
                  <a:pt x="70645" y="-100"/>
                  <a:pt x="63181" y="-100"/>
                </a:cubicBezTo>
                <a:cubicBezTo>
                  <a:pt x="55717" y="-100"/>
                  <a:pt x="46594" y="6535"/>
                  <a:pt x="38135" y="5042"/>
                </a:cubicBezTo>
                <a:cubicBezTo>
                  <a:pt x="29676" y="3550"/>
                  <a:pt x="23539" y="564"/>
                  <a:pt x="22709" y="8691"/>
                </a:cubicBezTo>
                <a:cubicBezTo>
                  <a:pt x="22709" y="14331"/>
                  <a:pt x="9440" y="25278"/>
                  <a:pt x="-15" y="33572"/>
                </a:cubicBezTo>
                <a:cubicBezTo>
                  <a:pt x="1910" y="37536"/>
                  <a:pt x="3518" y="41633"/>
                  <a:pt x="4795" y="45846"/>
                </a:cubicBezTo>
                <a:cubicBezTo>
                  <a:pt x="7914" y="62682"/>
                  <a:pt x="17418" y="77660"/>
                  <a:pt x="31334" y="87645"/>
                </a:cubicBezTo>
                <a:cubicBezTo>
                  <a:pt x="36476" y="91792"/>
                  <a:pt x="46428" y="98095"/>
                  <a:pt x="57873" y="105393"/>
                </a:cubicBezTo>
                <a:cubicBezTo>
                  <a:pt x="59748" y="101279"/>
                  <a:pt x="62335" y="97514"/>
                  <a:pt x="65503" y="94280"/>
                </a:cubicBezTo>
                <a:cubicBezTo>
                  <a:pt x="72801" y="88309"/>
                  <a:pt x="90549" y="78688"/>
                  <a:pt x="92042" y="72053"/>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7" name="Freeform: Shape 466">
            <a:extLst>
              <a:ext uri="{FF2B5EF4-FFF2-40B4-BE49-F238E27FC236}">
                <a16:creationId xmlns:a16="http://schemas.microsoft.com/office/drawing/2014/main" id="{FBD8111A-0E15-49FF-B957-B1B8269A51C7}"/>
              </a:ext>
            </a:extLst>
          </p:cNvPr>
          <p:cNvSpPr/>
          <p:nvPr/>
        </p:nvSpPr>
        <p:spPr>
          <a:xfrm>
            <a:off x="4880936" y="3942098"/>
            <a:ext cx="318920" cy="343879"/>
          </a:xfrm>
          <a:custGeom>
            <a:avLst/>
            <a:gdLst>
              <a:gd name="connsiteX0" fmla="*/ 30179 w 402237"/>
              <a:gd name="connsiteY0" fmla="*/ 381895 h 442204"/>
              <a:gd name="connsiteX1" fmla="*/ 60534 w 402237"/>
              <a:gd name="connsiteY1" fmla="*/ 381895 h 442204"/>
              <a:gd name="connsiteX2" fmla="*/ 86243 w 402237"/>
              <a:gd name="connsiteY2" fmla="*/ 379407 h 442204"/>
              <a:gd name="connsiteX3" fmla="*/ 104820 w 402237"/>
              <a:gd name="connsiteY3" fmla="*/ 395994 h 442204"/>
              <a:gd name="connsiteX4" fmla="*/ 116597 w 402237"/>
              <a:gd name="connsiteY4" fmla="*/ 395994 h 442204"/>
              <a:gd name="connsiteX5" fmla="*/ 139985 w 402237"/>
              <a:gd name="connsiteY5" fmla="*/ 426348 h 442204"/>
              <a:gd name="connsiteX6" fmla="*/ 155742 w 402237"/>
              <a:gd name="connsiteY6" fmla="*/ 442105 h 442204"/>
              <a:gd name="connsiteX7" fmla="*/ 173490 w 402237"/>
              <a:gd name="connsiteY7" fmla="*/ 431324 h 442204"/>
              <a:gd name="connsiteX8" fmla="*/ 192731 w 402237"/>
              <a:gd name="connsiteY8" fmla="*/ 423860 h 442204"/>
              <a:gd name="connsiteX9" fmla="*/ 210644 w 402237"/>
              <a:gd name="connsiteY9" fmla="*/ 420874 h 442204"/>
              <a:gd name="connsiteX10" fmla="*/ 233036 w 402237"/>
              <a:gd name="connsiteY10" fmla="*/ 422367 h 442204"/>
              <a:gd name="connsiteX11" fmla="*/ 253936 w 402237"/>
              <a:gd name="connsiteY11" fmla="*/ 416396 h 442204"/>
              <a:gd name="connsiteX12" fmla="*/ 383645 w 402237"/>
              <a:gd name="connsiteY12" fmla="*/ 414903 h 442204"/>
              <a:gd name="connsiteX13" fmla="*/ 388123 w 402237"/>
              <a:gd name="connsiteY13" fmla="*/ 386706 h 442204"/>
              <a:gd name="connsiteX14" fmla="*/ 377674 w 402237"/>
              <a:gd name="connsiteY14" fmla="*/ 376256 h 442204"/>
              <a:gd name="connsiteX15" fmla="*/ 346325 w 402237"/>
              <a:gd name="connsiteY15" fmla="*/ 82503 h 442204"/>
              <a:gd name="connsiteX16" fmla="*/ 402222 w 402237"/>
              <a:gd name="connsiteY16" fmla="*/ 82503 h 442204"/>
              <a:gd name="connsiteX17" fmla="*/ 284787 w 402237"/>
              <a:gd name="connsiteY17" fmla="*/ 5872 h 442204"/>
              <a:gd name="connsiteX18" fmla="*/ 278319 w 402237"/>
              <a:gd name="connsiteY18" fmla="*/ -100 h 442204"/>
              <a:gd name="connsiteX19" fmla="*/ 277489 w 402237"/>
              <a:gd name="connsiteY19" fmla="*/ 47671 h 442204"/>
              <a:gd name="connsiteX20" fmla="*/ 165860 w 402237"/>
              <a:gd name="connsiteY20" fmla="*/ 47671 h 442204"/>
              <a:gd name="connsiteX21" fmla="*/ 165860 w 402237"/>
              <a:gd name="connsiteY21" fmla="*/ 135913 h 442204"/>
              <a:gd name="connsiteX22" fmla="*/ 131194 w 402237"/>
              <a:gd name="connsiteY22" fmla="*/ 160793 h 442204"/>
              <a:gd name="connsiteX23" fmla="*/ 131194 w 402237"/>
              <a:gd name="connsiteY23" fmla="*/ 212710 h 442204"/>
              <a:gd name="connsiteX24" fmla="*/ 157 w 402237"/>
              <a:gd name="connsiteY24" fmla="*/ 212710 h 442204"/>
              <a:gd name="connsiteX25" fmla="*/ 18900 w 402237"/>
              <a:gd name="connsiteY25" fmla="*/ 250362 h 442204"/>
              <a:gd name="connsiteX26" fmla="*/ 26199 w 402237"/>
              <a:gd name="connsiteY26" fmla="*/ 303771 h 442204"/>
              <a:gd name="connsiteX27" fmla="*/ 15417 w 402237"/>
              <a:gd name="connsiteY27" fmla="*/ 370119 h 442204"/>
              <a:gd name="connsiteX28" fmla="*/ 9778 w 402237"/>
              <a:gd name="connsiteY28" fmla="*/ 398980 h 442204"/>
              <a:gd name="connsiteX29" fmla="*/ 11437 w 402237"/>
              <a:gd name="connsiteY29" fmla="*/ 398980 h 442204"/>
              <a:gd name="connsiteX30" fmla="*/ 30179 w 402237"/>
              <a:gd name="connsiteY30" fmla="*/ 381895 h 442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02237" h="442204">
                <a:moveTo>
                  <a:pt x="30179" y="381895"/>
                </a:moveTo>
                <a:cubicBezTo>
                  <a:pt x="40264" y="383156"/>
                  <a:pt x="50449" y="383156"/>
                  <a:pt x="60534" y="381895"/>
                </a:cubicBezTo>
                <a:cubicBezTo>
                  <a:pt x="68562" y="378147"/>
                  <a:pt x="77635" y="377268"/>
                  <a:pt x="86243" y="379407"/>
                </a:cubicBezTo>
                <a:cubicBezTo>
                  <a:pt x="93326" y="383836"/>
                  <a:pt x="99612" y="389442"/>
                  <a:pt x="104820" y="395994"/>
                </a:cubicBezTo>
                <a:lnTo>
                  <a:pt x="116597" y="395994"/>
                </a:lnTo>
                <a:cubicBezTo>
                  <a:pt x="116597" y="395994"/>
                  <a:pt x="125886" y="421704"/>
                  <a:pt x="139985" y="426348"/>
                </a:cubicBezTo>
                <a:cubicBezTo>
                  <a:pt x="147117" y="429317"/>
                  <a:pt x="152773" y="434973"/>
                  <a:pt x="155742" y="442105"/>
                </a:cubicBezTo>
                <a:cubicBezTo>
                  <a:pt x="165694" y="442105"/>
                  <a:pt x="173490" y="438456"/>
                  <a:pt x="173490" y="431324"/>
                </a:cubicBezTo>
                <a:cubicBezTo>
                  <a:pt x="173490" y="424192"/>
                  <a:pt x="177968" y="410425"/>
                  <a:pt x="192731" y="423860"/>
                </a:cubicBezTo>
                <a:cubicBezTo>
                  <a:pt x="207493" y="437296"/>
                  <a:pt x="207659" y="425353"/>
                  <a:pt x="210644" y="420874"/>
                </a:cubicBezTo>
                <a:cubicBezTo>
                  <a:pt x="213630" y="416396"/>
                  <a:pt x="224079" y="422367"/>
                  <a:pt x="233036" y="422367"/>
                </a:cubicBezTo>
                <a:cubicBezTo>
                  <a:pt x="240318" y="421687"/>
                  <a:pt x="247401" y="419664"/>
                  <a:pt x="253936" y="416396"/>
                </a:cubicBezTo>
                <a:cubicBezTo>
                  <a:pt x="253936" y="416396"/>
                  <a:pt x="377674" y="417889"/>
                  <a:pt x="383645" y="414903"/>
                </a:cubicBezTo>
                <a:cubicBezTo>
                  <a:pt x="389616" y="411918"/>
                  <a:pt x="388123" y="386706"/>
                  <a:pt x="388123" y="386706"/>
                </a:cubicBezTo>
                <a:lnTo>
                  <a:pt x="377674" y="376256"/>
                </a:lnTo>
                <a:lnTo>
                  <a:pt x="346325" y="82503"/>
                </a:lnTo>
                <a:lnTo>
                  <a:pt x="402222" y="82503"/>
                </a:lnTo>
                <a:cubicBezTo>
                  <a:pt x="342510" y="43026"/>
                  <a:pt x="291256" y="9521"/>
                  <a:pt x="284787" y="5872"/>
                </a:cubicBezTo>
                <a:cubicBezTo>
                  <a:pt x="282200" y="4412"/>
                  <a:pt x="279978" y="2372"/>
                  <a:pt x="278319" y="-100"/>
                </a:cubicBezTo>
                <a:cubicBezTo>
                  <a:pt x="279480" y="15824"/>
                  <a:pt x="279197" y="31797"/>
                  <a:pt x="277489" y="47671"/>
                </a:cubicBezTo>
                <a:cubicBezTo>
                  <a:pt x="274338" y="49827"/>
                  <a:pt x="165860" y="47671"/>
                  <a:pt x="165860" y="47671"/>
                </a:cubicBezTo>
                <a:lnTo>
                  <a:pt x="165860" y="135913"/>
                </a:lnTo>
                <a:cubicBezTo>
                  <a:pt x="165860" y="143543"/>
                  <a:pt x="131194" y="152500"/>
                  <a:pt x="131194" y="160793"/>
                </a:cubicBezTo>
                <a:lnTo>
                  <a:pt x="131194" y="212710"/>
                </a:lnTo>
                <a:lnTo>
                  <a:pt x="157" y="212710"/>
                </a:lnTo>
                <a:cubicBezTo>
                  <a:pt x="-1667" y="234107"/>
                  <a:pt x="11437" y="241737"/>
                  <a:pt x="18900" y="250362"/>
                </a:cubicBezTo>
                <a:cubicBezTo>
                  <a:pt x="29184" y="262138"/>
                  <a:pt x="10939" y="282706"/>
                  <a:pt x="26199" y="303771"/>
                </a:cubicBezTo>
                <a:cubicBezTo>
                  <a:pt x="41459" y="324837"/>
                  <a:pt x="22716" y="357347"/>
                  <a:pt x="15417" y="370119"/>
                </a:cubicBezTo>
                <a:cubicBezTo>
                  <a:pt x="11685" y="379291"/>
                  <a:pt x="9778" y="389078"/>
                  <a:pt x="9778" y="398980"/>
                </a:cubicBezTo>
                <a:lnTo>
                  <a:pt x="11437" y="398980"/>
                </a:lnTo>
                <a:cubicBezTo>
                  <a:pt x="20725" y="395829"/>
                  <a:pt x="18403" y="379407"/>
                  <a:pt x="30179" y="381895"/>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8" name="Freeform: Shape 467">
            <a:extLst>
              <a:ext uri="{FF2B5EF4-FFF2-40B4-BE49-F238E27FC236}">
                <a16:creationId xmlns:a16="http://schemas.microsoft.com/office/drawing/2014/main" id="{1925A40A-228B-438E-921E-A52CC085E84B}"/>
              </a:ext>
            </a:extLst>
          </p:cNvPr>
          <p:cNvSpPr/>
          <p:nvPr/>
        </p:nvSpPr>
        <p:spPr>
          <a:xfrm>
            <a:off x="5004299" y="4006204"/>
            <a:ext cx="439906" cy="401423"/>
          </a:xfrm>
          <a:custGeom>
            <a:avLst/>
            <a:gdLst>
              <a:gd name="connsiteX0" fmla="*/ 526451 w 554830"/>
              <a:gd name="connsiteY0" fmla="*/ 215198 h 516201"/>
              <a:gd name="connsiteX1" fmla="*/ 509864 w 554830"/>
              <a:gd name="connsiteY1" fmla="*/ 180200 h 516201"/>
              <a:gd name="connsiteX2" fmla="*/ 472544 w 554830"/>
              <a:gd name="connsiteY2" fmla="*/ 168589 h 516201"/>
              <a:gd name="connsiteX3" fmla="*/ 451479 w 554830"/>
              <a:gd name="connsiteY3" fmla="*/ 138235 h 516201"/>
              <a:gd name="connsiteX4" fmla="*/ 246465 w 554830"/>
              <a:gd name="connsiteY4" fmla="*/ -100 h 516201"/>
              <a:gd name="connsiteX5" fmla="*/ 190568 w 554830"/>
              <a:gd name="connsiteY5" fmla="*/ -100 h 516201"/>
              <a:gd name="connsiteX6" fmla="*/ 221916 w 554830"/>
              <a:gd name="connsiteY6" fmla="*/ 293654 h 516201"/>
              <a:gd name="connsiteX7" fmla="*/ 232366 w 554830"/>
              <a:gd name="connsiteY7" fmla="*/ 304103 h 516201"/>
              <a:gd name="connsiteX8" fmla="*/ 227888 w 554830"/>
              <a:gd name="connsiteY8" fmla="*/ 332301 h 516201"/>
              <a:gd name="connsiteX9" fmla="*/ 98179 w 554830"/>
              <a:gd name="connsiteY9" fmla="*/ 333793 h 516201"/>
              <a:gd name="connsiteX10" fmla="*/ 77279 w 554830"/>
              <a:gd name="connsiteY10" fmla="*/ 339765 h 516201"/>
              <a:gd name="connsiteX11" fmla="*/ 54887 w 554830"/>
              <a:gd name="connsiteY11" fmla="*/ 338272 h 516201"/>
              <a:gd name="connsiteX12" fmla="*/ 36973 w 554830"/>
              <a:gd name="connsiteY12" fmla="*/ 341258 h 516201"/>
              <a:gd name="connsiteX13" fmla="*/ 17733 w 554830"/>
              <a:gd name="connsiteY13" fmla="*/ 348722 h 516201"/>
              <a:gd name="connsiteX14" fmla="*/ -15 w 554830"/>
              <a:gd name="connsiteY14" fmla="*/ 359503 h 516201"/>
              <a:gd name="connsiteX15" fmla="*/ 2805 w 554830"/>
              <a:gd name="connsiteY15" fmla="*/ 367133 h 516201"/>
              <a:gd name="connsiteX16" fmla="*/ 8942 w 554830"/>
              <a:gd name="connsiteY16" fmla="*/ 376256 h 516201"/>
              <a:gd name="connsiteX17" fmla="*/ 13918 w 554830"/>
              <a:gd name="connsiteY17" fmla="*/ 396824 h 516201"/>
              <a:gd name="connsiteX18" fmla="*/ 31665 w 554830"/>
              <a:gd name="connsiteY18" fmla="*/ 418386 h 516201"/>
              <a:gd name="connsiteX19" fmla="*/ 31665 w 554830"/>
              <a:gd name="connsiteY19" fmla="*/ 444925 h 516201"/>
              <a:gd name="connsiteX20" fmla="*/ 41452 w 554830"/>
              <a:gd name="connsiteY20" fmla="*/ 453882 h 516201"/>
              <a:gd name="connsiteX21" fmla="*/ 60029 w 554830"/>
              <a:gd name="connsiteY21" fmla="*/ 450896 h 516201"/>
              <a:gd name="connsiteX22" fmla="*/ 82753 w 554830"/>
              <a:gd name="connsiteY22" fmla="*/ 452887 h 516201"/>
              <a:gd name="connsiteX23" fmla="*/ 106306 w 554830"/>
              <a:gd name="connsiteY23" fmla="*/ 436300 h 516201"/>
              <a:gd name="connsiteX24" fmla="*/ 119078 w 554830"/>
              <a:gd name="connsiteY24" fmla="*/ 460849 h 516201"/>
              <a:gd name="connsiteX25" fmla="*/ 130855 w 554830"/>
              <a:gd name="connsiteY25" fmla="*/ 476606 h 516201"/>
              <a:gd name="connsiteX26" fmla="*/ 130855 w 554830"/>
              <a:gd name="connsiteY26" fmla="*/ 488383 h 516201"/>
              <a:gd name="connsiteX27" fmla="*/ 138651 w 554830"/>
              <a:gd name="connsiteY27" fmla="*/ 506960 h 516201"/>
              <a:gd name="connsiteX28" fmla="*/ 154408 w 554830"/>
              <a:gd name="connsiteY28" fmla="*/ 508950 h 516201"/>
              <a:gd name="connsiteX29" fmla="*/ 170995 w 554830"/>
              <a:gd name="connsiteY29" fmla="*/ 513927 h 516201"/>
              <a:gd name="connsiteX30" fmla="*/ 189572 w 554830"/>
              <a:gd name="connsiteY30" fmla="*/ 505136 h 516201"/>
              <a:gd name="connsiteX31" fmla="*/ 206159 w 554830"/>
              <a:gd name="connsiteY31" fmla="*/ 503145 h 516201"/>
              <a:gd name="connsiteX32" fmla="*/ 217936 w 554830"/>
              <a:gd name="connsiteY32" fmla="*/ 506960 h 516201"/>
              <a:gd name="connsiteX33" fmla="*/ 227390 w 554830"/>
              <a:gd name="connsiteY33" fmla="*/ 505136 h 516201"/>
              <a:gd name="connsiteX34" fmla="*/ 236679 w 554830"/>
              <a:gd name="connsiteY34" fmla="*/ 479592 h 516201"/>
              <a:gd name="connsiteX35" fmla="*/ 234689 w 554830"/>
              <a:gd name="connsiteY35" fmla="*/ 457863 h 516201"/>
              <a:gd name="connsiteX36" fmla="*/ 261228 w 554830"/>
              <a:gd name="connsiteY36" fmla="*/ 446087 h 516201"/>
              <a:gd name="connsiteX37" fmla="*/ 272009 w 554830"/>
              <a:gd name="connsiteY37" fmla="*/ 425519 h 516201"/>
              <a:gd name="connsiteX38" fmla="*/ 282790 w 554830"/>
              <a:gd name="connsiteY38" fmla="*/ 400970 h 516201"/>
              <a:gd name="connsiteX39" fmla="*/ 303358 w 554830"/>
              <a:gd name="connsiteY39" fmla="*/ 401966 h 516201"/>
              <a:gd name="connsiteX40" fmla="*/ 318120 w 554830"/>
              <a:gd name="connsiteY40" fmla="*/ 386208 h 516201"/>
              <a:gd name="connsiteX41" fmla="*/ 333878 w 554830"/>
              <a:gd name="connsiteY41" fmla="*/ 378412 h 516201"/>
              <a:gd name="connsiteX42" fmla="*/ 346650 w 554830"/>
              <a:gd name="connsiteY42" fmla="*/ 371446 h 516201"/>
              <a:gd name="connsiteX43" fmla="*/ 375179 w 554830"/>
              <a:gd name="connsiteY43" fmla="*/ 359669 h 516201"/>
              <a:gd name="connsiteX44" fmla="*/ 399727 w 554830"/>
              <a:gd name="connsiteY44" fmla="*/ 348722 h 516201"/>
              <a:gd name="connsiteX45" fmla="*/ 442024 w 554830"/>
              <a:gd name="connsiteY45" fmla="*/ 350878 h 516201"/>
              <a:gd name="connsiteX46" fmla="*/ 468563 w 554830"/>
              <a:gd name="connsiteY46" fmla="*/ 341921 h 516201"/>
              <a:gd name="connsiteX47" fmla="*/ 520645 w 554830"/>
              <a:gd name="connsiteY47" fmla="*/ 337111 h 516201"/>
              <a:gd name="connsiteX48" fmla="*/ 541213 w 554830"/>
              <a:gd name="connsiteY48" fmla="*/ 322349 h 516201"/>
              <a:gd name="connsiteX49" fmla="*/ 551995 w 554830"/>
              <a:gd name="connsiteY49" fmla="*/ 297800 h 516201"/>
              <a:gd name="connsiteX50" fmla="*/ 554151 w 554830"/>
              <a:gd name="connsiteY50" fmla="*/ 209392 h 516201"/>
              <a:gd name="connsiteX51" fmla="*/ 526451 w 554830"/>
              <a:gd name="connsiteY51" fmla="*/ 215198 h 51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54830" h="516201">
                <a:moveTo>
                  <a:pt x="526451" y="215198"/>
                </a:moveTo>
                <a:cubicBezTo>
                  <a:pt x="526617" y="201596"/>
                  <a:pt x="520496" y="188692"/>
                  <a:pt x="509864" y="180200"/>
                </a:cubicBezTo>
                <a:cubicBezTo>
                  <a:pt x="498203" y="174179"/>
                  <a:pt x="485564" y="170248"/>
                  <a:pt x="472544" y="168589"/>
                </a:cubicBezTo>
                <a:cubicBezTo>
                  <a:pt x="466572" y="157791"/>
                  <a:pt x="459506" y="147606"/>
                  <a:pt x="451479" y="138235"/>
                </a:cubicBezTo>
                <a:cubicBezTo>
                  <a:pt x="445839" y="132595"/>
                  <a:pt x="336531" y="59447"/>
                  <a:pt x="246465" y="-100"/>
                </a:cubicBezTo>
                <a:lnTo>
                  <a:pt x="190568" y="-100"/>
                </a:lnTo>
                <a:lnTo>
                  <a:pt x="221916" y="293654"/>
                </a:lnTo>
                <a:lnTo>
                  <a:pt x="232366" y="304103"/>
                </a:lnTo>
                <a:cubicBezTo>
                  <a:pt x="232366" y="304103"/>
                  <a:pt x="233693" y="329315"/>
                  <a:pt x="227888" y="332301"/>
                </a:cubicBezTo>
                <a:cubicBezTo>
                  <a:pt x="222082" y="335286"/>
                  <a:pt x="98179" y="333793"/>
                  <a:pt x="98179" y="333793"/>
                </a:cubicBezTo>
                <a:cubicBezTo>
                  <a:pt x="91644" y="337061"/>
                  <a:pt x="84561" y="339085"/>
                  <a:pt x="77279" y="339765"/>
                </a:cubicBezTo>
                <a:cubicBezTo>
                  <a:pt x="68323" y="339765"/>
                  <a:pt x="57873" y="333793"/>
                  <a:pt x="54887" y="338272"/>
                </a:cubicBezTo>
                <a:cubicBezTo>
                  <a:pt x="51901" y="342751"/>
                  <a:pt x="51901" y="354859"/>
                  <a:pt x="36973" y="341258"/>
                </a:cubicBezTo>
                <a:cubicBezTo>
                  <a:pt x="22045" y="327656"/>
                  <a:pt x="17733" y="339765"/>
                  <a:pt x="17733" y="348722"/>
                </a:cubicBezTo>
                <a:cubicBezTo>
                  <a:pt x="17733" y="357679"/>
                  <a:pt x="9937" y="359171"/>
                  <a:pt x="-15" y="359503"/>
                </a:cubicBezTo>
                <a:cubicBezTo>
                  <a:pt x="1162" y="361958"/>
                  <a:pt x="2108" y="364513"/>
                  <a:pt x="2805" y="367133"/>
                </a:cubicBezTo>
                <a:lnTo>
                  <a:pt x="8942" y="376256"/>
                </a:lnTo>
                <a:cubicBezTo>
                  <a:pt x="8942" y="376256"/>
                  <a:pt x="7946" y="391018"/>
                  <a:pt x="13918" y="396824"/>
                </a:cubicBezTo>
                <a:cubicBezTo>
                  <a:pt x="21017" y="402961"/>
                  <a:pt x="27005" y="410242"/>
                  <a:pt x="31665" y="418386"/>
                </a:cubicBezTo>
                <a:cubicBezTo>
                  <a:pt x="32495" y="423362"/>
                  <a:pt x="31665" y="444925"/>
                  <a:pt x="31665" y="444925"/>
                </a:cubicBezTo>
                <a:cubicBezTo>
                  <a:pt x="31665" y="444925"/>
                  <a:pt x="35481" y="461512"/>
                  <a:pt x="41452" y="453882"/>
                </a:cubicBezTo>
                <a:cubicBezTo>
                  <a:pt x="47423" y="446252"/>
                  <a:pt x="56214" y="460683"/>
                  <a:pt x="60029" y="450896"/>
                </a:cubicBezTo>
                <a:cubicBezTo>
                  <a:pt x="63844" y="441110"/>
                  <a:pt x="76616" y="452887"/>
                  <a:pt x="82753" y="452887"/>
                </a:cubicBezTo>
                <a:cubicBezTo>
                  <a:pt x="88890" y="452887"/>
                  <a:pt x="102325" y="435139"/>
                  <a:pt x="106306" y="436300"/>
                </a:cubicBezTo>
                <a:cubicBezTo>
                  <a:pt x="113157" y="442852"/>
                  <a:pt x="117652" y="451477"/>
                  <a:pt x="119078" y="460849"/>
                </a:cubicBezTo>
                <a:cubicBezTo>
                  <a:pt x="119078" y="467815"/>
                  <a:pt x="136660" y="474616"/>
                  <a:pt x="130855" y="476606"/>
                </a:cubicBezTo>
                <a:cubicBezTo>
                  <a:pt x="125049" y="478597"/>
                  <a:pt x="123889" y="488383"/>
                  <a:pt x="130855" y="488383"/>
                </a:cubicBezTo>
                <a:cubicBezTo>
                  <a:pt x="137822" y="488383"/>
                  <a:pt x="134670" y="501155"/>
                  <a:pt x="138651" y="506960"/>
                </a:cubicBezTo>
                <a:cubicBezTo>
                  <a:pt x="142631" y="512766"/>
                  <a:pt x="150427" y="517907"/>
                  <a:pt x="154408" y="508950"/>
                </a:cubicBezTo>
                <a:cubicBezTo>
                  <a:pt x="158389" y="499994"/>
                  <a:pt x="167180" y="508121"/>
                  <a:pt x="170995" y="513927"/>
                </a:cubicBezTo>
                <a:cubicBezTo>
                  <a:pt x="174810" y="519732"/>
                  <a:pt x="187582" y="512932"/>
                  <a:pt x="189572" y="505136"/>
                </a:cubicBezTo>
                <a:cubicBezTo>
                  <a:pt x="191563" y="497340"/>
                  <a:pt x="207320" y="494188"/>
                  <a:pt x="206159" y="503145"/>
                </a:cubicBezTo>
                <a:cubicBezTo>
                  <a:pt x="204998" y="512102"/>
                  <a:pt x="208150" y="513927"/>
                  <a:pt x="217936" y="506960"/>
                </a:cubicBezTo>
                <a:cubicBezTo>
                  <a:pt x="220739" y="505152"/>
                  <a:pt x="224123" y="504505"/>
                  <a:pt x="227390" y="505136"/>
                </a:cubicBezTo>
                <a:cubicBezTo>
                  <a:pt x="229912" y="496427"/>
                  <a:pt x="233013" y="487885"/>
                  <a:pt x="236679" y="479592"/>
                </a:cubicBezTo>
                <a:cubicBezTo>
                  <a:pt x="239498" y="473620"/>
                  <a:pt x="229712" y="459854"/>
                  <a:pt x="234689" y="457863"/>
                </a:cubicBezTo>
                <a:cubicBezTo>
                  <a:pt x="239664" y="455873"/>
                  <a:pt x="256251" y="459854"/>
                  <a:pt x="261228" y="446087"/>
                </a:cubicBezTo>
                <a:cubicBezTo>
                  <a:pt x="263583" y="438655"/>
                  <a:pt x="267232" y="431689"/>
                  <a:pt x="272009" y="425519"/>
                </a:cubicBezTo>
                <a:cubicBezTo>
                  <a:pt x="272009" y="425519"/>
                  <a:pt x="273999" y="395994"/>
                  <a:pt x="282790" y="400970"/>
                </a:cubicBezTo>
                <a:cubicBezTo>
                  <a:pt x="291581" y="405946"/>
                  <a:pt x="302529" y="413742"/>
                  <a:pt x="303358" y="401966"/>
                </a:cubicBezTo>
                <a:cubicBezTo>
                  <a:pt x="304187" y="390189"/>
                  <a:pt x="315300" y="396989"/>
                  <a:pt x="318120" y="386208"/>
                </a:cubicBezTo>
                <a:cubicBezTo>
                  <a:pt x="320940" y="375427"/>
                  <a:pt x="327077" y="376422"/>
                  <a:pt x="333878" y="378412"/>
                </a:cubicBezTo>
                <a:cubicBezTo>
                  <a:pt x="340678" y="380402"/>
                  <a:pt x="346650" y="377417"/>
                  <a:pt x="346650" y="371446"/>
                </a:cubicBezTo>
                <a:cubicBezTo>
                  <a:pt x="346650" y="365474"/>
                  <a:pt x="362407" y="368460"/>
                  <a:pt x="375179" y="359669"/>
                </a:cubicBezTo>
                <a:cubicBezTo>
                  <a:pt x="387951" y="350878"/>
                  <a:pt x="394751" y="343912"/>
                  <a:pt x="399727" y="348722"/>
                </a:cubicBezTo>
                <a:cubicBezTo>
                  <a:pt x="413444" y="352819"/>
                  <a:pt x="427958" y="353565"/>
                  <a:pt x="442024" y="350878"/>
                </a:cubicBezTo>
                <a:cubicBezTo>
                  <a:pt x="449621" y="345006"/>
                  <a:pt x="458959" y="341838"/>
                  <a:pt x="468563" y="341921"/>
                </a:cubicBezTo>
                <a:cubicBezTo>
                  <a:pt x="485996" y="341307"/>
                  <a:pt x="503395" y="339699"/>
                  <a:pt x="520645" y="337111"/>
                </a:cubicBezTo>
                <a:cubicBezTo>
                  <a:pt x="532422" y="337111"/>
                  <a:pt x="537232" y="326330"/>
                  <a:pt x="541213" y="322349"/>
                </a:cubicBezTo>
                <a:cubicBezTo>
                  <a:pt x="545194" y="318368"/>
                  <a:pt x="548180" y="300786"/>
                  <a:pt x="551995" y="297800"/>
                </a:cubicBezTo>
                <a:cubicBezTo>
                  <a:pt x="554781" y="268425"/>
                  <a:pt x="555511" y="238884"/>
                  <a:pt x="554151" y="209392"/>
                </a:cubicBezTo>
                <a:cubicBezTo>
                  <a:pt x="542872" y="211549"/>
                  <a:pt x="526451" y="215198"/>
                  <a:pt x="526451" y="21519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69" name="Freeform: Shape 468">
            <a:extLst>
              <a:ext uri="{FF2B5EF4-FFF2-40B4-BE49-F238E27FC236}">
                <a16:creationId xmlns:a16="http://schemas.microsoft.com/office/drawing/2014/main" id="{D0787D39-8487-4E0C-89EA-DA375D202531}"/>
              </a:ext>
            </a:extLst>
          </p:cNvPr>
          <p:cNvSpPr/>
          <p:nvPr/>
        </p:nvSpPr>
        <p:spPr>
          <a:xfrm>
            <a:off x="5185258" y="4276115"/>
            <a:ext cx="215567" cy="144115"/>
          </a:xfrm>
          <a:custGeom>
            <a:avLst/>
            <a:gdLst>
              <a:gd name="connsiteX0" fmla="*/ 270682 w 271883"/>
              <a:gd name="connsiteY0" fmla="*/ 106467 h 185322"/>
              <a:gd name="connsiteX1" fmla="*/ 257247 w 271883"/>
              <a:gd name="connsiteY1" fmla="*/ 100330 h 185322"/>
              <a:gd name="connsiteX2" fmla="*/ 255091 w 271883"/>
              <a:gd name="connsiteY2" fmla="*/ 81918 h 185322"/>
              <a:gd name="connsiteX3" fmla="*/ 238504 w 271883"/>
              <a:gd name="connsiteY3" fmla="*/ 84074 h 185322"/>
              <a:gd name="connsiteX4" fmla="*/ 225234 w 271883"/>
              <a:gd name="connsiteY4" fmla="*/ 72298 h 185322"/>
              <a:gd name="connsiteX5" fmla="*/ 219429 w 271883"/>
              <a:gd name="connsiteY5" fmla="*/ 59858 h 185322"/>
              <a:gd name="connsiteX6" fmla="*/ 204003 w 271883"/>
              <a:gd name="connsiteY6" fmla="*/ 42110 h 185322"/>
              <a:gd name="connsiteX7" fmla="*/ 192890 w 271883"/>
              <a:gd name="connsiteY7" fmla="*/ 23035 h 185322"/>
              <a:gd name="connsiteX8" fmla="*/ 192890 w 271883"/>
              <a:gd name="connsiteY8" fmla="*/ 5121 h 185322"/>
              <a:gd name="connsiteX9" fmla="*/ 172322 w 271883"/>
              <a:gd name="connsiteY9" fmla="*/ 1472 h 185322"/>
              <a:gd name="connsiteX10" fmla="*/ 147774 w 271883"/>
              <a:gd name="connsiteY10" fmla="*/ 12420 h 185322"/>
              <a:gd name="connsiteX11" fmla="*/ 119244 w 271883"/>
              <a:gd name="connsiteY11" fmla="*/ 24196 h 185322"/>
              <a:gd name="connsiteX12" fmla="*/ 106473 w 271883"/>
              <a:gd name="connsiteY12" fmla="*/ 31162 h 185322"/>
              <a:gd name="connsiteX13" fmla="*/ 90715 w 271883"/>
              <a:gd name="connsiteY13" fmla="*/ 38958 h 185322"/>
              <a:gd name="connsiteX14" fmla="*/ 75953 w 271883"/>
              <a:gd name="connsiteY14" fmla="*/ 54716 h 185322"/>
              <a:gd name="connsiteX15" fmla="*/ 55385 w 271883"/>
              <a:gd name="connsiteY15" fmla="*/ 53721 h 185322"/>
              <a:gd name="connsiteX16" fmla="*/ 44604 w 271883"/>
              <a:gd name="connsiteY16" fmla="*/ 78269 h 185322"/>
              <a:gd name="connsiteX17" fmla="*/ 33822 w 271883"/>
              <a:gd name="connsiteY17" fmla="*/ 98837 h 185322"/>
              <a:gd name="connsiteX18" fmla="*/ 7283 w 271883"/>
              <a:gd name="connsiteY18" fmla="*/ 110613 h 185322"/>
              <a:gd name="connsiteX19" fmla="*/ 9274 w 271883"/>
              <a:gd name="connsiteY19" fmla="*/ 132342 h 185322"/>
              <a:gd name="connsiteX20" fmla="*/ -15 w 271883"/>
              <a:gd name="connsiteY20" fmla="*/ 157886 h 185322"/>
              <a:gd name="connsiteX21" fmla="*/ 16572 w 271883"/>
              <a:gd name="connsiteY21" fmla="*/ 168667 h 185322"/>
              <a:gd name="connsiteX22" fmla="*/ 46096 w 271883"/>
              <a:gd name="connsiteY22" fmla="*/ 182435 h 185322"/>
              <a:gd name="connsiteX23" fmla="*/ 85407 w 271883"/>
              <a:gd name="connsiteY23" fmla="*/ 177458 h 185322"/>
              <a:gd name="connsiteX24" fmla="*/ 96189 w 271883"/>
              <a:gd name="connsiteY24" fmla="*/ 174473 h 185322"/>
              <a:gd name="connsiteX25" fmla="*/ 90383 w 271883"/>
              <a:gd name="connsiteY25" fmla="*/ 141299 h 185322"/>
              <a:gd name="connsiteX26" fmla="*/ 173318 w 271883"/>
              <a:gd name="connsiteY26" fmla="*/ 143289 h 185322"/>
              <a:gd name="connsiteX27" fmla="*/ 186089 w 271883"/>
              <a:gd name="connsiteY27" fmla="*/ 134498 h 185322"/>
              <a:gd name="connsiteX28" fmla="*/ 216609 w 271883"/>
              <a:gd name="connsiteY28" fmla="*/ 138314 h 185322"/>
              <a:gd name="connsiteX29" fmla="*/ 235186 w 271883"/>
              <a:gd name="connsiteY29" fmla="*/ 125541 h 185322"/>
              <a:gd name="connsiteX30" fmla="*/ 262720 w 271883"/>
              <a:gd name="connsiteY30" fmla="*/ 119736 h 185322"/>
              <a:gd name="connsiteX31" fmla="*/ 271511 w 271883"/>
              <a:gd name="connsiteY31" fmla="*/ 106964 h 18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883" h="185322">
                <a:moveTo>
                  <a:pt x="270682" y="106467"/>
                </a:moveTo>
                <a:cubicBezTo>
                  <a:pt x="266933" y="103083"/>
                  <a:pt x="262256" y="100943"/>
                  <a:pt x="257247" y="100330"/>
                </a:cubicBezTo>
                <a:cubicBezTo>
                  <a:pt x="254261" y="100330"/>
                  <a:pt x="256418" y="83743"/>
                  <a:pt x="255091" y="81918"/>
                </a:cubicBezTo>
                <a:cubicBezTo>
                  <a:pt x="253764" y="80094"/>
                  <a:pt x="243978" y="86397"/>
                  <a:pt x="238504" y="84074"/>
                </a:cubicBezTo>
                <a:cubicBezTo>
                  <a:pt x="233030" y="81752"/>
                  <a:pt x="230542" y="72298"/>
                  <a:pt x="225234" y="72298"/>
                </a:cubicBezTo>
                <a:cubicBezTo>
                  <a:pt x="219927" y="72298"/>
                  <a:pt x="219429" y="66492"/>
                  <a:pt x="219429" y="59858"/>
                </a:cubicBezTo>
                <a:cubicBezTo>
                  <a:pt x="219429" y="53223"/>
                  <a:pt x="209808" y="46588"/>
                  <a:pt x="204003" y="42110"/>
                </a:cubicBezTo>
                <a:cubicBezTo>
                  <a:pt x="198198" y="37631"/>
                  <a:pt x="196539" y="25523"/>
                  <a:pt x="192890" y="23035"/>
                </a:cubicBezTo>
                <a:cubicBezTo>
                  <a:pt x="189241" y="20547"/>
                  <a:pt x="191563" y="12585"/>
                  <a:pt x="192890" y="5121"/>
                </a:cubicBezTo>
                <a:cubicBezTo>
                  <a:pt x="185841" y="5718"/>
                  <a:pt x="178741" y="4458"/>
                  <a:pt x="172322" y="1472"/>
                </a:cubicBezTo>
                <a:cubicBezTo>
                  <a:pt x="167346" y="-3338"/>
                  <a:pt x="160545" y="3629"/>
                  <a:pt x="147774" y="12420"/>
                </a:cubicBezTo>
                <a:cubicBezTo>
                  <a:pt x="135002" y="21211"/>
                  <a:pt x="119244" y="18391"/>
                  <a:pt x="119244" y="24196"/>
                </a:cubicBezTo>
                <a:cubicBezTo>
                  <a:pt x="119244" y="30002"/>
                  <a:pt x="113439" y="32987"/>
                  <a:pt x="106473" y="31162"/>
                </a:cubicBezTo>
                <a:cubicBezTo>
                  <a:pt x="99506" y="29338"/>
                  <a:pt x="93701" y="28177"/>
                  <a:pt x="90715" y="38958"/>
                </a:cubicBezTo>
                <a:cubicBezTo>
                  <a:pt x="87730" y="49740"/>
                  <a:pt x="76948" y="42939"/>
                  <a:pt x="75953" y="54716"/>
                </a:cubicBezTo>
                <a:cubicBezTo>
                  <a:pt x="74958" y="66492"/>
                  <a:pt x="64176" y="58531"/>
                  <a:pt x="55385" y="53721"/>
                </a:cubicBezTo>
                <a:cubicBezTo>
                  <a:pt x="46594" y="48910"/>
                  <a:pt x="44604" y="78269"/>
                  <a:pt x="44604" y="78269"/>
                </a:cubicBezTo>
                <a:cubicBezTo>
                  <a:pt x="39827" y="84439"/>
                  <a:pt x="36178" y="91406"/>
                  <a:pt x="33822" y="98837"/>
                </a:cubicBezTo>
                <a:cubicBezTo>
                  <a:pt x="28846" y="112604"/>
                  <a:pt x="12094" y="108623"/>
                  <a:pt x="7283" y="110613"/>
                </a:cubicBezTo>
                <a:cubicBezTo>
                  <a:pt x="2473" y="112604"/>
                  <a:pt x="12094" y="126371"/>
                  <a:pt x="9274" y="132342"/>
                </a:cubicBezTo>
                <a:cubicBezTo>
                  <a:pt x="5608" y="140635"/>
                  <a:pt x="2506" y="149178"/>
                  <a:pt x="-15" y="157886"/>
                </a:cubicBezTo>
                <a:cubicBezTo>
                  <a:pt x="6703" y="159180"/>
                  <a:pt x="12657" y="163044"/>
                  <a:pt x="16572" y="168667"/>
                </a:cubicBezTo>
                <a:cubicBezTo>
                  <a:pt x="19557" y="173478"/>
                  <a:pt x="37305" y="192221"/>
                  <a:pt x="46096" y="182435"/>
                </a:cubicBezTo>
                <a:cubicBezTo>
                  <a:pt x="57143" y="173345"/>
                  <a:pt x="72436" y="171404"/>
                  <a:pt x="85407" y="177458"/>
                </a:cubicBezTo>
                <a:cubicBezTo>
                  <a:pt x="91213" y="183430"/>
                  <a:pt x="95194" y="180444"/>
                  <a:pt x="96189" y="174473"/>
                </a:cubicBezTo>
                <a:cubicBezTo>
                  <a:pt x="97184" y="168501"/>
                  <a:pt x="86403" y="146939"/>
                  <a:pt x="90383" y="141299"/>
                </a:cubicBezTo>
                <a:cubicBezTo>
                  <a:pt x="94364" y="135660"/>
                  <a:pt x="170830" y="138314"/>
                  <a:pt x="173318" y="143289"/>
                </a:cubicBezTo>
                <a:cubicBezTo>
                  <a:pt x="175806" y="148266"/>
                  <a:pt x="176303" y="133503"/>
                  <a:pt x="186089" y="134498"/>
                </a:cubicBezTo>
                <a:cubicBezTo>
                  <a:pt x="196091" y="136937"/>
                  <a:pt x="206325" y="138214"/>
                  <a:pt x="216609" y="138314"/>
                </a:cubicBezTo>
                <a:cubicBezTo>
                  <a:pt x="222414" y="136323"/>
                  <a:pt x="229381" y="125541"/>
                  <a:pt x="235186" y="125541"/>
                </a:cubicBezTo>
                <a:cubicBezTo>
                  <a:pt x="240992" y="125541"/>
                  <a:pt x="258740" y="124546"/>
                  <a:pt x="262720" y="119736"/>
                </a:cubicBezTo>
                <a:cubicBezTo>
                  <a:pt x="266702" y="114926"/>
                  <a:pt x="273502" y="114760"/>
                  <a:pt x="271511" y="10696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0" name="Freeform: Shape 469">
            <a:extLst>
              <a:ext uri="{FF2B5EF4-FFF2-40B4-BE49-F238E27FC236}">
                <a16:creationId xmlns:a16="http://schemas.microsoft.com/office/drawing/2014/main" id="{01E9429F-FF33-45E6-97C3-DD9CAEE6652D}"/>
              </a:ext>
            </a:extLst>
          </p:cNvPr>
          <p:cNvSpPr/>
          <p:nvPr/>
        </p:nvSpPr>
        <p:spPr>
          <a:xfrm>
            <a:off x="5336561" y="4048225"/>
            <a:ext cx="406474" cy="312534"/>
          </a:xfrm>
          <a:custGeom>
            <a:avLst/>
            <a:gdLst>
              <a:gd name="connsiteX0" fmla="*/ 493030 w 512663"/>
              <a:gd name="connsiteY0" fmla="*/ 58822 h 401895"/>
              <a:gd name="connsiteX1" fmla="*/ 491205 w 512663"/>
              <a:gd name="connsiteY1" fmla="*/ 16194 h 401895"/>
              <a:gd name="connsiteX2" fmla="*/ 464832 w 512663"/>
              <a:gd name="connsiteY2" fmla="*/ 30458 h 401895"/>
              <a:gd name="connsiteX3" fmla="*/ 443767 w 512663"/>
              <a:gd name="connsiteY3" fmla="*/ 9393 h 401895"/>
              <a:gd name="connsiteX4" fmla="*/ 394006 w 512663"/>
              <a:gd name="connsiteY4" fmla="*/ -61 h 401895"/>
              <a:gd name="connsiteX5" fmla="*/ 251526 w 512663"/>
              <a:gd name="connsiteY5" fmla="*/ 88844 h 401895"/>
              <a:gd name="connsiteX6" fmla="*/ 190818 w 512663"/>
              <a:gd name="connsiteY6" fmla="*/ 137775 h 401895"/>
              <a:gd name="connsiteX7" fmla="*/ 139398 w 512663"/>
              <a:gd name="connsiteY7" fmla="*/ 154362 h 401895"/>
              <a:gd name="connsiteX8" fmla="*/ 134920 w 512663"/>
              <a:gd name="connsiteY8" fmla="*/ 155357 h 401895"/>
              <a:gd name="connsiteX9" fmla="*/ 132764 w 512663"/>
              <a:gd name="connsiteY9" fmla="*/ 243765 h 401895"/>
              <a:gd name="connsiteX10" fmla="*/ 121982 w 512663"/>
              <a:gd name="connsiteY10" fmla="*/ 268313 h 401895"/>
              <a:gd name="connsiteX11" fmla="*/ 101414 w 512663"/>
              <a:gd name="connsiteY11" fmla="*/ 283076 h 401895"/>
              <a:gd name="connsiteX12" fmla="*/ 49332 w 512663"/>
              <a:gd name="connsiteY12" fmla="*/ 287886 h 401895"/>
              <a:gd name="connsiteX13" fmla="*/ 22793 w 512663"/>
              <a:gd name="connsiteY13" fmla="*/ 296843 h 401895"/>
              <a:gd name="connsiteX14" fmla="*/ 1064 w 512663"/>
              <a:gd name="connsiteY14" fmla="*/ 298336 h 401895"/>
              <a:gd name="connsiteX15" fmla="*/ 1064 w 512663"/>
              <a:gd name="connsiteY15" fmla="*/ 316250 h 401895"/>
              <a:gd name="connsiteX16" fmla="*/ 12178 w 512663"/>
              <a:gd name="connsiteY16" fmla="*/ 335324 h 401895"/>
              <a:gd name="connsiteX17" fmla="*/ 27603 w 512663"/>
              <a:gd name="connsiteY17" fmla="*/ 353072 h 401895"/>
              <a:gd name="connsiteX18" fmla="*/ 33409 w 512663"/>
              <a:gd name="connsiteY18" fmla="*/ 365513 h 401895"/>
              <a:gd name="connsiteX19" fmla="*/ 46678 w 512663"/>
              <a:gd name="connsiteY19" fmla="*/ 377289 h 401895"/>
              <a:gd name="connsiteX20" fmla="*/ 63265 w 512663"/>
              <a:gd name="connsiteY20" fmla="*/ 375133 h 401895"/>
              <a:gd name="connsiteX21" fmla="*/ 65421 w 512663"/>
              <a:gd name="connsiteY21" fmla="*/ 393544 h 401895"/>
              <a:gd name="connsiteX22" fmla="*/ 78857 w 512663"/>
              <a:gd name="connsiteY22" fmla="*/ 399681 h 401895"/>
              <a:gd name="connsiteX23" fmla="*/ 90799 w 512663"/>
              <a:gd name="connsiteY23" fmla="*/ 384256 h 401895"/>
              <a:gd name="connsiteX24" fmla="*/ 101580 w 512663"/>
              <a:gd name="connsiteY24" fmla="*/ 400013 h 401895"/>
              <a:gd name="connsiteX25" fmla="*/ 115348 w 512663"/>
              <a:gd name="connsiteY25" fmla="*/ 394042 h 401895"/>
              <a:gd name="connsiteX26" fmla="*/ 129944 w 512663"/>
              <a:gd name="connsiteY26" fmla="*/ 370488 h 401895"/>
              <a:gd name="connsiteX27" fmla="*/ 137906 w 512663"/>
              <a:gd name="connsiteY27" fmla="*/ 343949 h 401895"/>
              <a:gd name="connsiteX28" fmla="*/ 168259 w 512663"/>
              <a:gd name="connsiteY28" fmla="*/ 343949 h 401895"/>
              <a:gd name="connsiteX29" fmla="*/ 187998 w 512663"/>
              <a:gd name="connsiteY29" fmla="*/ 337149 h 401895"/>
              <a:gd name="connsiteX30" fmla="*/ 214537 w 512663"/>
              <a:gd name="connsiteY30" fmla="*/ 344944 h 401895"/>
              <a:gd name="connsiteX31" fmla="*/ 233280 w 512663"/>
              <a:gd name="connsiteY31" fmla="*/ 362527 h 401895"/>
              <a:gd name="connsiteX32" fmla="*/ 260648 w 512663"/>
              <a:gd name="connsiteY32" fmla="*/ 354731 h 401895"/>
              <a:gd name="connsiteX33" fmla="*/ 286192 w 512663"/>
              <a:gd name="connsiteY33" fmla="*/ 368498 h 401895"/>
              <a:gd name="connsiteX34" fmla="*/ 319366 w 512663"/>
              <a:gd name="connsiteY34" fmla="*/ 368498 h 401895"/>
              <a:gd name="connsiteX35" fmla="*/ 343914 w 512663"/>
              <a:gd name="connsiteY35" fmla="*/ 352740 h 401895"/>
              <a:gd name="connsiteX36" fmla="*/ 386211 w 512663"/>
              <a:gd name="connsiteY36" fmla="*/ 353735 h 401895"/>
              <a:gd name="connsiteX37" fmla="*/ 413745 w 512663"/>
              <a:gd name="connsiteY37" fmla="*/ 360702 h 401895"/>
              <a:gd name="connsiteX38" fmla="*/ 437298 w 512663"/>
              <a:gd name="connsiteY38" fmla="*/ 338973 h 401895"/>
              <a:gd name="connsiteX39" fmla="*/ 441942 w 512663"/>
              <a:gd name="connsiteY39" fmla="*/ 338973 h 401895"/>
              <a:gd name="connsiteX40" fmla="*/ 441942 w 512663"/>
              <a:gd name="connsiteY40" fmla="*/ 328192 h 401895"/>
              <a:gd name="connsiteX41" fmla="*/ 448909 w 512663"/>
              <a:gd name="connsiteY41" fmla="*/ 299663 h 401895"/>
              <a:gd name="connsiteX42" fmla="*/ 501987 w 512663"/>
              <a:gd name="connsiteY42" fmla="*/ 233315 h 401895"/>
              <a:gd name="connsiteX43" fmla="*/ 505801 w 512663"/>
              <a:gd name="connsiteY43" fmla="*/ 150381 h 401895"/>
              <a:gd name="connsiteX44" fmla="*/ 511773 w 512663"/>
              <a:gd name="connsiteY44" fmla="*/ 115051 h 401895"/>
              <a:gd name="connsiteX45" fmla="*/ 505801 w 512663"/>
              <a:gd name="connsiteY45" fmla="*/ 89507 h 401895"/>
              <a:gd name="connsiteX46" fmla="*/ 493030 w 512663"/>
              <a:gd name="connsiteY46" fmla="*/ 58822 h 40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12663" h="401895">
                <a:moveTo>
                  <a:pt x="493030" y="58822"/>
                </a:moveTo>
                <a:cubicBezTo>
                  <a:pt x="493030" y="54012"/>
                  <a:pt x="492035" y="32283"/>
                  <a:pt x="491205" y="16194"/>
                </a:cubicBezTo>
                <a:lnTo>
                  <a:pt x="464832" y="30458"/>
                </a:lnTo>
                <a:cubicBezTo>
                  <a:pt x="459275" y="22115"/>
                  <a:pt x="452110" y="14950"/>
                  <a:pt x="443767" y="9393"/>
                </a:cubicBezTo>
                <a:cubicBezTo>
                  <a:pt x="428043" y="2742"/>
                  <a:pt x="411074" y="-493"/>
                  <a:pt x="394006" y="-61"/>
                </a:cubicBezTo>
                <a:lnTo>
                  <a:pt x="251526" y="88844"/>
                </a:lnTo>
                <a:lnTo>
                  <a:pt x="190818" y="137775"/>
                </a:lnTo>
                <a:cubicBezTo>
                  <a:pt x="190818" y="137775"/>
                  <a:pt x="151009" y="151874"/>
                  <a:pt x="139398" y="154362"/>
                </a:cubicBezTo>
                <a:lnTo>
                  <a:pt x="134920" y="155357"/>
                </a:lnTo>
                <a:cubicBezTo>
                  <a:pt x="136280" y="184849"/>
                  <a:pt x="135550" y="214390"/>
                  <a:pt x="132764" y="243765"/>
                </a:cubicBezTo>
                <a:cubicBezTo>
                  <a:pt x="128949" y="246751"/>
                  <a:pt x="125963" y="264333"/>
                  <a:pt x="121982" y="268313"/>
                </a:cubicBezTo>
                <a:cubicBezTo>
                  <a:pt x="118001" y="272295"/>
                  <a:pt x="113191" y="283076"/>
                  <a:pt x="101414" y="283076"/>
                </a:cubicBezTo>
                <a:cubicBezTo>
                  <a:pt x="84164" y="285664"/>
                  <a:pt x="66765" y="287272"/>
                  <a:pt x="49332" y="287886"/>
                </a:cubicBezTo>
                <a:cubicBezTo>
                  <a:pt x="39728" y="287803"/>
                  <a:pt x="30390" y="290971"/>
                  <a:pt x="22793" y="296843"/>
                </a:cubicBezTo>
                <a:cubicBezTo>
                  <a:pt x="15627" y="298120"/>
                  <a:pt x="8346" y="298617"/>
                  <a:pt x="1064" y="298336"/>
                </a:cubicBezTo>
                <a:cubicBezTo>
                  <a:pt x="69" y="305800"/>
                  <a:pt x="-760" y="314922"/>
                  <a:pt x="1064" y="316250"/>
                </a:cubicBezTo>
                <a:cubicBezTo>
                  <a:pt x="2889" y="317576"/>
                  <a:pt x="6206" y="330846"/>
                  <a:pt x="12178" y="335324"/>
                </a:cubicBezTo>
                <a:cubicBezTo>
                  <a:pt x="18149" y="339803"/>
                  <a:pt x="27603" y="346438"/>
                  <a:pt x="27603" y="353072"/>
                </a:cubicBezTo>
                <a:cubicBezTo>
                  <a:pt x="27603" y="359707"/>
                  <a:pt x="27603" y="365513"/>
                  <a:pt x="33409" y="365513"/>
                </a:cubicBezTo>
                <a:cubicBezTo>
                  <a:pt x="39214" y="365513"/>
                  <a:pt x="40873" y="375133"/>
                  <a:pt x="46678" y="377289"/>
                </a:cubicBezTo>
                <a:cubicBezTo>
                  <a:pt x="52484" y="379445"/>
                  <a:pt x="62270" y="372976"/>
                  <a:pt x="63265" y="375133"/>
                </a:cubicBezTo>
                <a:cubicBezTo>
                  <a:pt x="64260" y="377289"/>
                  <a:pt x="63265" y="393544"/>
                  <a:pt x="65421" y="393544"/>
                </a:cubicBezTo>
                <a:cubicBezTo>
                  <a:pt x="70431" y="394158"/>
                  <a:pt x="75108" y="396297"/>
                  <a:pt x="78857" y="399681"/>
                </a:cubicBezTo>
                <a:cubicBezTo>
                  <a:pt x="77032" y="391719"/>
                  <a:pt x="81013" y="381270"/>
                  <a:pt x="90799" y="384256"/>
                </a:cubicBezTo>
                <a:cubicBezTo>
                  <a:pt x="100585" y="387241"/>
                  <a:pt x="92623" y="396032"/>
                  <a:pt x="101580" y="400013"/>
                </a:cubicBezTo>
                <a:cubicBezTo>
                  <a:pt x="110537" y="403994"/>
                  <a:pt x="115348" y="401008"/>
                  <a:pt x="115348" y="394042"/>
                </a:cubicBezTo>
                <a:cubicBezTo>
                  <a:pt x="115348" y="387075"/>
                  <a:pt x="127124" y="373474"/>
                  <a:pt x="129944" y="370488"/>
                </a:cubicBezTo>
                <a:cubicBezTo>
                  <a:pt x="132764" y="367503"/>
                  <a:pt x="131935" y="348926"/>
                  <a:pt x="137906" y="343949"/>
                </a:cubicBezTo>
                <a:cubicBezTo>
                  <a:pt x="143877" y="338973"/>
                  <a:pt x="161459" y="342954"/>
                  <a:pt x="168259" y="343949"/>
                </a:cubicBezTo>
                <a:cubicBezTo>
                  <a:pt x="175060" y="344944"/>
                  <a:pt x="180202" y="330182"/>
                  <a:pt x="187998" y="337149"/>
                </a:cubicBezTo>
                <a:cubicBezTo>
                  <a:pt x="195794" y="344115"/>
                  <a:pt x="208566" y="337149"/>
                  <a:pt x="214537" y="344944"/>
                </a:cubicBezTo>
                <a:cubicBezTo>
                  <a:pt x="220508" y="352740"/>
                  <a:pt x="223328" y="368498"/>
                  <a:pt x="233280" y="362527"/>
                </a:cubicBezTo>
                <a:cubicBezTo>
                  <a:pt x="241640" y="357766"/>
                  <a:pt x="251028" y="355079"/>
                  <a:pt x="260648" y="354731"/>
                </a:cubicBezTo>
                <a:cubicBezTo>
                  <a:pt x="266620" y="354731"/>
                  <a:pt x="280386" y="366508"/>
                  <a:pt x="286192" y="368498"/>
                </a:cubicBezTo>
                <a:cubicBezTo>
                  <a:pt x="297023" y="371616"/>
                  <a:pt x="308534" y="371616"/>
                  <a:pt x="319366" y="368498"/>
                </a:cubicBezTo>
                <a:cubicBezTo>
                  <a:pt x="326166" y="364517"/>
                  <a:pt x="335123" y="351911"/>
                  <a:pt x="343914" y="352740"/>
                </a:cubicBezTo>
                <a:cubicBezTo>
                  <a:pt x="358013" y="352044"/>
                  <a:pt x="372161" y="352376"/>
                  <a:pt x="386211" y="353735"/>
                </a:cubicBezTo>
                <a:cubicBezTo>
                  <a:pt x="394338" y="359094"/>
                  <a:pt x="404042" y="361548"/>
                  <a:pt x="413745" y="360702"/>
                </a:cubicBezTo>
                <a:cubicBezTo>
                  <a:pt x="422536" y="357717"/>
                  <a:pt x="430332" y="340964"/>
                  <a:pt x="437298" y="338973"/>
                </a:cubicBezTo>
                <a:cubicBezTo>
                  <a:pt x="438807" y="338476"/>
                  <a:pt x="440433" y="338476"/>
                  <a:pt x="441942" y="338973"/>
                </a:cubicBezTo>
                <a:cubicBezTo>
                  <a:pt x="441942" y="335158"/>
                  <a:pt x="441942" y="331509"/>
                  <a:pt x="441942" y="328192"/>
                </a:cubicBezTo>
                <a:cubicBezTo>
                  <a:pt x="441942" y="310610"/>
                  <a:pt x="445923" y="317411"/>
                  <a:pt x="448909" y="299663"/>
                </a:cubicBezTo>
                <a:cubicBezTo>
                  <a:pt x="451894" y="281915"/>
                  <a:pt x="498669" y="235803"/>
                  <a:pt x="501987" y="233315"/>
                </a:cubicBezTo>
                <a:cubicBezTo>
                  <a:pt x="505304" y="230828"/>
                  <a:pt x="505801" y="160499"/>
                  <a:pt x="505801" y="150381"/>
                </a:cubicBezTo>
                <a:cubicBezTo>
                  <a:pt x="506166" y="138389"/>
                  <a:pt x="508173" y="126496"/>
                  <a:pt x="511773" y="115051"/>
                </a:cubicBezTo>
                <a:cubicBezTo>
                  <a:pt x="515754" y="101284"/>
                  <a:pt x="504806" y="102280"/>
                  <a:pt x="505801" y="89507"/>
                </a:cubicBezTo>
                <a:cubicBezTo>
                  <a:pt x="506797" y="76736"/>
                  <a:pt x="493030" y="66617"/>
                  <a:pt x="493030" y="58822"/>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1" name="Freeform: Shape 470">
            <a:extLst>
              <a:ext uri="{FF2B5EF4-FFF2-40B4-BE49-F238E27FC236}">
                <a16:creationId xmlns:a16="http://schemas.microsoft.com/office/drawing/2014/main" id="{E2FBEE57-B7F7-4E2A-B182-E473B50D585C}"/>
              </a:ext>
            </a:extLst>
          </p:cNvPr>
          <p:cNvSpPr/>
          <p:nvPr/>
        </p:nvSpPr>
        <p:spPr>
          <a:xfrm>
            <a:off x="5687763" y="4047868"/>
            <a:ext cx="263661" cy="429264"/>
          </a:xfrm>
          <a:custGeom>
            <a:avLst/>
            <a:gdLst>
              <a:gd name="connsiteX0" fmla="*/ 331556 w 332542"/>
              <a:gd name="connsiteY0" fmla="*/ 136908 h 552002"/>
              <a:gd name="connsiteX1" fmla="*/ 77943 w 332542"/>
              <a:gd name="connsiteY1" fmla="*/ -100 h 552002"/>
              <a:gd name="connsiteX2" fmla="*/ 48252 w 332542"/>
              <a:gd name="connsiteY2" fmla="*/ 16487 h 552002"/>
              <a:gd name="connsiteX3" fmla="*/ 50077 w 332542"/>
              <a:gd name="connsiteY3" fmla="*/ 59116 h 552002"/>
              <a:gd name="connsiteX4" fmla="*/ 63844 w 332542"/>
              <a:gd name="connsiteY4" fmla="*/ 89635 h 552002"/>
              <a:gd name="connsiteX5" fmla="*/ 69815 w 332542"/>
              <a:gd name="connsiteY5" fmla="*/ 115179 h 552002"/>
              <a:gd name="connsiteX6" fmla="*/ 63844 w 332542"/>
              <a:gd name="connsiteY6" fmla="*/ 150509 h 552002"/>
              <a:gd name="connsiteX7" fmla="*/ 60029 w 332542"/>
              <a:gd name="connsiteY7" fmla="*/ 233443 h 552002"/>
              <a:gd name="connsiteX8" fmla="*/ 6951 w 332542"/>
              <a:gd name="connsiteY8" fmla="*/ 299790 h 552002"/>
              <a:gd name="connsiteX9" fmla="*/ -15 w 332542"/>
              <a:gd name="connsiteY9" fmla="*/ 328320 h 552002"/>
              <a:gd name="connsiteX10" fmla="*/ -15 w 332542"/>
              <a:gd name="connsiteY10" fmla="*/ 339101 h 552002"/>
              <a:gd name="connsiteX11" fmla="*/ 7117 w 332542"/>
              <a:gd name="connsiteY11" fmla="*/ 346068 h 552002"/>
              <a:gd name="connsiteX12" fmla="*/ 21879 w 332542"/>
              <a:gd name="connsiteY12" fmla="*/ 359835 h 552002"/>
              <a:gd name="connsiteX13" fmla="*/ 42447 w 332542"/>
              <a:gd name="connsiteY13" fmla="*/ 391184 h 552002"/>
              <a:gd name="connsiteX14" fmla="*/ 46428 w 332542"/>
              <a:gd name="connsiteY14" fmla="*/ 420708 h 552002"/>
              <a:gd name="connsiteX15" fmla="*/ 60195 w 332542"/>
              <a:gd name="connsiteY15" fmla="*/ 462009 h 552002"/>
              <a:gd name="connsiteX16" fmla="*/ 46428 w 332542"/>
              <a:gd name="connsiteY16" fmla="*/ 466820 h 552002"/>
              <a:gd name="connsiteX17" fmla="*/ 17899 w 332542"/>
              <a:gd name="connsiteY17" fmla="*/ 470801 h 552002"/>
              <a:gd name="connsiteX18" fmla="*/ 25694 w 332542"/>
              <a:gd name="connsiteY18" fmla="*/ 494354 h 552002"/>
              <a:gd name="connsiteX19" fmla="*/ 53229 w 332542"/>
              <a:gd name="connsiteY19" fmla="*/ 522883 h 552002"/>
              <a:gd name="connsiteX20" fmla="*/ 66000 w 332542"/>
              <a:gd name="connsiteY20" fmla="*/ 550417 h 552002"/>
              <a:gd name="connsiteX21" fmla="*/ 84743 w 332542"/>
              <a:gd name="connsiteY21" fmla="*/ 542622 h 552002"/>
              <a:gd name="connsiteX22" fmla="*/ 106306 w 332542"/>
              <a:gd name="connsiteY22" fmla="*/ 542622 h 552002"/>
              <a:gd name="connsiteX23" fmla="*/ 142631 w 332542"/>
              <a:gd name="connsiteY23" fmla="*/ 531674 h 552002"/>
              <a:gd name="connsiteX24" fmla="*/ 172156 w 332542"/>
              <a:gd name="connsiteY24" fmla="*/ 516083 h 552002"/>
              <a:gd name="connsiteX25" fmla="*/ 174147 w 332542"/>
              <a:gd name="connsiteY25" fmla="*/ 498335 h 552002"/>
              <a:gd name="connsiteX26" fmla="*/ 221253 w 332542"/>
              <a:gd name="connsiteY26" fmla="*/ 488548 h 552002"/>
              <a:gd name="connsiteX27" fmla="*/ 254427 w 332542"/>
              <a:gd name="connsiteY27" fmla="*/ 455375 h 552002"/>
              <a:gd name="connsiteX28" fmla="*/ 261228 w 332542"/>
              <a:gd name="connsiteY28" fmla="*/ 439783 h 552002"/>
              <a:gd name="connsiteX29" fmla="*/ 288761 w 332542"/>
              <a:gd name="connsiteY29" fmla="*/ 428836 h 552002"/>
              <a:gd name="connsiteX30" fmla="*/ 294567 w 332542"/>
              <a:gd name="connsiteY30" fmla="*/ 430163 h 552002"/>
              <a:gd name="connsiteX31" fmla="*/ 293406 w 332542"/>
              <a:gd name="connsiteY31" fmla="*/ 429002 h 552002"/>
              <a:gd name="connsiteX32" fmla="*/ 297552 w 332542"/>
              <a:gd name="connsiteY32" fmla="*/ 414571 h 552002"/>
              <a:gd name="connsiteX33" fmla="*/ 280965 w 332542"/>
              <a:gd name="connsiteY33" fmla="*/ 394169 h 552002"/>
              <a:gd name="connsiteX34" fmla="*/ 274828 w 332542"/>
              <a:gd name="connsiteY34" fmla="*/ 369455 h 552002"/>
              <a:gd name="connsiteX35" fmla="*/ 270682 w 332542"/>
              <a:gd name="connsiteY35" fmla="*/ 351044 h 552002"/>
              <a:gd name="connsiteX36" fmla="*/ 272838 w 332542"/>
              <a:gd name="connsiteY36" fmla="*/ 326495 h 552002"/>
              <a:gd name="connsiteX37" fmla="*/ 287103 w 332542"/>
              <a:gd name="connsiteY37" fmla="*/ 301947 h 552002"/>
              <a:gd name="connsiteX38" fmla="*/ 299377 w 332542"/>
              <a:gd name="connsiteY38" fmla="*/ 281379 h 552002"/>
              <a:gd name="connsiteX39" fmla="*/ 328073 w 332542"/>
              <a:gd name="connsiteY39" fmla="*/ 262967 h 552002"/>
              <a:gd name="connsiteX40" fmla="*/ 332219 w 332542"/>
              <a:gd name="connsiteY40" fmla="*/ 228135 h 55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2542" h="552002">
                <a:moveTo>
                  <a:pt x="331556" y="136908"/>
                </a:moveTo>
                <a:lnTo>
                  <a:pt x="77943" y="-100"/>
                </a:lnTo>
                <a:lnTo>
                  <a:pt x="48252" y="16487"/>
                </a:lnTo>
                <a:cubicBezTo>
                  <a:pt x="49082" y="33074"/>
                  <a:pt x="50077" y="54305"/>
                  <a:pt x="50077" y="59116"/>
                </a:cubicBezTo>
                <a:cubicBezTo>
                  <a:pt x="50077" y="66911"/>
                  <a:pt x="64839" y="76864"/>
                  <a:pt x="63844" y="89635"/>
                </a:cubicBezTo>
                <a:cubicBezTo>
                  <a:pt x="62849" y="102407"/>
                  <a:pt x="73796" y="101412"/>
                  <a:pt x="69815" y="115179"/>
                </a:cubicBezTo>
                <a:cubicBezTo>
                  <a:pt x="66216" y="126624"/>
                  <a:pt x="64209" y="138517"/>
                  <a:pt x="63844" y="150509"/>
                </a:cubicBezTo>
                <a:cubicBezTo>
                  <a:pt x="63844" y="160295"/>
                  <a:pt x="63844" y="230126"/>
                  <a:pt x="60029" y="233443"/>
                </a:cubicBezTo>
                <a:cubicBezTo>
                  <a:pt x="56214" y="236760"/>
                  <a:pt x="10269" y="283203"/>
                  <a:pt x="6951" y="299790"/>
                </a:cubicBezTo>
                <a:cubicBezTo>
                  <a:pt x="3634" y="316377"/>
                  <a:pt x="-15" y="310738"/>
                  <a:pt x="-15" y="328320"/>
                </a:cubicBezTo>
                <a:cubicBezTo>
                  <a:pt x="-15" y="331637"/>
                  <a:pt x="-15" y="335286"/>
                  <a:pt x="-15" y="339101"/>
                </a:cubicBezTo>
                <a:cubicBezTo>
                  <a:pt x="2638" y="339931"/>
                  <a:pt x="3634" y="342584"/>
                  <a:pt x="7117" y="346068"/>
                </a:cubicBezTo>
                <a:cubicBezTo>
                  <a:pt x="10600" y="349551"/>
                  <a:pt x="11927" y="359835"/>
                  <a:pt x="21879" y="359835"/>
                </a:cubicBezTo>
                <a:cubicBezTo>
                  <a:pt x="31831" y="359835"/>
                  <a:pt x="43442" y="382393"/>
                  <a:pt x="42447" y="391184"/>
                </a:cubicBezTo>
                <a:cubicBezTo>
                  <a:pt x="41452" y="399975"/>
                  <a:pt x="47423" y="404951"/>
                  <a:pt x="46428" y="420708"/>
                </a:cubicBezTo>
                <a:cubicBezTo>
                  <a:pt x="46129" y="435653"/>
                  <a:pt x="50989" y="450233"/>
                  <a:pt x="60195" y="462009"/>
                </a:cubicBezTo>
                <a:cubicBezTo>
                  <a:pt x="65005" y="464995"/>
                  <a:pt x="58204" y="467815"/>
                  <a:pt x="46428" y="466820"/>
                </a:cubicBezTo>
                <a:cubicBezTo>
                  <a:pt x="34651" y="465825"/>
                  <a:pt x="17899" y="465991"/>
                  <a:pt x="17899" y="470801"/>
                </a:cubicBezTo>
                <a:cubicBezTo>
                  <a:pt x="14996" y="479509"/>
                  <a:pt x="18164" y="489096"/>
                  <a:pt x="25694" y="494354"/>
                </a:cubicBezTo>
                <a:cubicBezTo>
                  <a:pt x="38466" y="506130"/>
                  <a:pt x="49413" y="510112"/>
                  <a:pt x="53229" y="522883"/>
                </a:cubicBezTo>
                <a:cubicBezTo>
                  <a:pt x="55551" y="532835"/>
                  <a:pt x="59897" y="542207"/>
                  <a:pt x="66000" y="550417"/>
                </a:cubicBezTo>
                <a:cubicBezTo>
                  <a:pt x="69981" y="553403"/>
                  <a:pt x="77777" y="552408"/>
                  <a:pt x="84743" y="542622"/>
                </a:cubicBezTo>
                <a:cubicBezTo>
                  <a:pt x="91710" y="532835"/>
                  <a:pt x="99506" y="551413"/>
                  <a:pt x="106306" y="542622"/>
                </a:cubicBezTo>
                <a:cubicBezTo>
                  <a:pt x="113107" y="533831"/>
                  <a:pt x="136826" y="534660"/>
                  <a:pt x="142631" y="531674"/>
                </a:cubicBezTo>
                <a:cubicBezTo>
                  <a:pt x="152882" y="527295"/>
                  <a:pt x="162768" y="522087"/>
                  <a:pt x="172156" y="516083"/>
                </a:cubicBezTo>
                <a:cubicBezTo>
                  <a:pt x="178127" y="511107"/>
                  <a:pt x="165355" y="503311"/>
                  <a:pt x="174147" y="498335"/>
                </a:cubicBezTo>
                <a:cubicBezTo>
                  <a:pt x="182938" y="493359"/>
                  <a:pt x="210471" y="502316"/>
                  <a:pt x="221253" y="488548"/>
                </a:cubicBezTo>
                <a:cubicBezTo>
                  <a:pt x="231587" y="476789"/>
                  <a:pt x="242667" y="465709"/>
                  <a:pt x="254427" y="455375"/>
                </a:cubicBezTo>
                <a:cubicBezTo>
                  <a:pt x="259237" y="450565"/>
                  <a:pt x="254427" y="446584"/>
                  <a:pt x="261228" y="439783"/>
                </a:cubicBezTo>
                <a:cubicBezTo>
                  <a:pt x="268028" y="432982"/>
                  <a:pt x="281961" y="425021"/>
                  <a:pt x="288761" y="428836"/>
                </a:cubicBezTo>
                <a:cubicBezTo>
                  <a:pt x="290537" y="429815"/>
                  <a:pt x="292544" y="430279"/>
                  <a:pt x="294567" y="430163"/>
                </a:cubicBezTo>
                <a:cubicBezTo>
                  <a:pt x="294235" y="429732"/>
                  <a:pt x="293837" y="429334"/>
                  <a:pt x="293406" y="429002"/>
                </a:cubicBezTo>
                <a:lnTo>
                  <a:pt x="297552" y="414571"/>
                </a:lnTo>
                <a:cubicBezTo>
                  <a:pt x="297552" y="414571"/>
                  <a:pt x="280965" y="406444"/>
                  <a:pt x="280965" y="394169"/>
                </a:cubicBezTo>
                <a:cubicBezTo>
                  <a:pt x="280965" y="381895"/>
                  <a:pt x="285112" y="369455"/>
                  <a:pt x="274828" y="369455"/>
                </a:cubicBezTo>
                <a:cubicBezTo>
                  <a:pt x="264545" y="369455"/>
                  <a:pt x="262554" y="359171"/>
                  <a:pt x="270682" y="351044"/>
                </a:cubicBezTo>
                <a:cubicBezTo>
                  <a:pt x="278810" y="342916"/>
                  <a:pt x="258408" y="326495"/>
                  <a:pt x="272838" y="326495"/>
                </a:cubicBezTo>
                <a:cubicBezTo>
                  <a:pt x="287269" y="326495"/>
                  <a:pt x="276985" y="303937"/>
                  <a:pt x="287103" y="301947"/>
                </a:cubicBezTo>
                <a:cubicBezTo>
                  <a:pt x="297221" y="299956"/>
                  <a:pt x="299377" y="291663"/>
                  <a:pt x="299377" y="281379"/>
                </a:cubicBezTo>
                <a:cubicBezTo>
                  <a:pt x="299377" y="271095"/>
                  <a:pt x="321935" y="264792"/>
                  <a:pt x="328073" y="262967"/>
                </a:cubicBezTo>
                <a:cubicBezTo>
                  <a:pt x="334210" y="261143"/>
                  <a:pt x="332219" y="228135"/>
                  <a:pt x="332219" y="228135"/>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2" name="Freeform: Shape 471">
            <a:extLst>
              <a:ext uri="{FF2B5EF4-FFF2-40B4-BE49-F238E27FC236}">
                <a16:creationId xmlns:a16="http://schemas.microsoft.com/office/drawing/2014/main" id="{BAE7638B-16D6-4FDB-BCF5-9F5DEE69CD46}"/>
              </a:ext>
            </a:extLst>
          </p:cNvPr>
          <p:cNvSpPr/>
          <p:nvPr/>
        </p:nvSpPr>
        <p:spPr>
          <a:xfrm>
            <a:off x="5565748" y="4610898"/>
            <a:ext cx="145284" cy="161621"/>
          </a:xfrm>
          <a:custGeom>
            <a:avLst/>
            <a:gdLst>
              <a:gd name="connsiteX0" fmla="*/ 90680 w 183239"/>
              <a:gd name="connsiteY0" fmla="*/ 198445 h 207832"/>
              <a:gd name="connsiteX1" fmla="*/ 94662 w 183239"/>
              <a:gd name="connsiteY1" fmla="*/ 171740 h 207832"/>
              <a:gd name="connsiteX2" fmla="*/ 115229 w 183239"/>
              <a:gd name="connsiteY2" fmla="*/ 157475 h 207832"/>
              <a:gd name="connsiteX3" fmla="*/ 129660 w 183239"/>
              <a:gd name="connsiteY3" fmla="*/ 138898 h 207832"/>
              <a:gd name="connsiteX4" fmla="*/ 148071 w 183239"/>
              <a:gd name="connsiteY4" fmla="*/ 159466 h 207832"/>
              <a:gd name="connsiteX5" fmla="*/ 172785 w 183239"/>
              <a:gd name="connsiteY5" fmla="*/ 163612 h 207832"/>
              <a:gd name="connsiteX6" fmla="*/ 183069 w 183239"/>
              <a:gd name="connsiteY6" fmla="*/ 124634 h 207832"/>
              <a:gd name="connsiteX7" fmla="*/ 174776 w 183239"/>
              <a:gd name="connsiteY7" fmla="*/ 89635 h 207832"/>
              <a:gd name="connsiteX8" fmla="*/ 168639 w 183239"/>
              <a:gd name="connsiteY8" fmla="*/ 62931 h 207832"/>
              <a:gd name="connsiteX9" fmla="*/ 178773 w 183239"/>
              <a:gd name="connsiteY9" fmla="*/ 44403 h 207832"/>
              <a:gd name="connsiteX10" fmla="*/ 172785 w 183239"/>
              <a:gd name="connsiteY10" fmla="*/ 36226 h 207832"/>
              <a:gd name="connsiteX11" fmla="*/ 139612 w 183239"/>
              <a:gd name="connsiteY11" fmla="*/ 36226 h 207832"/>
              <a:gd name="connsiteX12" fmla="*/ 143095 w 183239"/>
              <a:gd name="connsiteY12" fmla="*/ 2057 h 207832"/>
              <a:gd name="connsiteX13" fmla="*/ 93334 w 183239"/>
              <a:gd name="connsiteY13" fmla="*/ -100 h 207832"/>
              <a:gd name="connsiteX14" fmla="*/ 87197 w 183239"/>
              <a:gd name="connsiteY14" fmla="*/ 1559 h 207832"/>
              <a:gd name="connsiteX15" fmla="*/ 85871 w 183239"/>
              <a:gd name="connsiteY15" fmla="*/ 44353 h 207832"/>
              <a:gd name="connsiteX16" fmla="*/ 40588 w 183239"/>
              <a:gd name="connsiteY16" fmla="*/ 46509 h 207832"/>
              <a:gd name="connsiteX17" fmla="*/ 25329 w 183239"/>
              <a:gd name="connsiteY17" fmla="*/ 48500 h 207832"/>
              <a:gd name="connsiteX18" fmla="*/ 19689 w 183239"/>
              <a:gd name="connsiteY18" fmla="*/ 55466 h 207832"/>
              <a:gd name="connsiteX19" fmla="*/ 32461 w 183239"/>
              <a:gd name="connsiteY19" fmla="*/ 72053 h 207832"/>
              <a:gd name="connsiteX20" fmla="*/ 14215 w 183239"/>
              <a:gd name="connsiteY20" fmla="*/ 85820 h 207832"/>
              <a:gd name="connsiteX21" fmla="*/ 946 w 183239"/>
              <a:gd name="connsiteY21" fmla="*/ 106886 h 207832"/>
              <a:gd name="connsiteX22" fmla="*/ 17533 w 183239"/>
              <a:gd name="connsiteY22" fmla="*/ 136410 h 207832"/>
              <a:gd name="connsiteX23" fmla="*/ 41584 w 183239"/>
              <a:gd name="connsiteY23" fmla="*/ 166930 h 207832"/>
              <a:gd name="connsiteX24" fmla="*/ 74757 w 183239"/>
              <a:gd name="connsiteY24" fmla="*/ 207733 h 207832"/>
              <a:gd name="connsiteX25" fmla="*/ 90680 w 183239"/>
              <a:gd name="connsiteY25" fmla="*/ 198445 h 20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3239" h="207832">
                <a:moveTo>
                  <a:pt x="90680" y="198445"/>
                </a:moveTo>
                <a:cubicBezTo>
                  <a:pt x="107267" y="198445"/>
                  <a:pt x="100965" y="188327"/>
                  <a:pt x="94662" y="171740"/>
                </a:cubicBezTo>
                <a:cubicBezTo>
                  <a:pt x="88359" y="155153"/>
                  <a:pt x="104945" y="157475"/>
                  <a:pt x="115229" y="157475"/>
                </a:cubicBezTo>
                <a:cubicBezTo>
                  <a:pt x="125513" y="157475"/>
                  <a:pt x="121366" y="138898"/>
                  <a:pt x="129660" y="138898"/>
                </a:cubicBezTo>
                <a:cubicBezTo>
                  <a:pt x="137953" y="138898"/>
                  <a:pt x="139943" y="161457"/>
                  <a:pt x="148071" y="159466"/>
                </a:cubicBezTo>
                <a:cubicBezTo>
                  <a:pt x="156199" y="157475"/>
                  <a:pt x="162502" y="165603"/>
                  <a:pt x="172785" y="163612"/>
                </a:cubicBezTo>
                <a:cubicBezTo>
                  <a:pt x="183069" y="161622"/>
                  <a:pt x="183069" y="141055"/>
                  <a:pt x="183069" y="124634"/>
                </a:cubicBezTo>
                <a:cubicBezTo>
                  <a:pt x="183069" y="108212"/>
                  <a:pt x="185060" y="95772"/>
                  <a:pt x="174776" y="89635"/>
                </a:cubicBezTo>
                <a:cubicBezTo>
                  <a:pt x="164492" y="83498"/>
                  <a:pt x="156365" y="69068"/>
                  <a:pt x="168639" y="62931"/>
                </a:cubicBezTo>
                <a:cubicBezTo>
                  <a:pt x="176550" y="60608"/>
                  <a:pt x="181079" y="52315"/>
                  <a:pt x="178773" y="44403"/>
                </a:cubicBezTo>
                <a:cubicBezTo>
                  <a:pt x="177795" y="41069"/>
                  <a:pt x="175672" y="38166"/>
                  <a:pt x="172785" y="36226"/>
                </a:cubicBezTo>
                <a:cubicBezTo>
                  <a:pt x="162502" y="27932"/>
                  <a:pt x="139612" y="44353"/>
                  <a:pt x="139612" y="36226"/>
                </a:cubicBezTo>
                <a:cubicBezTo>
                  <a:pt x="139612" y="31747"/>
                  <a:pt x="141437" y="15658"/>
                  <a:pt x="143095" y="2057"/>
                </a:cubicBezTo>
                <a:cubicBezTo>
                  <a:pt x="119376" y="2057"/>
                  <a:pt x="93334" y="-100"/>
                  <a:pt x="93334" y="-100"/>
                </a:cubicBezTo>
                <a:lnTo>
                  <a:pt x="87197" y="1559"/>
                </a:lnTo>
                <a:cubicBezTo>
                  <a:pt x="88109" y="15840"/>
                  <a:pt x="87662" y="30155"/>
                  <a:pt x="85871" y="44353"/>
                </a:cubicBezTo>
                <a:cubicBezTo>
                  <a:pt x="85871" y="44353"/>
                  <a:pt x="48882" y="46509"/>
                  <a:pt x="40588" y="46509"/>
                </a:cubicBezTo>
                <a:cubicBezTo>
                  <a:pt x="38930" y="46509"/>
                  <a:pt x="33290" y="47339"/>
                  <a:pt x="25329" y="48500"/>
                </a:cubicBezTo>
                <a:cubicBezTo>
                  <a:pt x="23703" y="51021"/>
                  <a:pt x="21812" y="53344"/>
                  <a:pt x="19689" y="55466"/>
                </a:cubicBezTo>
                <a:cubicBezTo>
                  <a:pt x="15211" y="59945"/>
                  <a:pt x="29973" y="65750"/>
                  <a:pt x="32461" y="72053"/>
                </a:cubicBezTo>
                <a:cubicBezTo>
                  <a:pt x="34949" y="78356"/>
                  <a:pt x="13718" y="76532"/>
                  <a:pt x="14215" y="85820"/>
                </a:cubicBezTo>
                <a:cubicBezTo>
                  <a:pt x="13502" y="94595"/>
                  <a:pt x="8559" y="102457"/>
                  <a:pt x="946" y="106886"/>
                </a:cubicBezTo>
                <a:cubicBezTo>
                  <a:pt x="-4859" y="111364"/>
                  <a:pt x="17533" y="129941"/>
                  <a:pt x="17533" y="136410"/>
                </a:cubicBezTo>
                <a:cubicBezTo>
                  <a:pt x="17533" y="142879"/>
                  <a:pt x="22840" y="148684"/>
                  <a:pt x="41584" y="166930"/>
                </a:cubicBezTo>
                <a:cubicBezTo>
                  <a:pt x="60327" y="185176"/>
                  <a:pt x="50872" y="188659"/>
                  <a:pt x="74757" y="207733"/>
                </a:cubicBezTo>
                <a:cubicBezTo>
                  <a:pt x="78075" y="202061"/>
                  <a:pt x="84112" y="198545"/>
                  <a:pt x="90680" y="198445"/>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3" name="Freeform: Shape 472">
            <a:extLst>
              <a:ext uri="{FF2B5EF4-FFF2-40B4-BE49-F238E27FC236}">
                <a16:creationId xmlns:a16="http://schemas.microsoft.com/office/drawing/2014/main" id="{5DE67992-CEA6-401C-9D2C-53BEDCB998B9}"/>
              </a:ext>
            </a:extLst>
          </p:cNvPr>
          <p:cNvSpPr/>
          <p:nvPr/>
        </p:nvSpPr>
        <p:spPr>
          <a:xfrm>
            <a:off x="5579985" y="4612188"/>
            <a:ext cx="55800" cy="36503"/>
          </a:xfrm>
          <a:custGeom>
            <a:avLst/>
            <a:gdLst>
              <a:gd name="connsiteX0" fmla="*/ 68576 w 70377"/>
              <a:gd name="connsiteY0" fmla="*/ 42694 h 46940"/>
              <a:gd name="connsiteX1" fmla="*/ 69903 w 70377"/>
              <a:gd name="connsiteY1" fmla="*/ -100 h 46940"/>
              <a:gd name="connsiteX2" fmla="*/ 61776 w 70377"/>
              <a:gd name="connsiteY2" fmla="*/ 2223 h 46940"/>
              <a:gd name="connsiteX3" fmla="*/ 15665 w 70377"/>
              <a:gd name="connsiteY3" fmla="*/ 2223 h 46940"/>
              <a:gd name="connsiteX4" fmla="*/ 15665 w 70377"/>
              <a:gd name="connsiteY4" fmla="*/ 3218 h 46940"/>
              <a:gd name="connsiteX5" fmla="*/ 11485 w 70377"/>
              <a:gd name="connsiteY5" fmla="*/ 23188 h 46940"/>
              <a:gd name="connsiteX6" fmla="*/ 7703 w 70377"/>
              <a:gd name="connsiteY6" fmla="*/ 24947 h 46940"/>
              <a:gd name="connsiteX7" fmla="*/ 6210 w 70377"/>
              <a:gd name="connsiteY7" fmla="*/ 38050 h 46940"/>
              <a:gd name="connsiteX8" fmla="*/ 7537 w 70377"/>
              <a:gd name="connsiteY8" fmla="*/ 46841 h 46940"/>
              <a:gd name="connsiteX9" fmla="*/ 22797 w 70377"/>
              <a:gd name="connsiteY9" fmla="*/ 44851 h 46940"/>
              <a:gd name="connsiteX10" fmla="*/ 68576 w 70377"/>
              <a:gd name="connsiteY10" fmla="*/ 42694 h 4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377" h="46940">
                <a:moveTo>
                  <a:pt x="68576" y="42694"/>
                </a:moveTo>
                <a:cubicBezTo>
                  <a:pt x="70368" y="28496"/>
                  <a:pt x="70816" y="14182"/>
                  <a:pt x="69903" y="-100"/>
                </a:cubicBezTo>
                <a:lnTo>
                  <a:pt x="61776" y="2223"/>
                </a:lnTo>
                <a:lnTo>
                  <a:pt x="15665" y="2223"/>
                </a:lnTo>
                <a:cubicBezTo>
                  <a:pt x="15665" y="2223"/>
                  <a:pt x="15665" y="3052"/>
                  <a:pt x="15665" y="3218"/>
                </a:cubicBezTo>
                <a:cubicBezTo>
                  <a:pt x="20027" y="9886"/>
                  <a:pt x="18153" y="18826"/>
                  <a:pt x="11485" y="23188"/>
                </a:cubicBezTo>
                <a:cubicBezTo>
                  <a:pt x="10323" y="23952"/>
                  <a:pt x="9046" y="24548"/>
                  <a:pt x="7703" y="24947"/>
                </a:cubicBezTo>
                <a:cubicBezTo>
                  <a:pt x="-2581" y="28264"/>
                  <a:pt x="-2083" y="37552"/>
                  <a:pt x="6210" y="38050"/>
                </a:cubicBezTo>
                <a:cubicBezTo>
                  <a:pt x="11352" y="38050"/>
                  <a:pt x="10191" y="42694"/>
                  <a:pt x="7537" y="46841"/>
                </a:cubicBezTo>
                <a:cubicBezTo>
                  <a:pt x="15499" y="45680"/>
                  <a:pt x="21138" y="44851"/>
                  <a:pt x="22797" y="44851"/>
                </a:cubicBezTo>
                <a:cubicBezTo>
                  <a:pt x="31588" y="44851"/>
                  <a:pt x="68576" y="42694"/>
                  <a:pt x="68576" y="4269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4" name="Freeform: Shape 473">
            <a:extLst>
              <a:ext uri="{FF2B5EF4-FFF2-40B4-BE49-F238E27FC236}">
                <a16:creationId xmlns:a16="http://schemas.microsoft.com/office/drawing/2014/main" id="{B16BBDAE-8B0B-48E9-88AA-5A2903A6A3BC}"/>
              </a:ext>
            </a:extLst>
          </p:cNvPr>
          <p:cNvSpPr/>
          <p:nvPr/>
        </p:nvSpPr>
        <p:spPr>
          <a:xfrm>
            <a:off x="5624769" y="4574136"/>
            <a:ext cx="185233" cy="227920"/>
          </a:xfrm>
          <a:custGeom>
            <a:avLst/>
            <a:gdLst>
              <a:gd name="connsiteX0" fmla="*/ 63512 w 233625"/>
              <a:gd name="connsiteY0" fmla="*/ 276569 h 293089"/>
              <a:gd name="connsiteX1" fmla="*/ 86071 w 233625"/>
              <a:gd name="connsiteY1" fmla="*/ 278725 h 293089"/>
              <a:gd name="connsiteX2" fmla="*/ 112775 w 233625"/>
              <a:gd name="connsiteY2" fmla="*/ 280716 h 293089"/>
              <a:gd name="connsiteX3" fmla="*/ 127206 w 233625"/>
              <a:gd name="connsiteY3" fmla="*/ 278725 h 293089"/>
              <a:gd name="connsiteX4" fmla="*/ 147608 w 233625"/>
              <a:gd name="connsiteY4" fmla="*/ 260148 h 293089"/>
              <a:gd name="connsiteX5" fmla="*/ 160048 w 233625"/>
              <a:gd name="connsiteY5" fmla="*/ 235600 h 293089"/>
              <a:gd name="connsiteX6" fmla="*/ 162038 w 233625"/>
              <a:gd name="connsiteY6" fmla="*/ 180034 h 293089"/>
              <a:gd name="connsiteX7" fmla="*/ 190734 w 233625"/>
              <a:gd name="connsiteY7" fmla="*/ 143045 h 293089"/>
              <a:gd name="connsiteX8" fmla="*/ 215448 w 233625"/>
              <a:gd name="connsiteY8" fmla="*/ 73215 h 293089"/>
              <a:gd name="connsiteX9" fmla="*/ 227888 w 233625"/>
              <a:gd name="connsiteY9" fmla="*/ 38382 h 293089"/>
              <a:gd name="connsiteX10" fmla="*/ 232698 w 233625"/>
              <a:gd name="connsiteY10" fmla="*/ 3882 h 293089"/>
              <a:gd name="connsiteX11" fmla="*/ 232698 w 233625"/>
              <a:gd name="connsiteY11" fmla="*/ 3882 h 293089"/>
              <a:gd name="connsiteX12" fmla="*/ 204003 w 233625"/>
              <a:gd name="connsiteY12" fmla="*/ -100 h 293089"/>
              <a:gd name="connsiteX13" fmla="*/ 189738 w 233625"/>
              <a:gd name="connsiteY13" fmla="*/ 3882 h 293089"/>
              <a:gd name="connsiteX14" fmla="*/ 171327 w 233625"/>
              <a:gd name="connsiteY14" fmla="*/ 8028 h 293089"/>
              <a:gd name="connsiteX15" fmla="*/ 165024 w 233625"/>
              <a:gd name="connsiteY15" fmla="*/ 32577 h 293089"/>
              <a:gd name="connsiteX16" fmla="*/ 154906 w 233625"/>
              <a:gd name="connsiteY16" fmla="*/ 65750 h 293089"/>
              <a:gd name="connsiteX17" fmla="*/ 107799 w 233625"/>
              <a:gd name="connsiteY17" fmla="*/ 49163 h 293089"/>
              <a:gd name="connsiteX18" fmla="*/ 68986 w 233625"/>
              <a:gd name="connsiteY18" fmla="*/ 49163 h 293089"/>
              <a:gd name="connsiteX19" fmla="*/ 65503 w 233625"/>
              <a:gd name="connsiteY19" fmla="*/ 83332 h 293089"/>
              <a:gd name="connsiteX20" fmla="*/ 98676 w 233625"/>
              <a:gd name="connsiteY20" fmla="*/ 83332 h 293089"/>
              <a:gd name="connsiteX21" fmla="*/ 102707 w 233625"/>
              <a:gd name="connsiteY21" fmla="*/ 104050 h 293089"/>
              <a:gd name="connsiteX22" fmla="*/ 94530 w 233625"/>
              <a:gd name="connsiteY22" fmla="*/ 110037 h 293089"/>
              <a:gd name="connsiteX23" fmla="*/ 100667 w 233625"/>
              <a:gd name="connsiteY23" fmla="*/ 136742 h 293089"/>
              <a:gd name="connsiteX24" fmla="*/ 108961 w 233625"/>
              <a:gd name="connsiteY24" fmla="*/ 171740 h 293089"/>
              <a:gd name="connsiteX25" fmla="*/ 98676 w 233625"/>
              <a:gd name="connsiteY25" fmla="*/ 210719 h 293089"/>
              <a:gd name="connsiteX26" fmla="*/ 73962 w 233625"/>
              <a:gd name="connsiteY26" fmla="*/ 206573 h 293089"/>
              <a:gd name="connsiteX27" fmla="*/ 55551 w 233625"/>
              <a:gd name="connsiteY27" fmla="*/ 186005 h 293089"/>
              <a:gd name="connsiteX28" fmla="*/ 41120 w 233625"/>
              <a:gd name="connsiteY28" fmla="*/ 204582 h 293089"/>
              <a:gd name="connsiteX29" fmla="*/ 20553 w 233625"/>
              <a:gd name="connsiteY29" fmla="*/ 218847 h 293089"/>
              <a:gd name="connsiteX30" fmla="*/ 16572 w 233625"/>
              <a:gd name="connsiteY30" fmla="*/ 245551 h 293089"/>
              <a:gd name="connsiteX31" fmla="*/ -15 w 233625"/>
              <a:gd name="connsiteY31" fmla="*/ 255006 h 293089"/>
              <a:gd name="connsiteX32" fmla="*/ 3468 w 233625"/>
              <a:gd name="connsiteY32" fmla="*/ 257826 h 293089"/>
              <a:gd name="connsiteX33" fmla="*/ 31997 w 233625"/>
              <a:gd name="connsiteY33" fmla="*/ 292990 h 293089"/>
              <a:gd name="connsiteX34" fmla="*/ 63512 w 233625"/>
              <a:gd name="connsiteY34" fmla="*/ 276569 h 29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3625" h="293089">
                <a:moveTo>
                  <a:pt x="63512" y="276569"/>
                </a:moveTo>
                <a:cubicBezTo>
                  <a:pt x="69649" y="278725"/>
                  <a:pt x="73631" y="288843"/>
                  <a:pt x="86071" y="278725"/>
                </a:cubicBezTo>
                <a:cubicBezTo>
                  <a:pt x="98511" y="268607"/>
                  <a:pt x="112775" y="270432"/>
                  <a:pt x="112775" y="280716"/>
                </a:cubicBezTo>
                <a:cubicBezTo>
                  <a:pt x="112775" y="291000"/>
                  <a:pt x="116922" y="288843"/>
                  <a:pt x="127206" y="278725"/>
                </a:cubicBezTo>
                <a:cubicBezTo>
                  <a:pt x="137490" y="268607"/>
                  <a:pt x="147608" y="280716"/>
                  <a:pt x="147608" y="260148"/>
                </a:cubicBezTo>
                <a:cubicBezTo>
                  <a:pt x="147608" y="239580"/>
                  <a:pt x="160048" y="258158"/>
                  <a:pt x="160048" y="235600"/>
                </a:cubicBezTo>
                <a:cubicBezTo>
                  <a:pt x="160048" y="213041"/>
                  <a:pt x="162038" y="190317"/>
                  <a:pt x="162038" y="180034"/>
                </a:cubicBezTo>
                <a:cubicBezTo>
                  <a:pt x="162038" y="169750"/>
                  <a:pt x="190734" y="159466"/>
                  <a:pt x="190734" y="143045"/>
                </a:cubicBezTo>
                <a:cubicBezTo>
                  <a:pt x="190734" y="126624"/>
                  <a:pt x="215448" y="93284"/>
                  <a:pt x="215448" y="73215"/>
                </a:cubicBezTo>
                <a:cubicBezTo>
                  <a:pt x="214967" y="60443"/>
                  <a:pt x="219412" y="47969"/>
                  <a:pt x="227888" y="38382"/>
                </a:cubicBezTo>
                <a:cubicBezTo>
                  <a:pt x="233162" y="27700"/>
                  <a:pt x="234855" y="15592"/>
                  <a:pt x="232698" y="3882"/>
                </a:cubicBezTo>
                <a:lnTo>
                  <a:pt x="232698" y="3882"/>
                </a:lnTo>
                <a:lnTo>
                  <a:pt x="204003" y="-100"/>
                </a:lnTo>
                <a:lnTo>
                  <a:pt x="189738" y="3882"/>
                </a:lnTo>
                <a:lnTo>
                  <a:pt x="171327" y="8028"/>
                </a:lnTo>
                <a:cubicBezTo>
                  <a:pt x="172322" y="16703"/>
                  <a:pt x="170066" y="25444"/>
                  <a:pt x="165024" y="32577"/>
                </a:cubicBezTo>
                <a:cubicBezTo>
                  <a:pt x="159202" y="42744"/>
                  <a:pt x="155752" y="54073"/>
                  <a:pt x="154906" y="65750"/>
                </a:cubicBezTo>
                <a:cubicBezTo>
                  <a:pt x="154906" y="65750"/>
                  <a:pt x="117917" y="47339"/>
                  <a:pt x="107799" y="49163"/>
                </a:cubicBezTo>
                <a:cubicBezTo>
                  <a:pt x="94878" y="49910"/>
                  <a:pt x="81907" y="49910"/>
                  <a:pt x="68986" y="49163"/>
                </a:cubicBezTo>
                <a:cubicBezTo>
                  <a:pt x="67328" y="62765"/>
                  <a:pt x="65503" y="78854"/>
                  <a:pt x="65503" y="83332"/>
                </a:cubicBezTo>
                <a:cubicBezTo>
                  <a:pt x="65503" y="91460"/>
                  <a:pt x="88061" y="75039"/>
                  <a:pt x="98676" y="83332"/>
                </a:cubicBezTo>
                <a:cubicBezTo>
                  <a:pt x="105510" y="87944"/>
                  <a:pt x="107319" y="97215"/>
                  <a:pt x="102707" y="104050"/>
                </a:cubicBezTo>
                <a:cubicBezTo>
                  <a:pt x="100766" y="106935"/>
                  <a:pt x="97864" y="109059"/>
                  <a:pt x="94530" y="110037"/>
                </a:cubicBezTo>
                <a:cubicBezTo>
                  <a:pt x="82256" y="116174"/>
                  <a:pt x="90549" y="130605"/>
                  <a:pt x="100667" y="136742"/>
                </a:cubicBezTo>
                <a:cubicBezTo>
                  <a:pt x="110785" y="142879"/>
                  <a:pt x="108961" y="155153"/>
                  <a:pt x="108961" y="171740"/>
                </a:cubicBezTo>
                <a:cubicBezTo>
                  <a:pt x="108961" y="188327"/>
                  <a:pt x="108961" y="208563"/>
                  <a:pt x="98676" y="210719"/>
                </a:cubicBezTo>
                <a:cubicBezTo>
                  <a:pt x="88393" y="212876"/>
                  <a:pt x="82090" y="204582"/>
                  <a:pt x="73962" y="206573"/>
                </a:cubicBezTo>
                <a:cubicBezTo>
                  <a:pt x="65835" y="208563"/>
                  <a:pt x="63844" y="186005"/>
                  <a:pt x="55551" y="186005"/>
                </a:cubicBezTo>
                <a:cubicBezTo>
                  <a:pt x="47258" y="186005"/>
                  <a:pt x="51404" y="204582"/>
                  <a:pt x="41120" y="204582"/>
                </a:cubicBezTo>
                <a:cubicBezTo>
                  <a:pt x="30836" y="204582"/>
                  <a:pt x="14415" y="202426"/>
                  <a:pt x="20553" y="218847"/>
                </a:cubicBezTo>
                <a:cubicBezTo>
                  <a:pt x="26690" y="235268"/>
                  <a:pt x="32993" y="245551"/>
                  <a:pt x="16572" y="245551"/>
                </a:cubicBezTo>
                <a:cubicBezTo>
                  <a:pt x="9738" y="245436"/>
                  <a:pt x="3368" y="249068"/>
                  <a:pt x="-15" y="255006"/>
                </a:cubicBezTo>
                <a:lnTo>
                  <a:pt x="3468" y="257826"/>
                </a:lnTo>
                <a:cubicBezTo>
                  <a:pt x="15610" y="267131"/>
                  <a:pt x="25396" y="279190"/>
                  <a:pt x="31997" y="292990"/>
                </a:cubicBezTo>
                <a:cubicBezTo>
                  <a:pt x="41187" y="285310"/>
                  <a:pt x="51951" y="279704"/>
                  <a:pt x="63512" y="27656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5" name="Freeform: Shape 474">
            <a:extLst>
              <a:ext uri="{FF2B5EF4-FFF2-40B4-BE49-F238E27FC236}">
                <a16:creationId xmlns:a16="http://schemas.microsoft.com/office/drawing/2014/main" id="{6CC02481-A6BB-4115-BAF2-0CD10B23AA0B}"/>
              </a:ext>
            </a:extLst>
          </p:cNvPr>
          <p:cNvSpPr/>
          <p:nvPr/>
        </p:nvSpPr>
        <p:spPr>
          <a:xfrm>
            <a:off x="6274840" y="4196203"/>
            <a:ext cx="175820" cy="148707"/>
          </a:xfrm>
          <a:custGeom>
            <a:avLst/>
            <a:gdLst>
              <a:gd name="connsiteX0" fmla="*/ 36629 w 221753"/>
              <a:gd name="connsiteY0" fmla="*/ 29259 h 191226"/>
              <a:gd name="connsiteX1" fmla="*/ 18052 w 221753"/>
              <a:gd name="connsiteY1" fmla="*/ 47671 h 191226"/>
              <a:gd name="connsiteX2" fmla="*/ 5778 w 221753"/>
              <a:gd name="connsiteY2" fmla="*/ 80844 h 191226"/>
              <a:gd name="connsiteX3" fmla="*/ 3621 w 221753"/>
              <a:gd name="connsiteY3" fmla="*/ 125794 h 191226"/>
              <a:gd name="connsiteX4" fmla="*/ 31487 w 221753"/>
              <a:gd name="connsiteY4" fmla="*/ 127287 h 191226"/>
              <a:gd name="connsiteX5" fmla="*/ 41771 w 221753"/>
              <a:gd name="connsiteY5" fmla="*/ 116837 h 191226"/>
              <a:gd name="connsiteX6" fmla="*/ 57363 w 221753"/>
              <a:gd name="connsiteY6" fmla="*/ 112691 h 191226"/>
              <a:gd name="connsiteX7" fmla="*/ 78096 w 221753"/>
              <a:gd name="connsiteY7" fmla="*/ 120984 h 191226"/>
              <a:gd name="connsiteX8" fmla="*/ 92527 w 221753"/>
              <a:gd name="connsiteY8" fmla="*/ 120984 h 191226"/>
              <a:gd name="connsiteX9" fmla="*/ 125700 w 221753"/>
              <a:gd name="connsiteY9" fmla="*/ 120984 h 191226"/>
              <a:gd name="connsiteX10" fmla="*/ 196194 w 221753"/>
              <a:gd name="connsiteY10" fmla="*/ 189322 h 191226"/>
              <a:gd name="connsiteX11" fmla="*/ 196194 w 221753"/>
              <a:gd name="connsiteY11" fmla="*/ 190151 h 191226"/>
              <a:gd name="connsiteX12" fmla="*/ 212781 w 221753"/>
              <a:gd name="connsiteY12" fmla="*/ 188990 h 191226"/>
              <a:gd name="connsiteX13" fmla="*/ 221738 w 221753"/>
              <a:gd name="connsiteY13" fmla="*/ 182687 h 191226"/>
              <a:gd name="connsiteX14" fmla="*/ 186408 w 221753"/>
              <a:gd name="connsiteY14" fmla="*/ 143045 h 191226"/>
              <a:gd name="connsiteX15" fmla="*/ 133828 w 221753"/>
              <a:gd name="connsiteY15" fmla="*/ 106720 h 191226"/>
              <a:gd name="connsiteX16" fmla="*/ 112763 w 221753"/>
              <a:gd name="connsiteY16" fmla="*/ 85489 h 191226"/>
              <a:gd name="connsiteX17" fmla="*/ 88048 w 221753"/>
              <a:gd name="connsiteY17" fmla="*/ 36889 h 191226"/>
              <a:gd name="connsiteX18" fmla="*/ 69471 w 221753"/>
              <a:gd name="connsiteY18" fmla="*/ -100 h 191226"/>
              <a:gd name="connsiteX19" fmla="*/ 36629 w 221753"/>
              <a:gd name="connsiteY19" fmla="*/ 29259 h 1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1753" h="191226">
                <a:moveTo>
                  <a:pt x="36629" y="29259"/>
                </a:moveTo>
                <a:cubicBezTo>
                  <a:pt x="30326" y="35397"/>
                  <a:pt x="16062" y="37387"/>
                  <a:pt x="18052" y="47671"/>
                </a:cubicBezTo>
                <a:cubicBezTo>
                  <a:pt x="19445" y="60044"/>
                  <a:pt x="14900" y="72352"/>
                  <a:pt x="5778" y="80844"/>
                </a:cubicBezTo>
                <a:cubicBezTo>
                  <a:pt x="-4506" y="93118"/>
                  <a:pt x="1631" y="111364"/>
                  <a:pt x="3621" y="125794"/>
                </a:cubicBezTo>
                <a:cubicBezTo>
                  <a:pt x="12893" y="124152"/>
                  <a:pt x="22431" y="124650"/>
                  <a:pt x="31487" y="127287"/>
                </a:cubicBezTo>
                <a:cubicBezTo>
                  <a:pt x="36629" y="132429"/>
                  <a:pt x="38619" y="127287"/>
                  <a:pt x="41771" y="116837"/>
                </a:cubicBezTo>
                <a:cubicBezTo>
                  <a:pt x="44923" y="106388"/>
                  <a:pt x="51060" y="107549"/>
                  <a:pt x="57363" y="112691"/>
                </a:cubicBezTo>
                <a:cubicBezTo>
                  <a:pt x="63666" y="117833"/>
                  <a:pt x="67646" y="126292"/>
                  <a:pt x="78096" y="120984"/>
                </a:cubicBezTo>
                <a:cubicBezTo>
                  <a:pt x="88546" y="115677"/>
                  <a:pt x="87385" y="118994"/>
                  <a:pt x="92527" y="120984"/>
                </a:cubicBezTo>
                <a:cubicBezTo>
                  <a:pt x="103574" y="121565"/>
                  <a:pt x="114654" y="121565"/>
                  <a:pt x="125700" y="120984"/>
                </a:cubicBezTo>
                <a:cubicBezTo>
                  <a:pt x="132999" y="122145"/>
                  <a:pt x="196194" y="189322"/>
                  <a:pt x="196194" y="189322"/>
                </a:cubicBezTo>
                <a:lnTo>
                  <a:pt x="196194" y="190151"/>
                </a:lnTo>
                <a:cubicBezTo>
                  <a:pt x="204156" y="190981"/>
                  <a:pt x="209630" y="192308"/>
                  <a:pt x="212781" y="188990"/>
                </a:cubicBezTo>
                <a:cubicBezTo>
                  <a:pt x="215501" y="186536"/>
                  <a:pt x="218504" y="184429"/>
                  <a:pt x="221738" y="182687"/>
                </a:cubicBezTo>
                <a:cubicBezTo>
                  <a:pt x="209050" y="170313"/>
                  <a:pt x="197256" y="157061"/>
                  <a:pt x="186408" y="143045"/>
                </a:cubicBezTo>
                <a:cubicBezTo>
                  <a:pt x="174117" y="124716"/>
                  <a:pt x="155325" y="111729"/>
                  <a:pt x="133828" y="106720"/>
                </a:cubicBezTo>
                <a:cubicBezTo>
                  <a:pt x="122052" y="106720"/>
                  <a:pt x="120061" y="86484"/>
                  <a:pt x="112763" y="85489"/>
                </a:cubicBezTo>
                <a:cubicBezTo>
                  <a:pt x="105465" y="84493"/>
                  <a:pt x="88546" y="55632"/>
                  <a:pt x="88048" y="36889"/>
                </a:cubicBezTo>
                <a:cubicBezTo>
                  <a:pt x="85527" y="23039"/>
                  <a:pt x="79075" y="10201"/>
                  <a:pt x="69471" y="-100"/>
                </a:cubicBezTo>
                <a:cubicBezTo>
                  <a:pt x="60580" y="11777"/>
                  <a:pt x="49417" y="21762"/>
                  <a:pt x="36629" y="2925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6" name="Freeform: Shape 475">
            <a:extLst>
              <a:ext uri="{FF2B5EF4-FFF2-40B4-BE49-F238E27FC236}">
                <a16:creationId xmlns:a16="http://schemas.microsoft.com/office/drawing/2014/main" id="{A29A9527-EE9B-42B8-8A40-D5FB54944CED}"/>
              </a:ext>
            </a:extLst>
          </p:cNvPr>
          <p:cNvSpPr/>
          <p:nvPr/>
        </p:nvSpPr>
        <p:spPr>
          <a:xfrm>
            <a:off x="6254840" y="3652650"/>
            <a:ext cx="181354" cy="142143"/>
          </a:xfrm>
          <a:custGeom>
            <a:avLst/>
            <a:gdLst>
              <a:gd name="connsiteX0" fmla="*/ 25363 w 228732"/>
              <a:gd name="connsiteY0" fmla="*/ 120321 h 182786"/>
              <a:gd name="connsiteX1" fmla="*/ -15 w 228732"/>
              <a:gd name="connsiteY1" fmla="*/ 155153 h 182786"/>
              <a:gd name="connsiteX2" fmla="*/ 1643 w 228732"/>
              <a:gd name="connsiteY2" fmla="*/ 155153 h 182786"/>
              <a:gd name="connsiteX3" fmla="*/ 4297 w 228732"/>
              <a:gd name="connsiteY3" fmla="*/ 166930 h 182786"/>
              <a:gd name="connsiteX4" fmla="*/ 34485 w 228732"/>
              <a:gd name="connsiteY4" fmla="*/ 182687 h 182786"/>
              <a:gd name="connsiteX5" fmla="*/ 66000 w 228732"/>
              <a:gd name="connsiteY5" fmla="*/ 166101 h 182786"/>
              <a:gd name="connsiteX6" fmla="*/ 180118 w 228732"/>
              <a:gd name="connsiteY6" fmla="*/ 108378 h 182786"/>
              <a:gd name="connsiteX7" fmla="*/ 188080 w 228732"/>
              <a:gd name="connsiteY7" fmla="*/ 88640 h 182786"/>
              <a:gd name="connsiteX8" fmla="*/ 190568 w 228732"/>
              <a:gd name="connsiteY8" fmla="*/ 62433 h 182786"/>
              <a:gd name="connsiteX9" fmla="*/ 188080 w 228732"/>
              <a:gd name="connsiteY9" fmla="*/ 34899 h 182786"/>
              <a:gd name="connsiteX10" fmla="*/ 208979 w 228732"/>
              <a:gd name="connsiteY10" fmla="*/ 18312 h 182786"/>
              <a:gd name="connsiteX11" fmla="*/ 228717 w 228732"/>
              <a:gd name="connsiteY11" fmla="*/ 3881 h 182786"/>
              <a:gd name="connsiteX12" fmla="*/ 215614 w 228732"/>
              <a:gd name="connsiteY12" fmla="*/ -100 h 182786"/>
              <a:gd name="connsiteX13" fmla="*/ 178791 w 228732"/>
              <a:gd name="connsiteY13" fmla="*/ 5208 h 182786"/>
              <a:gd name="connsiteX14" fmla="*/ 134172 w 228732"/>
              <a:gd name="connsiteY14" fmla="*/ 18312 h 182786"/>
              <a:gd name="connsiteX15" fmla="*/ 96188 w 228732"/>
              <a:gd name="connsiteY15" fmla="*/ 16985 h 182786"/>
              <a:gd name="connsiteX16" fmla="*/ 75123 w 228732"/>
              <a:gd name="connsiteY16" fmla="*/ 20966 h 182786"/>
              <a:gd name="connsiteX17" fmla="*/ 45101 w 228732"/>
              <a:gd name="connsiteY17" fmla="*/ 20966 h 182786"/>
              <a:gd name="connsiteX18" fmla="*/ 31831 w 228732"/>
              <a:gd name="connsiteY18" fmla="*/ 28762 h 182786"/>
              <a:gd name="connsiteX19" fmla="*/ 12259 w 228732"/>
              <a:gd name="connsiteY19" fmla="*/ 51983 h 182786"/>
              <a:gd name="connsiteX20" fmla="*/ 12259 w 228732"/>
              <a:gd name="connsiteY20" fmla="*/ 68570 h 182786"/>
              <a:gd name="connsiteX21" fmla="*/ 9771 w 228732"/>
              <a:gd name="connsiteY21" fmla="*/ 93284 h 182786"/>
              <a:gd name="connsiteX22" fmla="*/ 25363 w 228732"/>
              <a:gd name="connsiteY22" fmla="*/ 120321 h 18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8732" h="182786">
                <a:moveTo>
                  <a:pt x="25363" y="120321"/>
                </a:moveTo>
                <a:cubicBezTo>
                  <a:pt x="15510" y="130854"/>
                  <a:pt x="6985" y="142547"/>
                  <a:pt x="-15" y="155153"/>
                </a:cubicBezTo>
                <a:lnTo>
                  <a:pt x="1643" y="155153"/>
                </a:lnTo>
                <a:lnTo>
                  <a:pt x="4297" y="166930"/>
                </a:lnTo>
                <a:lnTo>
                  <a:pt x="34485" y="182687"/>
                </a:lnTo>
                <a:cubicBezTo>
                  <a:pt x="44189" y="175754"/>
                  <a:pt x="54788" y="170164"/>
                  <a:pt x="66000" y="166101"/>
                </a:cubicBezTo>
                <a:cubicBezTo>
                  <a:pt x="75123" y="164773"/>
                  <a:pt x="180118" y="108378"/>
                  <a:pt x="180118" y="108378"/>
                </a:cubicBezTo>
                <a:cubicBezTo>
                  <a:pt x="180118" y="108378"/>
                  <a:pt x="189406" y="93948"/>
                  <a:pt x="188080" y="88640"/>
                </a:cubicBezTo>
                <a:cubicBezTo>
                  <a:pt x="185724" y="79882"/>
                  <a:pt x="186620" y="70577"/>
                  <a:pt x="190568" y="62433"/>
                </a:cubicBezTo>
                <a:cubicBezTo>
                  <a:pt x="195875" y="55964"/>
                  <a:pt x="184098" y="45846"/>
                  <a:pt x="188080" y="34899"/>
                </a:cubicBezTo>
                <a:cubicBezTo>
                  <a:pt x="192060" y="23951"/>
                  <a:pt x="208979" y="18312"/>
                  <a:pt x="208979" y="18312"/>
                </a:cubicBezTo>
                <a:lnTo>
                  <a:pt x="228717" y="3881"/>
                </a:lnTo>
                <a:lnTo>
                  <a:pt x="215614" y="-100"/>
                </a:lnTo>
                <a:cubicBezTo>
                  <a:pt x="203804" y="4064"/>
                  <a:pt x="191297" y="5872"/>
                  <a:pt x="178791" y="5208"/>
                </a:cubicBezTo>
                <a:cubicBezTo>
                  <a:pt x="159218" y="3881"/>
                  <a:pt x="155238" y="18312"/>
                  <a:pt x="134172" y="18312"/>
                </a:cubicBezTo>
                <a:cubicBezTo>
                  <a:pt x="113107" y="18312"/>
                  <a:pt x="100999" y="23620"/>
                  <a:pt x="96188" y="16985"/>
                </a:cubicBezTo>
                <a:cubicBezTo>
                  <a:pt x="91378" y="10350"/>
                  <a:pt x="89554" y="14331"/>
                  <a:pt x="75123" y="20966"/>
                </a:cubicBezTo>
                <a:cubicBezTo>
                  <a:pt x="60693" y="27600"/>
                  <a:pt x="51570" y="26273"/>
                  <a:pt x="45101" y="20966"/>
                </a:cubicBezTo>
                <a:cubicBezTo>
                  <a:pt x="38632" y="15658"/>
                  <a:pt x="33159" y="22293"/>
                  <a:pt x="31831" y="28762"/>
                </a:cubicBezTo>
                <a:cubicBezTo>
                  <a:pt x="30505" y="35231"/>
                  <a:pt x="32661" y="49163"/>
                  <a:pt x="12259" y="51983"/>
                </a:cubicBezTo>
                <a:cubicBezTo>
                  <a:pt x="10766" y="57954"/>
                  <a:pt x="8444" y="64257"/>
                  <a:pt x="12259" y="68570"/>
                </a:cubicBezTo>
                <a:cubicBezTo>
                  <a:pt x="16074" y="72882"/>
                  <a:pt x="11264" y="82835"/>
                  <a:pt x="9771" y="93284"/>
                </a:cubicBezTo>
                <a:cubicBezTo>
                  <a:pt x="35315" y="93450"/>
                  <a:pt x="31666" y="114681"/>
                  <a:pt x="25363" y="12032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7" name="Freeform: Shape 476">
            <a:extLst>
              <a:ext uri="{FF2B5EF4-FFF2-40B4-BE49-F238E27FC236}">
                <a16:creationId xmlns:a16="http://schemas.microsoft.com/office/drawing/2014/main" id="{7240F12D-85CC-453F-A76F-28297BFF6544}"/>
              </a:ext>
            </a:extLst>
          </p:cNvPr>
          <p:cNvSpPr/>
          <p:nvPr/>
        </p:nvSpPr>
        <p:spPr>
          <a:xfrm>
            <a:off x="6238533" y="3766546"/>
            <a:ext cx="111390" cy="119571"/>
          </a:xfrm>
          <a:custGeom>
            <a:avLst/>
            <a:gdLst>
              <a:gd name="connsiteX0" fmla="*/ 129031 w 140490"/>
              <a:gd name="connsiteY0" fmla="*/ -100 h 153759"/>
              <a:gd name="connsiteX1" fmla="*/ 86734 w 140490"/>
              <a:gd name="connsiteY1" fmla="*/ 19970 h 153759"/>
              <a:gd name="connsiteX2" fmla="*/ 55219 w 140490"/>
              <a:gd name="connsiteY2" fmla="*/ 36557 h 153759"/>
              <a:gd name="connsiteX3" fmla="*/ 25031 w 140490"/>
              <a:gd name="connsiteY3" fmla="*/ 20800 h 153759"/>
              <a:gd name="connsiteX4" fmla="*/ 22377 w 140490"/>
              <a:gd name="connsiteY4" fmla="*/ 9023 h 153759"/>
              <a:gd name="connsiteX5" fmla="*/ 22377 w 140490"/>
              <a:gd name="connsiteY5" fmla="*/ 9023 h 153759"/>
              <a:gd name="connsiteX6" fmla="*/ 18397 w 140490"/>
              <a:gd name="connsiteY6" fmla="*/ 37552 h 153759"/>
              <a:gd name="connsiteX7" fmla="*/ 10601 w 140490"/>
              <a:gd name="connsiteY7" fmla="*/ 92621 h 153759"/>
              <a:gd name="connsiteX8" fmla="*/ -15 w 140490"/>
              <a:gd name="connsiteY8" fmla="*/ 140889 h 153759"/>
              <a:gd name="connsiteX9" fmla="*/ 29510 w 140490"/>
              <a:gd name="connsiteY9" fmla="*/ 153660 h 153759"/>
              <a:gd name="connsiteX10" fmla="*/ 55717 w 140490"/>
              <a:gd name="connsiteY10" fmla="*/ 133922 h 153759"/>
              <a:gd name="connsiteX11" fmla="*/ 76782 w 140490"/>
              <a:gd name="connsiteY11" fmla="*/ 124799 h 153759"/>
              <a:gd name="connsiteX12" fmla="*/ 96354 w 140490"/>
              <a:gd name="connsiteY12" fmla="*/ 108212 h 153759"/>
              <a:gd name="connsiteX13" fmla="*/ 71474 w 140490"/>
              <a:gd name="connsiteY13" fmla="*/ 79352 h 153759"/>
              <a:gd name="connsiteX14" fmla="*/ 104648 w 140490"/>
              <a:gd name="connsiteY14" fmla="*/ 58286 h 153759"/>
              <a:gd name="connsiteX15" fmla="*/ 138651 w 140490"/>
              <a:gd name="connsiteY15" fmla="*/ 47836 h 153759"/>
              <a:gd name="connsiteX16" fmla="*/ 140476 w 140490"/>
              <a:gd name="connsiteY16" fmla="*/ 47836 h 153759"/>
              <a:gd name="connsiteX17" fmla="*/ 132846 w 140490"/>
              <a:gd name="connsiteY17" fmla="*/ 14662 h 153759"/>
              <a:gd name="connsiteX18" fmla="*/ 129031 w 140490"/>
              <a:gd name="connsiteY18" fmla="*/ -100 h 15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0490" h="153759">
                <a:moveTo>
                  <a:pt x="129031" y="-100"/>
                </a:moveTo>
                <a:cubicBezTo>
                  <a:pt x="115380" y="7497"/>
                  <a:pt x="101248" y="14215"/>
                  <a:pt x="86734" y="19970"/>
                </a:cubicBezTo>
                <a:cubicBezTo>
                  <a:pt x="75522" y="24034"/>
                  <a:pt x="64923" y="29624"/>
                  <a:pt x="55219" y="36557"/>
                </a:cubicBezTo>
                <a:lnTo>
                  <a:pt x="25031" y="20800"/>
                </a:lnTo>
                <a:lnTo>
                  <a:pt x="22377" y="9023"/>
                </a:lnTo>
                <a:lnTo>
                  <a:pt x="22377" y="9023"/>
                </a:lnTo>
                <a:cubicBezTo>
                  <a:pt x="21051" y="20468"/>
                  <a:pt x="19558" y="33406"/>
                  <a:pt x="18397" y="37552"/>
                </a:cubicBezTo>
                <a:cubicBezTo>
                  <a:pt x="16406" y="45514"/>
                  <a:pt x="16406" y="84825"/>
                  <a:pt x="10601" y="92621"/>
                </a:cubicBezTo>
                <a:cubicBezTo>
                  <a:pt x="4895" y="108146"/>
                  <a:pt x="1312" y="124385"/>
                  <a:pt x="-15" y="140889"/>
                </a:cubicBezTo>
                <a:cubicBezTo>
                  <a:pt x="9191" y="146478"/>
                  <a:pt x="19127" y="150774"/>
                  <a:pt x="29510" y="153660"/>
                </a:cubicBezTo>
                <a:cubicBezTo>
                  <a:pt x="41652" y="153627"/>
                  <a:pt x="52333" y="145582"/>
                  <a:pt x="55717" y="133922"/>
                </a:cubicBezTo>
                <a:cubicBezTo>
                  <a:pt x="55717" y="126126"/>
                  <a:pt x="66332" y="124799"/>
                  <a:pt x="76782" y="124799"/>
                </a:cubicBezTo>
                <a:cubicBezTo>
                  <a:pt x="87232" y="124799"/>
                  <a:pt x="88559" y="113023"/>
                  <a:pt x="96354" y="108212"/>
                </a:cubicBezTo>
                <a:cubicBezTo>
                  <a:pt x="104150" y="103402"/>
                  <a:pt x="79768" y="82006"/>
                  <a:pt x="71474" y="79352"/>
                </a:cubicBezTo>
                <a:cubicBezTo>
                  <a:pt x="63181" y="76698"/>
                  <a:pt x="78109" y="59613"/>
                  <a:pt x="104648" y="58286"/>
                </a:cubicBezTo>
                <a:cubicBezTo>
                  <a:pt x="131187" y="56959"/>
                  <a:pt x="124386" y="47836"/>
                  <a:pt x="138651" y="47836"/>
                </a:cubicBezTo>
                <a:lnTo>
                  <a:pt x="140476" y="47836"/>
                </a:lnTo>
                <a:cubicBezTo>
                  <a:pt x="137988" y="36392"/>
                  <a:pt x="134836" y="22458"/>
                  <a:pt x="132846" y="14662"/>
                </a:cubicBezTo>
                <a:cubicBezTo>
                  <a:pt x="131170" y="9853"/>
                  <a:pt x="129893" y="4910"/>
                  <a:pt x="129031" y="-10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78" name="Freeform: Shape 477">
            <a:extLst>
              <a:ext uri="{FF2B5EF4-FFF2-40B4-BE49-F238E27FC236}">
                <a16:creationId xmlns:a16="http://schemas.microsoft.com/office/drawing/2014/main" id="{947C7764-E272-40F2-B8D9-3C8BD5A6648D}"/>
              </a:ext>
            </a:extLst>
          </p:cNvPr>
          <p:cNvSpPr/>
          <p:nvPr/>
        </p:nvSpPr>
        <p:spPr>
          <a:xfrm>
            <a:off x="6007993" y="3505733"/>
            <a:ext cx="490274" cy="188192"/>
          </a:xfrm>
          <a:custGeom>
            <a:avLst/>
            <a:gdLst>
              <a:gd name="connsiteX0" fmla="*/ 603082 w 618356"/>
              <a:gd name="connsiteY0" fmla="*/ 167759 h 242001"/>
              <a:gd name="connsiteX1" fmla="*/ 603082 w 618356"/>
              <a:gd name="connsiteY1" fmla="*/ 132263 h 242001"/>
              <a:gd name="connsiteX2" fmla="*/ 601755 w 618356"/>
              <a:gd name="connsiteY2" fmla="*/ 104729 h 242001"/>
              <a:gd name="connsiteX3" fmla="*/ 610381 w 618356"/>
              <a:gd name="connsiteY3" fmla="*/ 88142 h 242001"/>
              <a:gd name="connsiteX4" fmla="*/ 604244 w 618356"/>
              <a:gd name="connsiteY4" fmla="*/ 76034 h 242001"/>
              <a:gd name="connsiteX5" fmla="*/ 578700 w 618356"/>
              <a:gd name="connsiteY5" fmla="*/ 65253 h 242001"/>
              <a:gd name="connsiteX6" fmla="*/ 569909 w 618356"/>
              <a:gd name="connsiteY6" fmla="*/ 36723 h 242001"/>
              <a:gd name="connsiteX7" fmla="*/ 546355 w 618356"/>
              <a:gd name="connsiteY7" fmla="*/ 17980 h 242001"/>
              <a:gd name="connsiteX8" fmla="*/ 511689 w 618356"/>
              <a:gd name="connsiteY8" fmla="*/ 18975 h 242001"/>
              <a:gd name="connsiteX9" fmla="*/ 449986 w 618356"/>
              <a:gd name="connsiteY9" fmla="*/ 39543 h 242001"/>
              <a:gd name="connsiteX10" fmla="*/ 392098 w 618356"/>
              <a:gd name="connsiteY10" fmla="*/ 41036 h 242001"/>
              <a:gd name="connsiteX11" fmla="*/ 352787 w 618356"/>
              <a:gd name="connsiteY11" fmla="*/ 28264 h 242001"/>
              <a:gd name="connsiteX12" fmla="*/ 323263 w 618356"/>
              <a:gd name="connsiteY12" fmla="*/ 14995 h 242001"/>
              <a:gd name="connsiteX13" fmla="*/ 273502 w 618356"/>
              <a:gd name="connsiteY13" fmla="*/ 1725 h 242001"/>
              <a:gd name="connsiteX14" fmla="*/ 172820 w 618356"/>
              <a:gd name="connsiteY14" fmla="*/ 32742 h 242001"/>
              <a:gd name="connsiteX15" fmla="*/ 100004 w 618356"/>
              <a:gd name="connsiteY15" fmla="*/ 36723 h 242001"/>
              <a:gd name="connsiteX16" fmla="*/ 83417 w 618356"/>
              <a:gd name="connsiteY16" fmla="*/ 62267 h 242001"/>
              <a:gd name="connsiteX17" fmla="*/ 13586 w 618356"/>
              <a:gd name="connsiteY17" fmla="*/ 68072 h 242001"/>
              <a:gd name="connsiteX18" fmla="*/ 6786 w 618356"/>
              <a:gd name="connsiteY18" fmla="*/ 92621 h 242001"/>
              <a:gd name="connsiteX19" fmla="*/ 20553 w 618356"/>
              <a:gd name="connsiteY19" fmla="*/ 102075 h 242001"/>
              <a:gd name="connsiteX20" fmla="*/ 23373 w 618356"/>
              <a:gd name="connsiteY20" fmla="*/ 126624 h 242001"/>
              <a:gd name="connsiteX21" fmla="*/ 22742 w 618356"/>
              <a:gd name="connsiteY21" fmla="*/ 148203 h 242001"/>
              <a:gd name="connsiteX22" fmla="*/ 24368 w 618356"/>
              <a:gd name="connsiteY22" fmla="*/ 149680 h 242001"/>
              <a:gd name="connsiteX23" fmla="*/ 24368 w 618356"/>
              <a:gd name="connsiteY23" fmla="*/ 167759 h 242001"/>
              <a:gd name="connsiteX24" fmla="*/ 40955 w 618356"/>
              <a:gd name="connsiteY24" fmla="*/ 184346 h 242001"/>
              <a:gd name="connsiteX25" fmla="*/ 62518 w 618356"/>
              <a:gd name="connsiteY25" fmla="*/ 197615 h 242001"/>
              <a:gd name="connsiteX26" fmla="*/ 79105 w 618356"/>
              <a:gd name="connsiteY26" fmla="*/ 202592 h 242001"/>
              <a:gd name="connsiteX27" fmla="*/ 99672 w 618356"/>
              <a:gd name="connsiteY27" fmla="*/ 223657 h 242001"/>
              <a:gd name="connsiteX28" fmla="*/ 142466 w 618356"/>
              <a:gd name="connsiteY28" fmla="*/ 215861 h 242001"/>
              <a:gd name="connsiteX29" fmla="*/ 169502 w 618356"/>
              <a:gd name="connsiteY29" fmla="*/ 203587 h 242001"/>
              <a:gd name="connsiteX30" fmla="*/ 214619 w 618356"/>
              <a:gd name="connsiteY30" fmla="*/ 229960 h 242001"/>
              <a:gd name="connsiteX31" fmla="*/ 249120 w 618356"/>
              <a:gd name="connsiteY31" fmla="*/ 224155 h 242001"/>
              <a:gd name="connsiteX32" fmla="*/ 279971 w 618356"/>
              <a:gd name="connsiteY32" fmla="*/ 204582 h 242001"/>
              <a:gd name="connsiteX33" fmla="*/ 305515 w 618356"/>
              <a:gd name="connsiteY33" fmla="*/ 210885 h 242001"/>
              <a:gd name="connsiteX34" fmla="*/ 331224 w 618356"/>
              <a:gd name="connsiteY34" fmla="*/ 204084 h 242001"/>
              <a:gd name="connsiteX35" fmla="*/ 322268 w 618356"/>
              <a:gd name="connsiteY35" fmla="*/ 230623 h 242001"/>
              <a:gd name="connsiteX36" fmla="*/ 323097 w 618356"/>
              <a:gd name="connsiteY36" fmla="*/ 241902 h 242001"/>
              <a:gd name="connsiteX37" fmla="*/ 342669 w 618356"/>
              <a:gd name="connsiteY37" fmla="*/ 218681 h 242001"/>
              <a:gd name="connsiteX38" fmla="*/ 355939 w 618356"/>
              <a:gd name="connsiteY38" fmla="*/ 210885 h 242001"/>
              <a:gd name="connsiteX39" fmla="*/ 385961 w 618356"/>
              <a:gd name="connsiteY39" fmla="*/ 210885 h 242001"/>
              <a:gd name="connsiteX40" fmla="*/ 407026 w 618356"/>
              <a:gd name="connsiteY40" fmla="*/ 206904 h 242001"/>
              <a:gd name="connsiteX41" fmla="*/ 445010 w 618356"/>
              <a:gd name="connsiteY41" fmla="*/ 208231 h 242001"/>
              <a:gd name="connsiteX42" fmla="*/ 489629 w 618356"/>
              <a:gd name="connsiteY42" fmla="*/ 195128 h 242001"/>
              <a:gd name="connsiteX43" fmla="*/ 526451 w 618356"/>
              <a:gd name="connsiteY43" fmla="*/ 189820 h 242001"/>
              <a:gd name="connsiteX44" fmla="*/ 538892 w 618356"/>
              <a:gd name="connsiteY44" fmla="*/ 193635 h 242001"/>
              <a:gd name="connsiteX45" fmla="*/ 553654 w 618356"/>
              <a:gd name="connsiteY45" fmla="*/ 182356 h 242001"/>
              <a:gd name="connsiteX46" fmla="*/ 583178 w 618356"/>
              <a:gd name="connsiteY46" fmla="*/ 188327 h 242001"/>
              <a:gd name="connsiteX47" fmla="*/ 618342 w 618356"/>
              <a:gd name="connsiteY47" fmla="*/ 193801 h 242001"/>
              <a:gd name="connsiteX48" fmla="*/ 603082 w 618356"/>
              <a:gd name="connsiteY48" fmla="*/ 167759 h 242001"/>
              <a:gd name="connsiteX49" fmla="*/ 49580 w 618356"/>
              <a:gd name="connsiteY49" fmla="*/ 41036 h 242001"/>
              <a:gd name="connsiteX50" fmla="*/ 94364 w 618356"/>
              <a:gd name="connsiteY50" fmla="*/ 36557 h 242001"/>
              <a:gd name="connsiteX51" fmla="*/ 69318 w 618356"/>
              <a:gd name="connsiteY51" fmla="*/ 16487 h 242001"/>
              <a:gd name="connsiteX52" fmla="*/ 61025 w 618356"/>
              <a:gd name="connsiteY52" fmla="*/ -100 h 242001"/>
              <a:gd name="connsiteX53" fmla="*/ 47589 w 618356"/>
              <a:gd name="connsiteY53" fmla="*/ 2388 h 242001"/>
              <a:gd name="connsiteX54" fmla="*/ 14415 w 618356"/>
              <a:gd name="connsiteY54" fmla="*/ 2388 h 242001"/>
              <a:gd name="connsiteX55" fmla="*/ 17402 w 618356"/>
              <a:gd name="connsiteY55" fmla="*/ 24449 h 242001"/>
              <a:gd name="connsiteX56" fmla="*/ 7781 w 618356"/>
              <a:gd name="connsiteY56" fmla="*/ 40041 h 242001"/>
              <a:gd name="connsiteX57" fmla="*/ -15 w 618356"/>
              <a:gd name="connsiteY57" fmla="*/ 51486 h 242001"/>
              <a:gd name="connsiteX58" fmla="*/ 19392 w 618356"/>
              <a:gd name="connsiteY58" fmla="*/ 60940 h 242001"/>
              <a:gd name="connsiteX59" fmla="*/ 49580 w 618356"/>
              <a:gd name="connsiteY59" fmla="*/ 41036 h 24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18356" h="242001">
                <a:moveTo>
                  <a:pt x="603082" y="167759"/>
                </a:moveTo>
                <a:cubicBezTo>
                  <a:pt x="597775" y="166432"/>
                  <a:pt x="605736" y="137571"/>
                  <a:pt x="603082" y="132263"/>
                </a:cubicBezTo>
                <a:cubicBezTo>
                  <a:pt x="600428" y="126956"/>
                  <a:pt x="593794" y="104729"/>
                  <a:pt x="601755" y="104729"/>
                </a:cubicBezTo>
                <a:cubicBezTo>
                  <a:pt x="609717" y="104729"/>
                  <a:pt x="601755" y="88142"/>
                  <a:pt x="610381" y="88142"/>
                </a:cubicBezTo>
                <a:cubicBezTo>
                  <a:pt x="609236" y="83714"/>
                  <a:pt x="607129" y="79584"/>
                  <a:pt x="604244" y="76034"/>
                </a:cubicBezTo>
                <a:cubicBezTo>
                  <a:pt x="599433" y="72053"/>
                  <a:pt x="584671" y="79849"/>
                  <a:pt x="578700" y="65253"/>
                </a:cubicBezTo>
                <a:cubicBezTo>
                  <a:pt x="572728" y="50656"/>
                  <a:pt x="578700" y="48666"/>
                  <a:pt x="569909" y="36723"/>
                </a:cubicBezTo>
                <a:cubicBezTo>
                  <a:pt x="561118" y="24781"/>
                  <a:pt x="557137" y="13170"/>
                  <a:pt x="546355" y="17980"/>
                </a:cubicBezTo>
                <a:cubicBezTo>
                  <a:pt x="534944" y="20286"/>
                  <a:pt x="523217" y="20634"/>
                  <a:pt x="511689" y="18975"/>
                </a:cubicBezTo>
                <a:cubicBezTo>
                  <a:pt x="494405" y="33290"/>
                  <a:pt x="472395" y="40621"/>
                  <a:pt x="449986" y="39543"/>
                </a:cubicBezTo>
                <a:cubicBezTo>
                  <a:pt x="436717" y="34733"/>
                  <a:pt x="411173" y="41036"/>
                  <a:pt x="392098" y="41036"/>
                </a:cubicBezTo>
                <a:cubicBezTo>
                  <a:pt x="373023" y="41036"/>
                  <a:pt x="367549" y="27269"/>
                  <a:pt x="352787" y="28264"/>
                </a:cubicBezTo>
                <a:cubicBezTo>
                  <a:pt x="338025" y="29259"/>
                  <a:pt x="338025" y="14995"/>
                  <a:pt x="323263" y="14995"/>
                </a:cubicBezTo>
                <a:cubicBezTo>
                  <a:pt x="308500" y="14995"/>
                  <a:pt x="319779" y="7696"/>
                  <a:pt x="273502" y="1725"/>
                </a:cubicBezTo>
                <a:cubicBezTo>
                  <a:pt x="237160" y="-1659"/>
                  <a:pt x="200951" y="9488"/>
                  <a:pt x="172820" y="32742"/>
                </a:cubicBezTo>
                <a:cubicBezTo>
                  <a:pt x="158058" y="45514"/>
                  <a:pt x="104980" y="32742"/>
                  <a:pt x="100004" y="36723"/>
                </a:cubicBezTo>
                <a:cubicBezTo>
                  <a:pt x="95028" y="40704"/>
                  <a:pt x="100999" y="55300"/>
                  <a:pt x="83417" y="62267"/>
                </a:cubicBezTo>
                <a:cubicBezTo>
                  <a:pt x="65835" y="69233"/>
                  <a:pt x="26856" y="62267"/>
                  <a:pt x="13586" y="68072"/>
                </a:cubicBezTo>
                <a:cubicBezTo>
                  <a:pt x="317" y="73878"/>
                  <a:pt x="-4659" y="93616"/>
                  <a:pt x="6786" y="92621"/>
                </a:cubicBezTo>
                <a:cubicBezTo>
                  <a:pt x="18231" y="91626"/>
                  <a:pt x="23373" y="97099"/>
                  <a:pt x="20553" y="102075"/>
                </a:cubicBezTo>
                <a:cubicBezTo>
                  <a:pt x="17733" y="107051"/>
                  <a:pt x="29842" y="120653"/>
                  <a:pt x="23373" y="126624"/>
                </a:cubicBezTo>
                <a:cubicBezTo>
                  <a:pt x="17235" y="132413"/>
                  <a:pt x="16970" y="142066"/>
                  <a:pt x="22742" y="148203"/>
                </a:cubicBezTo>
                <a:cubicBezTo>
                  <a:pt x="23257" y="148734"/>
                  <a:pt x="23787" y="149232"/>
                  <a:pt x="24368" y="149680"/>
                </a:cubicBezTo>
                <a:cubicBezTo>
                  <a:pt x="32330" y="155485"/>
                  <a:pt x="33656" y="166266"/>
                  <a:pt x="24368" y="167759"/>
                </a:cubicBezTo>
                <a:cubicBezTo>
                  <a:pt x="15079" y="169252"/>
                  <a:pt x="40955" y="180033"/>
                  <a:pt x="40955" y="184346"/>
                </a:cubicBezTo>
                <a:cubicBezTo>
                  <a:pt x="40955" y="188659"/>
                  <a:pt x="62518" y="191644"/>
                  <a:pt x="62518" y="197615"/>
                </a:cubicBezTo>
                <a:cubicBezTo>
                  <a:pt x="62518" y="203587"/>
                  <a:pt x="68986" y="205577"/>
                  <a:pt x="79105" y="202592"/>
                </a:cubicBezTo>
                <a:cubicBezTo>
                  <a:pt x="89222" y="199606"/>
                  <a:pt x="93369" y="213871"/>
                  <a:pt x="99672" y="223657"/>
                </a:cubicBezTo>
                <a:cubicBezTo>
                  <a:pt x="105975" y="233443"/>
                  <a:pt x="142466" y="226642"/>
                  <a:pt x="142466" y="215861"/>
                </a:cubicBezTo>
                <a:cubicBezTo>
                  <a:pt x="142466" y="205080"/>
                  <a:pt x="153248" y="202094"/>
                  <a:pt x="169502" y="203587"/>
                </a:cubicBezTo>
                <a:cubicBezTo>
                  <a:pt x="185758" y="205080"/>
                  <a:pt x="206823" y="227140"/>
                  <a:pt x="214619" y="229960"/>
                </a:cubicBezTo>
                <a:cubicBezTo>
                  <a:pt x="222414" y="232779"/>
                  <a:pt x="238836" y="224155"/>
                  <a:pt x="249120" y="224155"/>
                </a:cubicBezTo>
                <a:cubicBezTo>
                  <a:pt x="259403" y="224155"/>
                  <a:pt x="274165" y="207568"/>
                  <a:pt x="279971" y="204582"/>
                </a:cubicBezTo>
                <a:cubicBezTo>
                  <a:pt x="285776" y="201596"/>
                  <a:pt x="296558" y="215861"/>
                  <a:pt x="305515" y="210885"/>
                </a:cubicBezTo>
                <a:cubicBezTo>
                  <a:pt x="314472" y="205909"/>
                  <a:pt x="325253" y="200601"/>
                  <a:pt x="331224" y="204084"/>
                </a:cubicBezTo>
                <a:cubicBezTo>
                  <a:pt x="337196" y="207568"/>
                  <a:pt x="316794" y="222662"/>
                  <a:pt x="322268" y="230623"/>
                </a:cubicBezTo>
                <a:cubicBezTo>
                  <a:pt x="324042" y="234123"/>
                  <a:pt x="324341" y="238187"/>
                  <a:pt x="323097" y="241902"/>
                </a:cubicBezTo>
                <a:cubicBezTo>
                  <a:pt x="343499" y="239083"/>
                  <a:pt x="341508" y="225315"/>
                  <a:pt x="342669" y="218681"/>
                </a:cubicBezTo>
                <a:cubicBezTo>
                  <a:pt x="343830" y="212046"/>
                  <a:pt x="349304" y="205577"/>
                  <a:pt x="355939" y="210885"/>
                </a:cubicBezTo>
                <a:cubicBezTo>
                  <a:pt x="362573" y="216193"/>
                  <a:pt x="371530" y="217354"/>
                  <a:pt x="385961" y="210885"/>
                </a:cubicBezTo>
                <a:cubicBezTo>
                  <a:pt x="400391" y="204416"/>
                  <a:pt x="401718" y="200435"/>
                  <a:pt x="407026" y="206904"/>
                </a:cubicBezTo>
                <a:cubicBezTo>
                  <a:pt x="412334" y="213373"/>
                  <a:pt x="423613" y="208231"/>
                  <a:pt x="445010" y="208231"/>
                </a:cubicBezTo>
                <a:cubicBezTo>
                  <a:pt x="466407" y="208231"/>
                  <a:pt x="470056" y="193801"/>
                  <a:pt x="489629" y="195128"/>
                </a:cubicBezTo>
                <a:cubicBezTo>
                  <a:pt x="502135" y="195791"/>
                  <a:pt x="514641" y="193983"/>
                  <a:pt x="526451" y="189820"/>
                </a:cubicBezTo>
                <a:lnTo>
                  <a:pt x="538892" y="193635"/>
                </a:lnTo>
                <a:cubicBezTo>
                  <a:pt x="544033" y="188990"/>
                  <a:pt x="543701" y="183683"/>
                  <a:pt x="553654" y="182356"/>
                </a:cubicBezTo>
                <a:cubicBezTo>
                  <a:pt x="570240" y="180531"/>
                  <a:pt x="575382" y="192308"/>
                  <a:pt x="583178" y="188327"/>
                </a:cubicBezTo>
                <a:cubicBezTo>
                  <a:pt x="590974" y="184346"/>
                  <a:pt x="616352" y="211217"/>
                  <a:pt x="618342" y="193801"/>
                </a:cubicBezTo>
                <a:cubicBezTo>
                  <a:pt x="616236" y="183683"/>
                  <a:pt x="610878" y="174543"/>
                  <a:pt x="603082" y="167759"/>
                </a:cubicBezTo>
                <a:close/>
                <a:moveTo>
                  <a:pt x="49580" y="41036"/>
                </a:moveTo>
                <a:cubicBezTo>
                  <a:pt x="61357" y="36557"/>
                  <a:pt x="87896" y="42529"/>
                  <a:pt x="94364" y="36557"/>
                </a:cubicBezTo>
                <a:cubicBezTo>
                  <a:pt x="100833" y="30586"/>
                  <a:pt x="77777" y="23454"/>
                  <a:pt x="69318" y="16487"/>
                </a:cubicBezTo>
                <a:cubicBezTo>
                  <a:pt x="65039" y="11859"/>
                  <a:pt x="62153" y="6104"/>
                  <a:pt x="61025" y="-100"/>
                </a:cubicBezTo>
                <a:cubicBezTo>
                  <a:pt x="57342" y="3151"/>
                  <a:pt x="52184" y="4113"/>
                  <a:pt x="47589" y="2388"/>
                </a:cubicBezTo>
                <a:cubicBezTo>
                  <a:pt x="36725" y="-514"/>
                  <a:pt x="25280" y="-514"/>
                  <a:pt x="14415" y="2388"/>
                </a:cubicBezTo>
                <a:cubicBezTo>
                  <a:pt x="10767" y="3881"/>
                  <a:pt x="17402" y="16487"/>
                  <a:pt x="17402" y="24449"/>
                </a:cubicBezTo>
                <a:cubicBezTo>
                  <a:pt x="17402" y="32411"/>
                  <a:pt x="7781" y="34899"/>
                  <a:pt x="7781" y="40041"/>
                </a:cubicBezTo>
                <a:cubicBezTo>
                  <a:pt x="7781" y="45182"/>
                  <a:pt x="4298" y="46675"/>
                  <a:pt x="-15" y="51486"/>
                </a:cubicBezTo>
                <a:cubicBezTo>
                  <a:pt x="5326" y="56544"/>
                  <a:pt x="12110" y="59845"/>
                  <a:pt x="19392" y="60940"/>
                </a:cubicBezTo>
                <a:cubicBezTo>
                  <a:pt x="32496" y="60277"/>
                  <a:pt x="37803" y="45514"/>
                  <a:pt x="49580" y="41036"/>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479" name="Freeform: Shape 478">
            <a:extLst>
              <a:ext uri="{FF2B5EF4-FFF2-40B4-BE49-F238E27FC236}">
                <a16:creationId xmlns:a16="http://schemas.microsoft.com/office/drawing/2014/main" id="{4863F787-FA05-4F96-B250-49E440A9EB4D}"/>
              </a:ext>
            </a:extLst>
          </p:cNvPr>
          <p:cNvSpPr/>
          <p:nvPr/>
        </p:nvSpPr>
        <p:spPr>
          <a:xfrm>
            <a:off x="5587153" y="3278062"/>
            <a:ext cx="193458" cy="86430"/>
          </a:xfrm>
          <a:custGeom>
            <a:avLst/>
            <a:gdLst>
              <a:gd name="connsiteX0" fmla="*/ 206166 w 243998"/>
              <a:gd name="connsiteY0" fmla="*/ 9698 h 111142"/>
              <a:gd name="connsiteX1" fmla="*/ 175480 w 243998"/>
              <a:gd name="connsiteY1" fmla="*/ -89 h 111142"/>
              <a:gd name="connsiteX2" fmla="*/ 170006 w 243998"/>
              <a:gd name="connsiteY2" fmla="*/ 15171 h 111142"/>
              <a:gd name="connsiteX3" fmla="*/ 140979 w 243998"/>
              <a:gd name="connsiteY3" fmla="*/ 16996 h 111142"/>
              <a:gd name="connsiteX4" fmla="*/ 123066 w 243998"/>
              <a:gd name="connsiteY4" fmla="*/ 29270 h 111142"/>
              <a:gd name="connsiteX5" fmla="*/ 109796 w 243998"/>
              <a:gd name="connsiteY5" fmla="*/ 49838 h 111142"/>
              <a:gd name="connsiteX6" fmla="*/ 96527 w 243998"/>
              <a:gd name="connsiteY6" fmla="*/ 59458 h 111142"/>
              <a:gd name="connsiteX7" fmla="*/ 62524 w 243998"/>
              <a:gd name="connsiteY7" fmla="*/ 66093 h 111142"/>
              <a:gd name="connsiteX8" fmla="*/ 43449 w 243998"/>
              <a:gd name="connsiteY8" fmla="*/ 67586 h 111142"/>
              <a:gd name="connsiteX9" fmla="*/ 23545 w 243998"/>
              <a:gd name="connsiteY9" fmla="*/ 70406 h 111142"/>
              <a:gd name="connsiteX10" fmla="*/ 4304 w 243998"/>
              <a:gd name="connsiteY10" fmla="*/ 65263 h 111142"/>
              <a:gd name="connsiteX11" fmla="*/ 655 w 243998"/>
              <a:gd name="connsiteY11" fmla="*/ 83011 h 111142"/>
              <a:gd name="connsiteX12" fmla="*/ 17242 w 243998"/>
              <a:gd name="connsiteY12" fmla="*/ 91802 h 111142"/>
              <a:gd name="connsiteX13" fmla="*/ 37975 w 243998"/>
              <a:gd name="connsiteY13" fmla="*/ 96281 h 111142"/>
              <a:gd name="connsiteX14" fmla="*/ 58543 w 243998"/>
              <a:gd name="connsiteY14" fmla="*/ 89646 h 111142"/>
              <a:gd name="connsiteX15" fmla="*/ 85082 w 243998"/>
              <a:gd name="connsiteY15" fmla="*/ 85997 h 111142"/>
              <a:gd name="connsiteX16" fmla="*/ 91716 w 243998"/>
              <a:gd name="connsiteY16" fmla="*/ 99930 h 111142"/>
              <a:gd name="connsiteX17" fmla="*/ 121905 w 243998"/>
              <a:gd name="connsiteY17" fmla="*/ 104408 h 111142"/>
              <a:gd name="connsiteX18" fmla="*/ 158727 w 243998"/>
              <a:gd name="connsiteY18" fmla="*/ 111043 h 111142"/>
              <a:gd name="connsiteX19" fmla="*/ 187423 w 243998"/>
              <a:gd name="connsiteY19" fmla="*/ 100759 h 111142"/>
              <a:gd name="connsiteX20" fmla="*/ 210313 w 243998"/>
              <a:gd name="connsiteY20" fmla="*/ 93295 h 111142"/>
              <a:gd name="connsiteX21" fmla="*/ 210313 w 243998"/>
              <a:gd name="connsiteY21" fmla="*/ 93295 h 111142"/>
              <a:gd name="connsiteX22" fmla="*/ 215620 w 243998"/>
              <a:gd name="connsiteY22" fmla="*/ 85499 h 111142"/>
              <a:gd name="connsiteX23" fmla="*/ 221094 w 243998"/>
              <a:gd name="connsiteY23" fmla="*/ 70903 h 111142"/>
              <a:gd name="connsiteX24" fmla="*/ 224909 w 243998"/>
              <a:gd name="connsiteY24" fmla="*/ 57799 h 111142"/>
              <a:gd name="connsiteX25" fmla="*/ 239505 w 243998"/>
              <a:gd name="connsiteY25" fmla="*/ 49340 h 111142"/>
              <a:gd name="connsiteX26" fmla="*/ 243984 w 243998"/>
              <a:gd name="connsiteY26" fmla="*/ 40549 h 111142"/>
              <a:gd name="connsiteX27" fmla="*/ 230880 w 243998"/>
              <a:gd name="connsiteY27" fmla="*/ 12849 h 111142"/>
              <a:gd name="connsiteX28" fmla="*/ 206166 w 243998"/>
              <a:gd name="connsiteY28" fmla="*/ 9698 h 11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3998" h="111142">
                <a:moveTo>
                  <a:pt x="206166" y="9698"/>
                </a:moveTo>
                <a:cubicBezTo>
                  <a:pt x="197308" y="3129"/>
                  <a:pt x="186510" y="-321"/>
                  <a:pt x="175480" y="-89"/>
                </a:cubicBezTo>
                <a:cubicBezTo>
                  <a:pt x="174319" y="5219"/>
                  <a:pt x="172478" y="10345"/>
                  <a:pt x="170006" y="15171"/>
                </a:cubicBezTo>
                <a:cubicBezTo>
                  <a:pt x="167187" y="19816"/>
                  <a:pt x="151263" y="19816"/>
                  <a:pt x="140979" y="16996"/>
                </a:cubicBezTo>
                <a:cubicBezTo>
                  <a:pt x="138160" y="20811"/>
                  <a:pt x="124393" y="23796"/>
                  <a:pt x="123066" y="29270"/>
                </a:cubicBezTo>
                <a:cubicBezTo>
                  <a:pt x="121739" y="34744"/>
                  <a:pt x="104654" y="32256"/>
                  <a:pt x="109796" y="49838"/>
                </a:cubicBezTo>
                <a:cubicBezTo>
                  <a:pt x="114938" y="67420"/>
                  <a:pt x="101669" y="61614"/>
                  <a:pt x="96527" y="59458"/>
                </a:cubicBezTo>
                <a:cubicBezTo>
                  <a:pt x="84767" y="57766"/>
                  <a:pt x="72791" y="60105"/>
                  <a:pt x="62524" y="66093"/>
                </a:cubicBezTo>
                <a:cubicBezTo>
                  <a:pt x="57116" y="70571"/>
                  <a:pt x="49487" y="71168"/>
                  <a:pt x="43449" y="67586"/>
                </a:cubicBezTo>
                <a:cubicBezTo>
                  <a:pt x="37063" y="63323"/>
                  <a:pt x="28504" y="64534"/>
                  <a:pt x="23545" y="70406"/>
                </a:cubicBezTo>
                <a:cubicBezTo>
                  <a:pt x="19067" y="77870"/>
                  <a:pt x="10939" y="64600"/>
                  <a:pt x="4304" y="65263"/>
                </a:cubicBezTo>
                <a:cubicBezTo>
                  <a:pt x="-2331" y="65927"/>
                  <a:pt x="655" y="80026"/>
                  <a:pt x="655" y="83011"/>
                </a:cubicBezTo>
                <a:cubicBezTo>
                  <a:pt x="655" y="85997"/>
                  <a:pt x="10939" y="94788"/>
                  <a:pt x="17242" y="91802"/>
                </a:cubicBezTo>
                <a:cubicBezTo>
                  <a:pt x="24474" y="90061"/>
                  <a:pt x="32103" y="91703"/>
                  <a:pt x="37975" y="96281"/>
                </a:cubicBezTo>
                <a:cubicBezTo>
                  <a:pt x="43781" y="99930"/>
                  <a:pt x="54562" y="93295"/>
                  <a:pt x="58543" y="89646"/>
                </a:cubicBezTo>
                <a:cubicBezTo>
                  <a:pt x="62524" y="85997"/>
                  <a:pt x="82925" y="85997"/>
                  <a:pt x="85082" y="85997"/>
                </a:cubicBezTo>
                <a:cubicBezTo>
                  <a:pt x="87238" y="85997"/>
                  <a:pt x="88067" y="97774"/>
                  <a:pt x="91716" y="99930"/>
                </a:cubicBezTo>
                <a:cubicBezTo>
                  <a:pt x="101519" y="102849"/>
                  <a:pt x="111687" y="104359"/>
                  <a:pt x="121905" y="104408"/>
                </a:cubicBezTo>
                <a:cubicBezTo>
                  <a:pt x="134511" y="104408"/>
                  <a:pt x="152922" y="111043"/>
                  <a:pt x="158727" y="111043"/>
                </a:cubicBezTo>
                <a:cubicBezTo>
                  <a:pt x="164533" y="111043"/>
                  <a:pt x="174319" y="100759"/>
                  <a:pt x="187423" y="100759"/>
                </a:cubicBezTo>
                <a:cubicBezTo>
                  <a:pt x="200526" y="100759"/>
                  <a:pt x="208156" y="92632"/>
                  <a:pt x="210313" y="93295"/>
                </a:cubicBezTo>
                <a:lnTo>
                  <a:pt x="210313" y="93295"/>
                </a:lnTo>
                <a:cubicBezTo>
                  <a:pt x="211308" y="89148"/>
                  <a:pt x="212801" y="85831"/>
                  <a:pt x="215620" y="85499"/>
                </a:cubicBezTo>
                <a:cubicBezTo>
                  <a:pt x="221094" y="84670"/>
                  <a:pt x="217279" y="75381"/>
                  <a:pt x="221094" y="70903"/>
                </a:cubicBezTo>
                <a:cubicBezTo>
                  <a:pt x="224909" y="66425"/>
                  <a:pt x="217942" y="56970"/>
                  <a:pt x="224909" y="57799"/>
                </a:cubicBezTo>
                <a:cubicBezTo>
                  <a:pt x="231875" y="58629"/>
                  <a:pt x="239505" y="59292"/>
                  <a:pt x="239505" y="49340"/>
                </a:cubicBezTo>
                <a:cubicBezTo>
                  <a:pt x="239704" y="45907"/>
                  <a:pt x="241330" y="42722"/>
                  <a:pt x="243984" y="40549"/>
                </a:cubicBezTo>
                <a:cubicBezTo>
                  <a:pt x="238444" y="31907"/>
                  <a:pt x="234048" y="22602"/>
                  <a:pt x="230880" y="12849"/>
                </a:cubicBezTo>
                <a:cubicBezTo>
                  <a:pt x="230880" y="12849"/>
                  <a:pt x="214957" y="19650"/>
                  <a:pt x="206166" y="969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0" name="Freeform: Shape 479">
            <a:extLst>
              <a:ext uri="{FF2B5EF4-FFF2-40B4-BE49-F238E27FC236}">
                <a16:creationId xmlns:a16="http://schemas.microsoft.com/office/drawing/2014/main" id="{D4EAD54E-44D2-4B89-8711-72BFCF55C45C}"/>
              </a:ext>
            </a:extLst>
          </p:cNvPr>
          <p:cNvSpPr/>
          <p:nvPr/>
        </p:nvSpPr>
        <p:spPr>
          <a:xfrm>
            <a:off x="5078617" y="3503417"/>
            <a:ext cx="87967" cy="157774"/>
          </a:xfrm>
          <a:custGeom>
            <a:avLst/>
            <a:gdLst>
              <a:gd name="connsiteX0" fmla="*/ 82902 w 110948"/>
              <a:gd name="connsiteY0" fmla="*/ 165929 h 202886"/>
              <a:gd name="connsiteX1" fmla="*/ 75769 w 110948"/>
              <a:gd name="connsiteY1" fmla="*/ 149342 h 202886"/>
              <a:gd name="connsiteX2" fmla="*/ 84063 w 110948"/>
              <a:gd name="connsiteY2" fmla="*/ 131428 h 202886"/>
              <a:gd name="connsiteX3" fmla="*/ 74608 w 110948"/>
              <a:gd name="connsiteY3" fmla="*/ 113348 h 202886"/>
              <a:gd name="connsiteX4" fmla="*/ 82902 w 110948"/>
              <a:gd name="connsiteY4" fmla="*/ 100245 h 202886"/>
              <a:gd name="connsiteX5" fmla="*/ 88873 w 110948"/>
              <a:gd name="connsiteY5" fmla="*/ 77521 h 202886"/>
              <a:gd name="connsiteX6" fmla="*/ 86551 w 110948"/>
              <a:gd name="connsiteY6" fmla="*/ 46503 h 202886"/>
              <a:gd name="connsiteX7" fmla="*/ 108113 w 110948"/>
              <a:gd name="connsiteY7" fmla="*/ 27428 h 202886"/>
              <a:gd name="connsiteX8" fmla="*/ 99654 w 110948"/>
              <a:gd name="connsiteY8" fmla="*/ 14159 h 202886"/>
              <a:gd name="connsiteX9" fmla="*/ 79418 w 110948"/>
              <a:gd name="connsiteY9" fmla="*/ 10676 h 202886"/>
              <a:gd name="connsiteX10" fmla="*/ 66149 w 110948"/>
              <a:gd name="connsiteY10" fmla="*/ 10676 h 202886"/>
              <a:gd name="connsiteX11" fmla="*/ 45913 w 110948"/>
              <a:gd name="connsiteY11" fmla="*/ 5865 h 202886"/>
              <a:gd name="connsiteX12" fmla="*/ 33970 w 110948"/>
              <a:gd name="connsiteY12" fmla="*/ 4705 h 202886"/>
              <a:gd name="connsiteX13" fmla="*/ 25013 w 110948"/>
              <a:gd name="connsiteY13" fmla="*/ 8354 h 202886"/>
              <a:gd name="connsiteX14" fmla="*/ 26009 w 110948"/>
              <a:gd name="connsiteY14" fmla="*/ 30912 h 202886"/>
              <a:gd name="connsiteX15" fmla="*/ 5275 w 110948"/>
              <a:gd name="connsiteY15" fmla="*/ 110529 h 202886"/>
              <a:gd name="connsiteX16" fmla="*/ 18047 w 110948"/>
              <a:gd name="connsiteY16" fmla="*/ 139556 h 202886"/>
              <a:gd name="connsiteX17" fmla="*/ 22525 w 110948"/>
              <a:gd name="connsiteY17" fmla="*/ 196116 h 202886"/>
              <a:gd name="connsiteX18" fmla="*/ 48069 w 110948"/>
              <a:gd name="connsiteY18" fmla="*/ 202420 h 202886"/>
              <a:gd name="connsiteX19" fmla="*/ 74608 w 110948"/>
              <a:gd name="connsiteY19" fmla="*/ 197278 h 202886"/>
              <a:gd name="connsiteX20" fmla="*/ 69798 w 110948"/>
              <a:gd name="connsiteY20" fmla="*/ 186330 h 202886"/>
              <a:gd name="connsiteX21" fmla="*/ 82902 w 110948"/>
              <a:gd name="connsiteY21" fmla="*/ 165929 h 2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0948" h="202886">
                <a:moveTo>
                  <a:pt x="82902" y="165929"/>
                </a:moveTo>
                <a:cubicBezTo>
                  <a:pt x="96005" y="163440"/>
                  <a:pt x="79418" y="152825"/>
                  <a:pt x="75769" y="149342"/>
                </a:cubicBezTo>
                <a:cubicBezTo>
                  <a:pt x="72120" y="145858"/>
                  <a:pt x="76930" y="131428"/>
                  <a:pt x="84063" y="131428"/>
                </a:cubicBezTo>
                <a:cubicBezTo>
                  <a:pt x="91195" y="131428"/>
                  <a:pt x="84063" y="122969"/>
                  <a:pt x="74608" y="113348"/>
                </a:cubicBezTo>
                <a:cubicBezTo>
                  <a:pt x="65154" y="103728"/>
                  <a:pt x="74608" y="100245"/>
                  <a:pt x="82902" y="100245"/>
                </a:cubicBezTo>
                <a:cubicBezTo>
                  <a:pt x="91195" y="100245"/>
                  <a:pt x="80579" y="85980"/>
                  <a:pt x="88873" y="77521"/>
                </a:cubicBezTo>
                <a:cubicBezTo>
                  <a:pt x="97166" y="69062"/>
                  <a:pt x="86551" y="53636"/>
                  <a:pt x="86551" y="46503"/>
                </a:cubicBezTo>
                <a:cubicBezTo>
                  <a:pt x="86551" y="39371"/>
                  <a:pt x="98493" y="36883"/>
                  <a:pt x="108113" y="27428"/>
                </a:cubicBezTo>
                <a:cubicBezTo>
                  <a:pt x="117734" y="17974"/>
                  <a:pt x="99654" y="21457"/>
                  <a:pt x="99654" y="14159"/>
                </a:cubicBezTo>
                <a:cubicBezTo>
                  <a:pt x="99654" y="6861"/>
                  <a:pt x="87712" y="4705"/>
                  <a:pt x="79418" y="10676"/>
                </a:cubicBezTo>
                <a:cubicBezTo>
                  <a:pt x="71125" y="16647"/>
                  <a:pt x="73281" y="10676"/>
                  <a:pt x="66149" y="10676"/>
                </a:cubicBezTo>
                <a:cubicBezTo>
                  <a:pt x="59017" y="10676"/>
                  <a:pt x="45913" y="12998"/>
                  <a:pt x="45913" y="5865"/>
                </a:cubicBezTo>
                <a:cubicBezTo>
                  <a:pt x="45913" y="-1267"/>
                  <a:pt x="39942" y="-2428"/>
                  <a:pt x="33970" y="4705"/>
                </a:cubicBezTo>
                <a:cubicBezTo>
                  <a:pt x="31515" y="6944"/>
                  <a:pt x="28331" y="8238"/>
                  <a:pt x="25013" y="8354"/>
                </a:cubicBezTo>
                <a:cubicBezTo>
                  <a:pt x="23355" y="15834"/>
                  <a:pt x="23703" y="23614"/>
                  <a:pt x="26009" y="30912"/>
                </a:cubicBezTo>
                <a:cubicBezTo>
                  <a:pt x="32312" y="41196"/>
                  <a:pt x="18047" y="95766"/>
                  <a:pt x="5275" y="110529"/>
                </a:cubicBezTo>
                <a:cubicBezTo>
                  <a:pt x="-7497" y="125291"/>
                  <a:pt x="5275" y="129272"/>
                  <a:pt x="18047" y="139556"/>
                </a:cubicBezTo>
                <a:cubicBezTo>
                  <a:pt x="30819" y="149839"/>
                  <a:pt x="22525" y="187160"/>
                  <a:pt x="22525" y="196116"/>
                </a:cubicBezTo>
                <a:cubicBezTo>
                  <a:pt x="22525" y="205074"/>
                  <a:pt x="34302" y="202420"/>
                  <a:pt x="48069" y="202420"/>
                </a:cubicBezTo>
                <a:cubicBezTo>
                  <a:pt x="57026" y="201341"/>
                  <a:pt x="65900" y="199616"/>
                  <a:pt x="74608" y="197278"/>
                </a:cubicBezTo>
                <a:cubicBezTo>
                  <a:pt x="72170" y="194060"/>
                  <a:pt x="70528" y="190311"/>
                  <a:pt x="69798" y="186330"/>
                </a:cubicBezTo>
                <a:cubicBezTo>
                  <a:pt x="69798" y="179032"/>
                  <a:pt x="69798" y="168251"/>
                  <a:pt x="82902" y="16592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1" name="Freeform: Shape 480">
            <a:extLst>
              <a:ext uri="{FF2B5EF4-FFF2-40B4-BE49-F238E27FC236}">
                <a16:creationId xmlns:a16="http://schemas.microsoft.com/office/drawing/2014/main" id="{A3ABA515-B86F-4616-AEA9-41602999E16F}"/>
              </a:ext>
            </a:extLst>
          </p:cNvPr>
          <p:cNvSpPr/>
          <p:nvPr/>
        </p:nvSpPr>
        <p:spPr>
          <a:xfrm>
            <a:off x="5397649" y="3195464"/>
            <a:ext cx="101826" cy="68766"/>
          </a:xfrm>
          <a:custGeom>
            <a:avLst/>
            <a:gdLst>
              <a:gd name="connsiteX0" fmla="*/ 5293 w 128427"/>
              <a:gd name="connsiteY0" fmla="*/ 22695 h 88428"/>
              <a:gd name="connsiteX1" fmla="*/ 17069 w 128427"/>
              <a:gd name="connsiteY1" fmla="*/ 35301 h 88428"/>
              <a:gd name="connsiteX2" fmla="*/ 33656 w 128427"/>
              <a:gd name="connsiteY2" fmla="*/ 45585 h 88428"/>
              <a:gd name="connsiteX3" fmla="*/ 54390 w 128427"/>
              <a:gd name="connsiteY3" fmla="*/ 58025 h 88428"/>
              <a:gd name="connsiteX4" fmla="*/ 64010 w 128427"/>
              <a:gd name="connsiteY4" fmla="*/ 69138 h 88428"/>
              <a:gd name="connsiteX5" fmla="*/ 78607 w 128427"/>
              <a:gd name="connsiteY5" fmla="*/ 61674 h 88428"/>
              <a:gd name="connsiteX6" fmla="*/ 88227 w 128427"/>
              <a:gd name="connsiteY6" fmla="*/ 77266 h 88428"/>
              <a:gd name="connsiteX7" fmla="*/ 104814 w 128427"/>
              <a:gd name="connsiteY7" fmla="*/ 88213 h 88428"/>
              <a:gd name="connsiteX8" fmla="*/ 109956 w 128427"/>
              <a:gd name="connsiteY8" fmla="*/ 88213 h 88428"/>
              <a:gd name="connsiteX9" fmla="*/ 121733 w 128427"/>
              <a:gd name="connsiteY9" fmla="*/ 60016 h 88428"/>
              <a:gd name="connsiteX10" fmla="*/ 128367 w 128427"/>
              <a:gd name="connsiteY10" fmla="*/ 50395 h 88428"/>
              <a:gd name="connsiteX11" fmla="*/ 119410 w 128427"/>
              <a:gd name="connsiteY11" fmla="*/ 29828 h 88428"/>
              <a:gd name="connsiteX12" fmla="*/ 119410 w 128427"/>
              <a:gd name="connsiteY12" fmla="*/ 28833 h 88428"/>
              <a:gd name="connsiteX13" fmla="*/ 112112 w 128427"/>
              <a:gd name="connsiteY13" fmla="*/ 22529 h 88428"/>
              <a:gd name="connsiteX14" fmla="*/ 88062 w 128427"/>
              <a:gd name="connsiteY14" fmla="*/ 5943 h 88428"/>
              <a:gd name="connsiteX15" fmla="*/ 65669 w 128427"/>
              <a:gd name="connsiteY15" fmla="*/ 2957 h 88428"/>
              <a:gd name="connsiteX16" fmla="*/ 34154 w 128427"/>
              <a:gd name="connsiteY16" fmla="*/ 13407 h 88428"/>
              <a:gd name="connsiteX17" fmla="*/ 22212 w 128427"/>
              <a:gd name="connsiteY17" fmla="*/ 9260 h 88428"/>
              <a:gd name="connsiteX18" fmla="*/ -15 w 128427"/>
              <a:gd name="connsiteY18" fmla="*/ 18715 h 88428"/>
              <a:gd name="connsiteX19" fmla="*/ 5293 w 128427"/>
              <a:gd name="connsiteY19" fmla="*/ 22695 h 8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8427" h="88428">
                <a:moveTo>
                  <a:pt x="5293" y="22695"/>
                </a:moveTo>
                <a:cubicBezTo>
                  <a:pt x="6123" y="27837"/>
                  <a:pt x="14250" y="40277"/>
                  <a:pt x="17069" y="35301"/>
                </a:cubicBezTo>
                <a:cubicBezTo>
                  <a:pt x="19889" y="30325"/>
                  <a:pt x="27519" y="41770"/>
                  <a:pt x="33656" y="45585"/>
                </a:cubicBezTo>
                <a:cubicBezTo>
                  <a:pt x="39794" y="49400"/>
                  <a:pt x="53561" y="53547"/>
                  <a:pt x="54390" y="58025"/>
                </a:cubicBezTo>
                <a:cubicBezTo>
                  <a:pt x="55219" y="62504"/>
                  <a:pt x="57376" y="72124"/>
                  <a:pt x="64010" y="69138"/>
                </a:cubicBezTo>
                <a:cubicBezTo>
                  <a:pt x="70645" y="66153"/>
                  <a:pt x="78607" y="55869"/>
                  <a:pt x="78607" y="61674"/>
                </a:cubicBezTo>
                <a:cubicBezTo>
                  <a:pt x="78607" y="67480"/>
                  <a:pt x="80929" y="78261"/>
                  <a:pt x="88227" y="77266"/>
                </a:cubicBezTo>
                <a:cubicBezTo>
                  <a:pt x="95525" y="76271"/>
                  <a:pt x="97848" y="89706"/>
                  <a:pt x="104814" y="88213"/>
                </a:cubicBezTo>
                <a:lnTo>
                  <a:pt x="109956" y="88213"/>
                </a:lnTo>
                <a:cubicBezTo>
                  <a:pt x="107833" y="77299"/>
                  <a:pt x="112477" y="66169"/>
                  <a:pt x="121733" y="60016"/>
                </a:cubicBezTo>
                <a:cubicBezTo>
                  <a:pt x="123226" y="57196"/>
                  <a:pt x="127538" y="54044"/>
                  <a:pt x="128367" y="50395"/>
                </a:cubicBezTo>
                <a:cubicBezTo>
                  <a:pt x="129197" y="46746"/>
                  <a:pt x="118415" y="35799"/>
                  <a:pt x="119410" y="29828"/>
                </a:cubicBezTo>
                <a:cubicBezTo>
                  <a:pt x="119493" y="29496"/>
                  <a:pt x="119493" y="29164"/>
                  <a:pt x="119410" y="28833"/>
                </a:cubicBezTo>
                <a:cubicBezTo>
                  <a:pt x="116856" y="26875"/>
                  <a:pt x="114418" y="24769"/>
                  <a:pt x="112112" y="22529"/>
                </a:cubicBezTo>
                <a:cubicBezTo>
                  <a:pt x="103155" y="13407"/>
                  <a:pt x="94199" y="11914"/>
                  <a:pt x="88062" y="5943"/>
                </a:cubicBezTo>
                <a:cubicBezTo>
                  <a:pt x="82538" y="-775"/>
                  <a:pt x="72768" y="-2069"/>
                  <a:pt x="65669" y="2957"/>
                </a:cubicBezTo>
                <a:cubicBezTo>
                  <a:pt x="56430" y="9476"/>
                  <a:pt x="45466" y="13108"/>
                  <a:pt x="34154" y="13407"/>
                </a:cubicBezTo>
                <a:cubicBezTo>
                  <a:pt x="29974" y="12660"/>
                  <a:pt x="25943" y="11267"/>
                  <a:pt x="22212" y="9260"/>
                </a:cubicBezTo>
                <a:cubicBezTo>
                  <a:pt x="15378" y="13606"/>
                  <a:pt x="7864" y="16807"/>
                  <a:pt x="-15" y="18715"/>
                </a:cubicBezTo>
                <a:cubicBezTo>
                  <a:pt x="2805" y="20373"/>
                  <a:pt x="4795" y="19212"/>
                  <a:pt x="5293" y="22695"/>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2" name="Freeform: Shape 481">
            <a:extLst>
              <a:ext uri="{FF2B5EF4-FFF2-40B4-BE49-F238E27FC236}">
                <a16:creationId xmlns:a16="http://schemas.microsoft.com/office/drawing/2014/main" id="{A7A8D15B-9572-4F56-A788-0907E20BB3C5}"/>
              </a:ext>
            </a:extLst>
          </p:cNvPr>
          <p:cNvSpPr/>
          <p:nvPr/>
        </p:nvSpPr>
        <p:spPr>
          <a:xfrm>
            <a:off x="5496834" y="3323683"/>
            <a:ext cx="117941" cy="61189"/>
          </a:xfrm>
          <a:custGeom>
            <a:avLst/>
            <a:gdLst>
              <a:gd name="connsiteX0" fmla="*/ 131487 w 148752"/>
              <a:gd name="connsiteY0" fmla="*/ 33137 h 78684"/>
              <a:gd name="connsiteX1" fmla="*/ 114900 w 148752"/>
              <a:gd name="connsiteY1" fmla="*/ 24346 h 78684"/>
              <a:gd name="connsiteX2" fmla="*/ 114900 w 148752"/>
              <a:gd name="connsiteY2" fmla="*/ 10413 h 78684"/>
              <a:gd name="connsiteX3" fmla="*/ 95826 w 148752"/>
              <a:gd name="connsiteY3" fmla="*/ 1954 h 78684"/>
              <a:gd name="connsiteX4" fmla="*/ 73102 w 148752"/>
              <a:gd name="connsiteY4" fmla="*/ 2949 h 78684"/>
              <a:gd name="connsiteX5" fmla="*/ 44904 w 148752"/>
              <a:gd name="connsiteY5" fmla="*/ 3945 h 78684"/>
              <a:gd name="connsiteX6" fmla="*/ 40426 w 148752"/>
              <a:gd name="connsiteY6" fmla="*/ 8920 h 78684"/>
              <a:gd name="connsiteX7" fmla="*/ 23839 w 148752"/>
              <a:gd name="connsiteY7" fmla="*/ 22853 h 78684"/>
              <a:gd name="connsiteX8" fmla="*/ 2442 w 148752"/>
              <a:gd name="connsiteY8" fmla="*/ 49392 h 78684"/>
              <a:gd name="connsiteX9" fmla="*/ 6921 w 148752"/>
              <a:gd name="connsiteY9" fmla="*/ 60505 h 78684"/>
              <a:gd name="connsiteX10" fmla="*/ 21683 w 148752"/>
              <a:gd name="connsiteY10" fmla="*/ 61998 h 78684"/>
              <a:gd name="connsiteX11" fmla="*/ 27488 w 148752"/>
              <a:gd name="connsiteY11" fmla="*/ 78585 h 78684"/>
              <a:gd name="connsiteX12" fmla="*/ 27488 w 148752"/>
              <a:gd name="connsiteY12" fmla="*/ 78585 h 78684"/>
              <a:gd name="connsiteX13" fmla="*/ 55851 w 148752"/>
              <a:gd name="connsiteY13" fmla="*/ 76429 h 78684"/>
              <a:gd name="connsiteX14" fmla="*/ 72438 w 148752"/>
              <a:gd name="connsiteY14" fmla="*/ 52876 h 78684"/>
              <a:gd name="connsiteX15" fmla="*/ 91181 w 148752"/>
              <a:gd name="connsiteY15" fmla="*/ 75599 h 78684"/>
              <a:gd name="connsiteX16" fmla="*/ 99972 w 148752"/>
              <a:gd name="connsiteY16" fmla="*/ 63823 h 78684"/>
              <a:gd name="connsiteX17" fmla="*/ 111749 w 148752"/>
              <a:gd name="connsiteY17" fmla="*/ 56856 h 78684"/>
              <a:gd name="connsiteX18" fmla="*/ 127507 w 148752"/>
              <a:gd name="connsiteY18" fmla="*/ 52876 h 78684"/>
              <a:gd name="connsiteX19" fmla="*/ 137293 w 148752"/>
              <a:gd name="connsiteY19" fmla="*/ 49061 h 78684"/>
              <a:gd name="connsiteX20" fmla="*/ 142269 w 148752"/>
              <a:gd name="connsiteY20" fmla="*/ 41099 h 78684"/>
              <a:gd name="connsiteX21" fmla="*/ 148738 w 148752"/>
              <a:gd name="connsiteY21" fmla="*/ 35128 h 78684"/>
              <a:gd name="connsiteX22" fmla="*/ 131487 w 148752"/>
              <a:gd name="connsiteY22" fmla="*/ 33137 h 7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8752" h="78684">
                <a:moveTo>
                  <a:pt x="131487" y="33137"/>
                </a:moveTo>
                <a:cubicBezTo>
                  <a:pt x="124853" y="36123"/>
                  <a:pt x="114900" y="27332"/>
                  <a:pt x="114900" y="24346"/>
                </a:cubicBezTo>
                <a:cubicBezTo>
                  <a:pt x="114221" y="19718"/>
                  <a:pt x="114221" y="15041"/>
                  <a:pt x="114900" y="10413"/>
                </a:cubicBezTo>
                <a:cubicBezTo>
                  <a:pt x="108763" y="7112"/>
                  <a:pt x="102394" y="4293"/>
                  <a:pt x="95826" y="1954"/>
                </a:cubicBezTo>
                <a:cubicBezTo>
                  <a:pt x="88478" y="-1098"/>
                  <a:pt x="80151" y="-733"/>
                  <a:pt x="73102" y="2949"/>
                </a:cubicBezTo>
                <a:cubicBezTo>
                  <a:pt x="63846" y="5039"/>
                  <a:pt x="54276" y="5371"/>
                  <a:pt x="44904" y="3945"/>
                </a:cubicBezTo>
                <a:cubicBezTo>
                  <a:pt x="44075" y="6930"/>
                  <a:pt x="42748" y="8920"/>
                  <a:pt x="40426" y="8920"/>
                </a:cubicBezTo>
                <a:cubicBezTo>
                  <a:pt x="32597" y="9800"/>
                  <a:pt x="26062" y="15290"/>
                  <a:pt x="23839" y="22853"/>
                </a:cubicBezTo>
                <a:cubicBezTo>
                  <a:pt x="22346" y="30318"/>
                  <a:pt x="7252" y="36123"/>
                  <a:pt x="2442" y="49392"/>
                </a:cubicBezTo>
                <a:cubicBezTo>
                  <a:pt x="-2368" y="62662"/>
                  <a:pt x="286" y="68633"/>
                  <a:pt x="6921" y="60505"/>
                </a:cubicBezTo>
                <a:cubicBezTo>
                  <a:pt x="13555" y="52378"/>
                  <a:pt x="21683" y="55364"/>
                  <a:pt x="21683" y="61998"/>
                </a:cubicBezTo>
                <a:cubicBezTo>
                  <a:pt x="21683" y="68633"/>
                  <a:pt x="30474" y="69296"/>
                  <a:pt x="27488" y="78585"/>
                </a:cubicBezTo>
                <a:lnTo>
                  <a:pt x="27488" y="78585"/>
                </a:lnTo>
                <a:cubicBezTo>
                  <a:pt x="37606" y="77590"/>
                  <a:pt x="51539" y="76429"/>
                  <a:pt x="55851" y="76429"/>
                </a:cubicBezTo>
                <a:cubicBezTo>
                  <a:pt x="62652" y="76429"/>
                  <a:pt x="69619" y="54866"/>
                  <a:pt x="72438" y="52876"/>
                </a:cubicBezTo>
                <a:cubicBezTo>
                  <a:pt x="75258" y="50885"/>
                  <a:pt x="83386" y="68633"/>
                  <a:pt x="91181" y="75599"/>
                </a:cubicBezTo>
                <a:cubicBezTo>
                  <a:pt x="98977" y="82566"/>
                  <a:pt x="99972" y="69628"/>
                  <a:pt x="99972" y="63823"/>
                </a:cubicBezTo>
                <a:cubicBezTo>
                  <a:pt x="99972" y="58017"/>
                  <a:pt x="106939" y="55861"/>
                  <a:pt x="111749" y="56856"/>
                </a:cubicBezTo>
                <a:cubicBezTo>
                  <a:pt x="116559" y="57852"/>
                  <a:pt x="127507" y="59842"/>
                  <a:pt x="127507" y="52876"/>
                </a:cubicBezTo>
                <a:cubicBezTo>
                  <a:pt x="127507" y="45909"/>
                  <a:pt x="133478" y="49061"/>
                  <a:pt x="137293" y="49061"/>
                </a:cubicBezTo>
                <a:cubicBezTo>
                  <a:pt x="141108" y="49061"/>
                  <a:pt x="142269" y="41099"/>
                  <a:pt x="142269" y="41099"/>
                </a:cubicBezTo>
                <a:lnTo>
                  <a:pt x="148738" y="35128"/>
                </a:lnTo>
                <a:cubicBezTo>
                  <a:pt x="143596" y="31827"/>
                  <a:pt x="137243" y="31097"/>
                  <a:pt x="131487" y="3313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3" name="Freeform: Shape 482">
            <a:extLst>
              <a:ext uri="{FF2B5EF4-FFF2-40B4-BE49-F238E27FC236}">
                <a16:creationId xmlns:a16="http://schemas.microsoft.com/office/drawing/2014/main" id="{7BF31301-22F9-444D-8D21-611E58C3AF8E}"/>
              </a:ext>
            </a:extLst>
          </p:cNvPr>
          <p:cNvSpPr/>
          <p:nvPr/>
        </p:nvSpPr>
        <p:spPr>
          <a:xfrm>
            <a:off x="6231036" y="3804210"/>
            <a:ext cx="554715" cy="437009"/>
          </a:xfrm>
          <a:custGeom>
            <a:avLst/>
            <a:gdLst>
              <a:gd name="connsiteX0" fmla="*/ 418802 w 699632"/>
              <a:gd name="connsiteY0" fmla="*/ 117169 h 561961"/>
              <a:gd name="connsiteX1" fmla="*/ 359753 w 699632"/>
              <a:gd name="connsiteY1" fmla="*/ 110701 h 561961"/>
              <a:gd name="connsiteX2" fmla="*/ 320442 w 699632"/>
              <a:gd name="connsiteY2" fmla="*/ 97597 h 561961"/>
              <a:gd name="connsiteX3" fmla="*/ 240328 w 699632"/>
              <a:gd name="connsiteY3" fmla="*/ 38548 h 561961"/>
              <a:gd name="connsiteX4" fmla="*/ 174810 w 699632"/>
              <a:gd name="connsiteY4" fmla="*/ 398 h 561961"/>
              <a:gd name="connsiteX5" fmla="*/ 147110 w 699632"/>
              <a:gd name="connsiteY5" fmla="*/ 398 h 561961"/>
              <a:gd name="connsiteX6" fmla="*/ 113107 w 699632"/>
              <a:gd name="connsiteY6" fmla="*/ 10847 h 561961"/>
              <a:gd name="connsiteX7" fmla="*/ 79933 w 699632"/>
              <a:gd name="connsiteY7" fmla="*/ 31913 h 561961"/>
              <a:gd name="connsiteX8" fmla="*/ 104813 w 699632"/>
              <a:gd name="connsiteY8" fmla="*/ 60774 h 561961"/>
              <a:gd name="connsiteX9" fmla="*/ 85241 w 699632"/>
              <a:gd name="connsiteY9" fmla="*/ 77361 h 561961"/>
              <a:gd name="connsiteX10" fmla="*/ 64176 w 699632"/>
              <a:gd name="connsiteY10" fmla="*/ 86483 h 561961"/>
              <a:gd name="connsiteX11" fmla="*/ 37969 w 699632"/>
              <a:gd name="connsiteY11" fmla="*/ 106222 h 561961"/>
              <a:gd name="connsiteX12" fmla="*/ 4795 w 699632"/>
              <a:gd name="connsiteY12" fmla="*/ 91460 h 561961"/>
              <a:gd name="connsiteX13" fmla="*/ 1312 w 699632"/>
              <a:gd name="connsiteY13" fmla="*/ 101080 h 561961"/>
              <a:gd name="connsiteX14" fmla="*/ -15 w 699632"/>
              <a:gd name="connsiteY14" fmla="*/ 110037 h 561961"/>
              <a:gd name="connsiteX15" fmla="*/ 5624 w 699632"/>
              <a:gd name="connsiteY15" fmla="*/ 147855 h 561961"/>
              <a:gd name="connsiteX16" fmla="*/ 32661 w 699632"/>
              <a:gd name="connsiteY16" fmla="*/ 181029 h 561961"/>
              <a:gd name="connsiteX17" fmla="*/ 80763 w 699632"/>
              <a:gd name="connsiteY17" fmla="*/ 255669 h 561961"/>
              <a:gd name="connsiteX18" fmla="*/ 106306 w 699632"/>
              <a:gd name="connsiteY18" fmla="*/ 292492 h 561961"/>
              <a:gd name="connsiteX19" fmla="*/ 136329 w 699632"/>
              <a:gd name="connsiteY19" fmla="*/ 329812 h 561961"/>
              <a:gd name="connsiteX20" fmla="*/ 144622 w 699632"/>
              <a:gd name="connsiteY20" fmla="*/ 366801 h 561961"/>
              <a:gd name="connsiteX21" fmla="*/ 171658 w 699632"/>
              <a:gd name="connsiteY21" fmla="*/ 422699 h 561961"/>
              <a:gd name="connsiteX22" fmla="*/ 209974 w 699632"/>
              <a:gd name="connsiteY22" fmla="*/ 466488 h 561961"/>
              <a:gd name="connsiteX23" fmla="*/ 240494 w 699632"/>
              <a:gd name="connsiteY23" fmla="*/ 517078 h 561961"/>
              <a:gd name="connsiteX24" fmla="*/ 251773 w 699632"/>
              <a:gd name="connsiteY24" fmla="*/ 542621 h 561961"/>
              <a:gd name="connsiteX25" fmla="*/ 262720 w 699632"/>
              <a:gd name="connsiteY25" fmla="*/ 561862 h 561961"/>
              <a:gd name="connsiteX26" fmla="*/ 277980 w 699632"/>
              <a:gd name="connsiteY26" fmla="*/ 553569 h 561961"/>
              <a:gd name="connsiteX27" fmla="*/ 277151 w 699632"/>
              <a:gd name="connsiteY27" fmla="*/ 535489 h 561961"/>
              <a:gd name="connsiteX28" fmla="*/ 291250 w 699632"/>
              <a:gd name="connsiteY28" fmla="*/ 523215 h 561961"/>
              <a:gd name="connsiteX29" fmla="*/ 315964 w 699632"/>
              <a:gd name="connsiteY29" fmla="*/ 526864 h 561961"/>
              <a:gd name="connsiteX30" fmla="*/ 356767 w 699632"/>
              <a:gd name="connsiteY30" fmla="*/ 530679 h 561961"/>
              <a:gd name="connsiteX31" fmla="*/ 403376 w 699632"/>
              <a:gd name="connsiteY31" fmla="*/ 538309 h 561961"/>
              <a:gd name="connsiteX32" fmla="*/ 426101 w 699632"/>
              <a:gd name="connsiteY32" fmla="*/ 529850 h 561961"/>
              <a:gd name="connsiteX33" fmla="*/ 477354 w 699632"/>
              <a:gd name="connsiteY33" fmla="*/ 485065 h 561961"/>
              <a:gd name="connsiteX34" fmla="*/ 542872 w 699632"/>
              <a:gd name="connsiteY34" fmla="*/ 481250 h 561961"/>
              <a:gd name="connsiteX35" fmla="*/ 676894 w 699632"/>
              <a:gd name="connsiteY35" fmla="*/ 437627 h 561961"/>
              <a:gd name="connsiteX36" fmla="*/ 699617 w 699632"/>
              <a:gd name="connsiteY36" fmla="*/ 368294 h 561961"/>
              <a:gd name="connsiteX37" fmla="*/ 683031 w 699632"/>
              <a:gd name="connsiteY37" fmla="*/ 344575 h 561961"/>
              <a:gd name="connsiteX38" fmla="*/ 600096 w 699632"/>
              <a:gd name="connsiteY38" fmla="*/ 335120 h 561961"/>
              <a:gd name="connsiteX39" fmla="*/ 575050 w 699632"/>
              <a:gd name="connsiteY39" fmla="*/ 299459 h 561961"/>
              <a:gd name="connsiteX40" fmla="*/ 561283 w 699632"/>
              <a:gd name="connsiteY40" fmla="*/ 278228 h 561961"/>
              <a:gd name="connsiteX41" fmla="*/ 533583 w 699632"/>
              <a:gd name="connsiteY41" fmla="*/ 258987 h 561961"/>
              <a:gd name="connsiteX42" fmla="*/ 515670 w 699632"/>
              <a:gd name="connsiteY42" fmla="*/ 223159 h 561961"/>
              <a:gd name="connsiteX43" fmla="*/ 501073 w 699632"/>
              <a:gd name="connsiteY43" fmla="*/ 187332 h 561961"/>
              <a:gd name="connsiteX44" fmla="*/ 467070 w 699632"/>
              <a:gd name="connsiteY44" fmla="*/ 148021 h 561961"/>
              <a:gd name="connsiteX45" fmla="*/ 462923 w 699632"/>
              <a:gd name="connsiteY45" fmla="*/ 133922 h 561961"/>
              <a:gd name="connsiteX46" fmla="*/ 436550 w 699632"/>
              <a:gd name="connsiteY46" fmla="*/ 132595 h 56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99632" h="561961">
                <a:moveTo>
                  <a:pt x="418802" y="117169"/>
                </a:moveTo>
                <a:cubicBezTo>
                  <a:pt x="418802" y="117169"/>
                  <a:pt x="367549" y="110701"/>
                  <a:pt x="359753" y="110701"/>
                </a:cubicBezTo>
                <a:cubicBezTo>
                  <a:pt x="345588" y="110634"/>
                  <a:pt x="331804" y="106056"/>
                  <a:pt x="320442" y="97597"/>
                </a:cubicBezTo>
                <a:cubicBezTo>
                  <a:pt x="294799" y="76515"/>
                  <a:pt x="268061" y="56793"/>
                  <a:pt x="240328" y="38548"/>
                </a:cubicBezTo>
                <a:cubicBezTo>
                  <a:pt x="229878" y="33240"/>
                  <a:pt x="186587" y="1725"/>
                  <a:pt x="174810" y="398"/>
                </a:cubicBezTo>
                <a:cubicBezTo>
                  <a:pt x="165588" y="-265"/>
                  <a:pt x="156332" y="-265"/>
                  <a:pt x="147110" y="398"/>
                </a:cubicBezTo>
                <a:cubicBezTo>
                  <a:pt x="132845" y="398"/>
                  <a:pt x="139314" y="9687"/>
                  <a:pt x="113107" y="10847"/>
                </a:cubicBezTo>
                <a:cubicBezTo>
                  <a:pt x="86900" y="12009"/>
                  <a:pt x="72469" y="29259"/>
                  <a:pt x="79933" y="31913"/>
                </a:cubicBezTo>
                <a:cubicBezTo>
                  <a:pt x="87397" y="34567"/>
                  <a:pt x="113107" y="56793"/>
                  <a:pt x="104813" y="60774"/>
                </a:cubicBezTo>
                <a:cubicBezTo>
                  <a:pt x="96520" y="64755"/>
                  <a:pt x="95691" y="77361"/>
                  <a:pt x="85241" y="77361"/>
                </a:cubicBezTo>
                <a:cubicBezTo>
                  <a:pt x="74791" y="77361"/>
                  <a:pt x="64176" y="78688"/>
                  <a:pt x="64176" y="86483"/>
                </a:cubicBezTo>
                <a:cubicBezTo>
                  <a:pt x="60792" y="98144"/>
                  <a:pt x="50110" y="106189"/>
                  <a:pt x="37969" y="106222"/>
                </a:cubicBezTo>
                <a:cubicBezTo>
                  <a:pt x="26292" y="102838"/>
                  <a:pt x="15129" y="97879"/>
                  <a:pt x="4795" y="91460"/>
                </a:cubicBezTo>
                <a:lnTo>
                  <a:pt x="1312" y="101080"/>
                </a:lnTo>
                <a:lnTo>
                  <a:pt x="-15" y="110037"/>
                </a:lnTo>
                <a:cubicBezTo>
                  <a:pt x="2307" y="117004"/>
                  <a:pt x="-1176" y="145698"/>
                  <a:pt x="5624" y="147855"/>
                </a:cubicBezTo>
                <a:cubicBezTo>
                  <a:pt x="12425" y="150011"/>
                  <a:pt x="16903" y="163613"/>
                  <a:pt x="32661" y="181029"/>
                </a:cubicBezTo>
                <a:cubicBezTo>
                  <a:pt x="48418" y="198445"/>
                  <a:pt x="80265" y="244390"/>
                  <a:pt x="80763" y="255669"/>
                </a:cubicBezTo>
                <a:cubicBezTo>
                  <a:pt x="82438" y="271493"/>
                  <a:pt x="92058" y="285393"/>
                  <a:pt x="106306" y="292492"/>
                </a:cubicBezTo>
                <a:cubicBezTo>
                  <a:pt x="126045" y="305761"/>
                  <a:pt x="126045" y="322017"/>
                  <a:pt x="136329" y="329812"/>
                </a:cubicBezTo>
                <a:cubicBezTo>
                  <a:pt x="146613" y="337608"/>
                  <a:pt x="144125" y="346399"/>
                  <a:pt x="144622" y="366801"/>
                </a:cubicBezTo>
                <a:cubicBezTo>
                  <a:pt x="144423" y="388629"/>
                  <a:pt x="154425" y="409296"/>
                  <a:pt x="171658" y="422699"/>
                </a:cubicBezTo>
                <a:cubicBezTo>
                  <a:pt x="189307" y="432186"/>
                  <a:pt x="202908" y="447745"/>
                  <a:pt x="209974" y="466488"/>
                </a:cubicBezTo>
                <a:cubicBezTo>
                  <a:pt x="216775" y="485181"/>
                  <a:pt x="227125" y="502349"/>
                  <a:pt x="240494" y="517078"/>
                </a:cubicBezTo>
                <a:cubicBezTo>
                  <a:pt x="251773" y="528357"/>
                  <a:pt x="245304" y="533665"/>
                  <a:pt x="251773" y="542621"/>
                </a:cubicBezTo>
                <a:cubicBezTo>
                  <a:pt x="256185" y="548559"/>
                  <a:pt x="259867" y="555028"/>
                  <a:pt x="262720" y="561862"/>
                </a:cubicBezTo>
                <a:cubicBezTo>
                  <a:pt x="268095" y="559673"/>
                  <a:pt x="273220" y="556886"/>
                  <a:pt x="277980" y="553569"/>
                </a:cubicBezTo>
                <a:cubicBezTo>
                  <a:pt x="279970" y="549754"/>
                  <a:pt x="274165" y="539304"/>
                  <a:pt x="277151" y="535489"/>
                </a:cubicBezTo>
                <a:cubicBezTo>
                  <a:pt x="280667" y="530198"/>
                  <a:pt x="285527" y="525968"/>
                  <a:pt x="291250" y="523215"/>
                </a:cubicBezTo>
                <a:cubicBezTo>
                  <a:pt x="297055" y="521225"/>
                  <a:pt x="303690" y="528854"/>
                  <a:pt x="315964" y="526864"/>
                </a:cubicBezTo>
                <a:cubicBezTo>
                  <a:pt x="329681" y="525288"/>
                  <a:pt x="343581" y="526582"/>
                  <a:pt x="356767" y="530679"/>
                </a:cubicBezTo>
                <a:cubicBezTo>
                  <a:pt x="359587" y="533499"/>
                  <a:pt x="394751" y="531674"/>
                  <a:pt x="403376" y="538309"/>
                </a:cubicBezTo>
                <a:cubicBezTo>
                  <a:pt x="412002" y="544944"/>
                  <a:pt x="419963" y="543119"/>
                  <a:pt x="426101" y="529850"/>
                </a:cubicBezTo>
                <a:cubicBezTo>
                  <a:pt x="432238" y="516580"/>
                  <a:pt x="471715" y="488051"/>
                  <a:pt x="477354" y="485065"/>
                </a:cubicBezTo>
                <a:cubicBezTo>
                  <a:pt x="482993" y="482079"/>
                  <a:pt x="525787" y="485065"/>
                  <a:pt x="542872" y="481250"/>
                </a:cubicBezTo>
                <a:cubicBezTo>
                  <a:pt x="559956" y="477435"/>
                  <a:pt x="672083" y="441442"/>
                  <a:pt x="676894" y="437627"/>
                </a:cubicBezTo>
                <a:cubicBezTo>
                  <a:pt x="686978" y="415417"/>
                  <a:pt x="694608" y="392162"/>
                  <a:pt x="699617" y="368294"/>
                </a:cubicBezTo>
                <a:cubicBezTo>
                  <a:pt x="699617" y="361659"/>
                  <a:pt x="691158" y="343745"/>
                  <a:pt x="683031" y="344575"/>
                </a:cubicBezTo>
                <a:cubicBezTo>
                  <a:pt x="655181" y="343497"/>
                  <a:pt x="627465" y="340329"/>
                  <a:pt x="600096" y="335120"/>
                </a:cubicBezTo>
                <a:cubicBezTo>
                  <a:pt x="587424" y="326943"/>
                  <a:pt x="578434" y="314154"/>
                  <a:pt x="575050" y="299459"/>
                </a:cubicBezTo>
                <a:cubicBezTo>
                  <a:pt x="568448" y="293919"/>
                  <a:pt x="563639" y="286521"/>
                  <a:pt x="561283" y="278228"/>
                </a:cubicBezTo>
                <a:cubicBezTo>
                  <a:pt x="548462" y="279919"/>
                  <a:pt x="536469" y="271592"/>
                  <a:pt x="533583" y="258987"/>
                </a:cubicBezTo>
                <a:cubicBezTo>
                  <a:pt x="526948" y="254674"/>
                  <a:pt x="509698" y="230125"/>
                  <a:pt x="515670" y="223159"/>
                </a:cubicBezTo>
                <a:cubicBezTo>
                  <a:pt x="521641" y="216193"/>
                  <a:pt x="511854" y="197284"/>
                  <a:pt x="501073" y="187332"/>
                </a:cubicBezTo>
                <a:cubicBezTo>
                  <a:pt x="490292" y="177379"/>
                  <a:pt x="467899" y="159300"/>
                  <a:pt x="467070" y="148021"/>
                </a:cubicBezTo>
                <a:cubicBezTo>
                  <a:pt x="466307" y="143161"/>
                  <a:pt x="464914" y="138417"/>
                  <a:pt x="462923" y="133922"/>
                </a:cubicBezTo>
                <a:lnTo>
                  <a:pt x="436550" y="132595"/>
                </a:ln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4" name="Freeform: Shape 483">
            <a:extLst>
              <a:ext uri="{FF2B5EF4-FFF2-40B4-BE49-F238E27FC236}">
                <a16:creationId xmlns:a16="http://schemas.microsoft.com/office/drawing/2014/main" id="{AEF8D6D2-8C35-4F74-8FB8-7B4388689BEB}"/>
              </a:ext>
            </a:extLst>
          </p:cNvPr>
          <p:cNvSpPr/>
          <p:nvPr/>
        </p:nvSpPr>
        <p:spPr>
          <a:xfrm>
            <a:off x="6686986" y="4004012"/>
            <a:ext cx="210535" cy="231661"/>
          </a:xfrm>
          <a:custGeom>
            <a:avLst/>
            <a:gdLst>
              <a:gd name="connsiteX0" fmla="*/ 133343 w 265537"/>
              <a:gd name="connsiteY0" fmla="*/ 6535 h 297899"/>
              <a:gd name="connsiteX1" fmla="*/ 133343 w 265537"/>
              <a:gd name="connsiteY1" fmla="*/ 31747 h 297899"/>
              <a:gd name="connsiteX2" fmla="*/ 112444 w 265537"/>
              <a:gd name="connsiteY2" fmla="*/ 58286 h 297899"/>
              <a:gd name="connsiteX3" fmla="*/ 101165 w 265537"/>
              <a:gd name="connsiteY3" fmla="*/ 86318 h 297899"/>
              <a:gd name="connsiteX4" fmla="*/ 107965 w 265537"/>
              <a:gd name="connsiteY4" fmla="*/ 86318 h 297899"/>
              <a:gd name="connsiteX5" fmla="*/ 124552 w 265537"/>
              <a:gd name="connsiteY5" fmla="*/ 110037 h 297899"/>
              <a:gd name="connsiteX6" fmla="*/ 101828 w 265537"/>
              <a:gd name="connsiteY6" fmla="*/ 179370 h 297899"/>
              <a:gd name="connsiteX7" fmla="*/ -15 w 265537"/>
              <a:gd name="connsiteY7" fmla="*/ 213704 h 297899"/>
              <a:gd name="connsiteX8" fmla="*/ 40623 w 265537"/>
              <a:gd name="connsiteY8" fmla="*/ 297800 h 297899"/>
              <a:gd name="connsiteX9" fmla="*/ 49082 w 265537"/>
              <a:gd name="connsiteY9" fmla="*/ 293653 h 297899"/>
              <a:gd name="connsiteX10" fmla="*/ 103155 w 265537"/>
              <a:gd name="connsiteY10" fmla="*/ 284365 h 297899"/>
              <a:gd name="connsiteX11" fmla="*/ 115927 w 265537"/>
              <a:gd name="connsiteY11" fmla="*/ 258323 h 297899"/>
              <a:gd name="connsiteX12" fmla="*/ 152252 w 265537"/>
              <a:gd name="connsiteY12" fmla="*/ 252352 h 297899"/>
              <a:gd name="connsiteX13" fmla="*/ 173815 w 265537"/>
              <a:gd name="connsiteY13" fmla="*/ 221998 h 297899"/>
              <a:gd name="connsiteX14" fmla="*/ 195046 w 265537"/>
              <a:gd name="connsiteY14" fmla="*/ 211051 h 297899"/>
              <a:gd name="connsiteX15" fmla="*/ 206325 w 265537"/>
              <a:gd name="connsiteY15" fmla="*/ 166432 h 297899"/>
              <a:gd name="connsiteX16" fmla="*/ 233362 w 265537"/>
              <a:gd name="connsiteY16" fmla="*/ 147689 h 297899"/>
              <a:gd name="connsiteX17" fmla="*/ 260896 w 265537"/>
              <a:gd name="connsiteY17" fmla="*/ 109042 h 297899"/>
              <a:gd name="connsiteX18" fmla="*/ 258408 w 265537"/>
              <a:gd name="connsiteY18" fmla="*/ 90796 h 297899"/>
              <a:gd name="connsiteX19" fmla="*/ 230376 w 265537"/>
              <a:gd name="connsiteY19" fmla="*/ 55964 h 297899"/>
              <a:gd name="connsiteX20" fmla="*/ 174810 w 265537"/>
              <a:gd name="connsiteY20" fmla="*/ 35231 h 297899"/>
              <a:gd name="connsiteX21" fmla="*/ 156896 w 265537"/>
              <a:gd name="connsiteY21" fmla="*/ -100 h 297899"/>
              <a:gd name="connsiteX22" fmla="*/ 145452 w 265537"/>
              <a:gd name="connsiteY22" fmla="*/ 6535 h 297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5537" h="297899">
                <a:moveTo>
                  <a:pt x="133343" y="6535"/>
                </a:moveTo>
                <a:lnTo>
                  <a:pt x="133343" y="31747"/>
                </a:lnTo>
                <a:lnTo>
                  <a:pt x="112444" y="58286"/>
                </a:lnTo>
                <a:lnTo>
                  <a:pt x="101165" y="86318"/>
                </a:lnTo>
                <a:lnTo>
                  <a:pt x="107965" y="86318"/>
                </a:lnTo>
                <a:cubicBezTo>
                  <a:pt x="116590" y="85489"/>
                  <a:pt x="124552" y="102905"/>
                  <a:pt x="124552" y="110037"/>
                </a:cubicBezTo>
                <a:cubicBezTo>
                  <a:pt x="119543" y="133905"/>
                  <a:pt x="111913" y="157160"/>
                  <a:pt x="101828" y="179370"/>
                </a:cubicBezTo>
                <a:cubicBezTo>
                  <a:pt x="98345" y="182190"/>
                  <a:pt x="39130" y="201596"/>
                  <a:pt x="-15" y="213704"/>
                </a:cubicBezTo>
                <a:cubicBezTo>
                  <a:pt x="8444" y="231453"/>
                  <a:pt x="25363" y="266451"/>
                  <a:pt x="40623" y="297800"/>
                </a:cubicBezTo>
                <a:cubicBezTo>
                  <a:pt x="43542" y="296622"/>
                  <a:pt x="46362" y="295229"/>
                  <a:pt x="49082" y="293653"/>
                </a:cubicBezTo>
                <a:cubicBezTo>
                  <a:pt x="67825" y="282872"/>
                  <a:pt x="88891" y="288345"/>
                  <a:pt x="103155" y="284365"/>
                </a:cubicBezTo>
                <a:cubicBezTo>
                  <a:pt x="117420" y="280384"/>
                  <a:pt x="103155" y="268607"/>
                  <a:pt x="115927" y="258323"/>
                </a:cubicBezTo>
                <a:cubicBezTo>
                  <a:pt x="128699" y="248039"/>
                  <a:pt x="145949" y="255835"/>
                  <a:pt x="152252" y="252352"/>
                </a:cubicBezTo>
                <a:cubicBezTo>
                  <a:pt x="158555" y="248868"/>
                  <a:pt x="163034" y="226477"/>
                  <a:pt x="173815" y="221998"/>
                </a:cubicBezTo>
                <a:cubicBezTo>
                  <a:pt x="184597" y="217520"/>
                  <a:pt x="196539" y="220505"/>
                  <a:pt x="195046" y="211051"/>
                </a:cubicBezTo>
                <a:cubicBezTo>
                  <a:pt x="193554" y="201596"/>
                  <a:pt x="196041" y="168423"/>
                  <a:pt x="206325" y="166432"/>
                </a:cubicBezTo>
                <a:cubicBezTo>
                  <a:pt x="216609" y="164442"/>
                  <a:pt x="232864" y="153660"/>
                  <a:pt x="233362" y="147689"/>
                </a:cubicBezTo>
                <a:cubicBezTo>
                  <a:pt x="241722" y="134237"/>
                  <a:pt x="250910" y="121332"/>
                  <a:pt x="260896" y="109042"/>
                </a:cubicBezTo>
                <a:cubicBezTo>
                  <a:pt x="267199" y="98094"/>
                  <a:pt x="267697" y="92455"/>
                  <a:pt x="258408" y="90796"/>
                </a:cubicBezTo>
                <a:cubicBezTo>
                  <a:pt x="249120" y="89138"/>
                  <a:pt x="234357" y="63262"/>
                  <a:pt x="230376" y="55964"/>
                </a:cubicBezTo>
                <a:cubicBezTo>
                  <a:pt x="226395" y="48666"/>
                  <a:pt x="197203" y="53476"/>
                  <a:pt x="174810" y="35231"/>
                </a:cubicBezTo>
                <a:cubicBezTo>
                  <a:pt x="165257" y="25643"/>
                  <a:pt x="158986" y="13269"/>
                  <a:pt x="156896" y="-100"/>
                </a:cubicBezTo>
                <a:lnTo>
                  <a:pt x="145452" y="6535"/>
                </a:ln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5" name="Freeform: Shape 484">
            <a:extLst>
              <a:ext uri="{FF2B5EF4-FFF2-40B4-BE49-F238E27FC236}">
                <a16:creationId xmlns:a16="http://schemas.microsoft.com/office/drawing/2014/main" id="{199B8A4A-49C1-4F91-AC38-4E2822FE8A99}"/>
              </a:ext>
            </a:extLst>
          </p:cNvPr>
          <p:cNvSpPr/>
          <p:nvPr/>
        </p:nvSpPr>
        <p:spPr>
          <a:xfrm>
            <a:off x="6653057" y="3979081"/>
            <a:ext cx="27075" cy="41047"/>
          </a:xfrm>
          <a:custGeom>
            <a:avLst/>
            <a:gdLst>
              <a:gd name="connsiteX0" fmla="*/ 28348 w 34148"/>
              <a:gd name="connsiteY0" fmla="*/ 52361 h 52784"/>
              <a:gd name="connsiteX1" fmla="*/ 28348 w 34148"/>
              <a:gd name="connsiteY1" fmla="*/ 43073 h 52784"/>
              <a:gd name="connsiteX2" fmla="*/ 24368 w 34148"/>
              <a:gd name="connsiteY2" fmla="*/ 279 h 52784"/>
              <a:gd name="connsiteX3" fmla="*/ 2307 w 34148"/>
              <a:gd name="connsiteY3" fmla="*/ 33453 h 52784"/>
              <a:gd name="connsiteX4" fmla="*/ -15 w 34148"/>
              <a:gd name="connsiteY4" fmla="*/ 33453 h 52784"/>
              <a:gd name="connsiteX5" fmla="*/ 28348 w 34148"/>
              <a:gd name="connsiteY5" fmla="*/ 52361 h 5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48" h="52784">
                <a:moveTo>
                  <a:pt x="28348" y="52361"/>
                </a:moveTo>
                <a:cubicBezTo>
                  <a:pt x="27154" y="49376"/>
                  <a:pt x="27154" y="46059"/>
                  <a:pt x="28348" y="43073"/>
                </a:cubicBezTo>
                <a:cubicBezTo>
                  <a:pt x="34817" y="32292"/>
                  <a:pt x="38632" y="4260"/>
                  <a:pt x="24368" y="279"/>
                </a:cubicBezTo>
                <a:cubicBezTo>
                  <a:pt x="10103" y="-3702"/>
                  <a:pt x="2307" y="24828"/>
                  <a:pt x="2307" y="33453"/>
                </a:cubicBezTo>
                <a:cubicBezTo>
                  <a:pt x="2307" y="34779"/>
                  <a:pt x="1312" y="34779"/>
                  <a:pt x="-15" y="33453"/>
                </a:cubicBezTo>
                <a:cubicBezTo>
                  <a:pt x="3037" y="46208"/>
                  <a:pt x="15394" y="54452"/>
                  <a:pt x="28348" y="5236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6" name="Freeform: Shape 485">
            <a:extLst>
              <a:ext uri="{FF2B5EF4-FFF2-40B4-BE49-F238E27FC236}">
                <a16:creationId xmlns:a16="http://schemas.microsoft.com/office/drawing/2014/main" id="{6467B155-162C-4845-AA95-F8F285AA2121}"/>
              </a:ext>
            </a:extLst>
          </p:cNvPr>
          <p:cNvSpPr/>
          <p:nvPr/>
        </p:nvSpPr>
        <p:spPr>
          <a:xfrm>
            <a:off x="6686461" y="3971891"/>
            <a:ext cx="125330" cy="99580"/>
          </a:xfrm>
          <a:custGeom>
            <a:avLst/>
            <a:gdLst>
              <a:gd name="connsiteX0" fmla="*/ 25031 w 158072"/>
              <a:gd name="connsiteY0" fmla="*/ 118500 h 128053"/>
              <a:gd name="connsiteX1" fmla="*/ 101828 w 158072"/>
              <a:gd name="connsiteY1" fmla="*/ 127954 h 128053"/>
              <a:gd name="connsiteX2" fmla="*/ 113107 w 158072"/>
              <a:gd name="connsiteY2" fmla="*/ 99923 h 128053"/>
              <a:gd name="connsiteX3" fmla="*/ 134007 w 158072"/>
              <a:gd name="connsiteY3" fmla="*/ 73384 h 128053"/>
              <a:gd name="connsiteX4" fmla="*/ 134007 w 158072"/>
              <a:gd name="connsiteY4" fmla="*/ 47840 h 128053"/>
              <a:gd name="connsiteX5" fmla="*/ 146613 w 158072"/>
              <a:gd name="connsiteY5" fmla="*/ 47840 h 128053"/>
              <a:gd name="connsiteX6" fmla="*/ 158058 w 158072"/>
              <a:gd name="connsiteY6" fmla="*/ 41205 h 128053"/>
              <a:gd name="connsiteX7" fmla="*/ 148935 w 158072"/>
              <a:gd name="connsiteY7" fmla="*/ -96 h 128053"/>
              <a:gd name="connsiteX8" fmla="*/ 109127 w 158072"/>
              <a:gd name="connsiteY8" fmla="*/ 44688 h 128053"/>
              <a:gd name="connsiteX9" fmla="*/ 46262 w 158072"/>
              <a:gd name="connsiteY9" fmla="*/ 74047 h 128053"/>
              <a:gd name="connsiteX10" fmla="*/ 6952 w 158072"/>
              <a:gd name="connsiteY10" fmla="*/ 84331 h 128053"/>
              <a:gd name="connsiteX11" fmla="*/ -15 w 158072"/>
              <a:gd name="connsiteY11" fmla="*/ 82506 h 128053"/>
              <a:gd name="connsiteX12" fmla="*/ 25031 w 158072"/>
              <a:gd name="connsiteY12" fmla="*/ 118500 h 12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072" h="128053">
                <a:moveTo>
                  <a:pt x="25031" y="118500"/>
                </a:moveTo>
                <a:cubicBezTo>
                  <a:pt x="50392" y="123376"/>
                  <a:pt x="76052" y="126544"/>
                  <a:pt x="101828" y="127954"/>
                </a:cubicBezTo>
                <a:lnTo>
                  <a:pt x="113107" y="99923"/>
                </a:lnTo>
                <a:lnTo>
                  <a:pt x="134007" y="73384"/>
                </a:lnTo>
                <a:lnTo>
                  <a:pt x="134007" y="47840"/>
                </a:lnTo>
                <a:lnTo>
                  <a:pt x="146613" y="47840"/>
                </a:lnTo>
                <a:lnTo>
                  <a:pt x="158058" y="41205"/>
                </a:lnTo>
                <a:cubicBezTo>
                  <a:pt x="153248" y="20803"/>
                  <a:pt x="152584" y="236"/>
                  <a:pt x="148935" y="-96"/>
                </a:cubicBezTo>
                <a:cubicBezTo>
                  <a:pt x="145286" y="-428"/>
                  <a:pt x="119079" y="25447"/>
                  <a:pt x="109127" y="44688"/>
                </a:cubicBezTo>
                <a:cubicBezTo>
                  <a:pt x="95890" y="66135"/>
                  <a:pt x="71192" y="77663"/>
                  <a:pt x="46262" y="74047"/>
                </a:cubicBezTo>
                <a:cubicBezTo>
                  <a:pt x="32263" y="70481"/>
                  <a:pt x="17418" y="74362"/>
                  <a:pt x="6952" y="84331"/>
                </a:cubicBezTo>
                <a:cubicBezTo>
                  <a:pt x="5293" y="85658"/>
                  <a:pt x="2805" y="84331"/>
                  <a:pt x="-15" y="82506"/>
                </a:cubicBezTo>
                <a:cubicBezTo>
                  <a:pt x="3286" y="97318"/>
                  <a:pt x="12293" y="110256"/>
                  <a:pt x="25031" y="11850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7" name="Freeform: Shape 486">
            <a:extLst>
              <a:ext uri="{FF2B5EF4-FFF2-40B4-BE49-F238E27FC236}">
                <a16:creationId xmlns:a16="http://schemas.microsoft.com/office/drawing/2014/main" id="{111A2919-2F53-4BD6-850E-D3E64E477723}"/>
              </a:ext>
            </a:extLst>
          </p:cNvPr>
          <p:cNvSpPr/>
          <p:nvPr/>
        </p:nvSpPr>
        <p:spPr>
          <a:xfrm>
            <a:off x="6339665" y="3647598"/>
            <a:ext cx="259077" cy="247032"/>
          </a:xfrm>
          <a:custGeom>
            <a:avLst/>
            <a:gdLst>
              <a:gd name="connsiteX0" fmla="*/ 275160 w 326760"/>
              <a:gd name="connsiteY0" fmla="*/ 286715 h 317665"/>
              <a:gd name="connsiteX1" fmla="*/ 290255 w 326760"/>
              <a:gd name="connsiteY1" fmla="*/ 274606 h 317665"/>
              <a:gd name="connsiteX2" fmla="*/ 312315 w 326760"/>
              <a:gd name="connsiteY2" fmla="*/ 286880 h 317665"/>
              <a:gd name="connsiteX3" fmla="*/ 326746 w 326760"/>
              <a:gd name="connsiteY3" fmla="*/ 279084 h 317665"/>
              <a:gd name="connsiteX4" fmla="*/ 308003 w 326760"/>
              <a:gd name="connsiteY4" fmla="*/ 253043 h 317665"/>
              <a:gd name="connsiteX5" fmla="*/ 296226 w 326760"/>
              <a:gd name="connsiteY5" fmla="*/ 230651 h 317665"/>
              <a:gd name="connsiteX6" fmla="*/ 298880 w 326760"/>
              <a:gd name="connsiteY6" fmla="*/ 208425 h 317665"/>
              <a:gd name="connsiteX7" fmla="*/ 282293 w 326760"/>
              <a:gd name="connsiteY7" fmla="*/ 188686 h 317665"/>
              <a:gd name="connsiteX8" fmla="*/ 245470 w 326760"/>
              <a:gd name="connsiteY8" fmla="*/ 163806 h 317665"/>
              <a:gd name="connsiteX9" fmla="*/ 229713 w 326760"/>
              <a:gd name="connsiteY9" fmla="*/ 145395 h 317665"/>
              <a:gd name="connsiteX10" fmla="*/ 225898 w 326760"/>
              <a:gd name="connsiteY10" fmla="*/ 115207 h 317665"/>
              <a:gd name="connsiteX11" fmla="*/ 239001 w 326760"/>
              <a:gd name="connsiteY11" fmla="*/ 88999 h 317665"/>
              <a:gd name="connsiteX12" fmla="*/ 242816 w 326760"/>
              <a:gd name="connsiteY12" fmla="*/ 69261 h 317665"/>
              <a:gd name="connsiteX13" fmla="*/ 229713 w 326760"/>
              <a:gd name="connsiteY13" fmla="*/ 57485 h 317665"/>
              <a:gd name="connsiteX14" fmla="*/ 211467 w 326760"/>
              <a:gd name="connsiteY14" fmla="*/ 37746 h 317665"/>
              <a:gd name="connsiteX15" fmla="*/ 199691 w 326760"/>
              <a:gd name="connsiteY15" fmla="*/ 11539 h 317665"/>
              <a:gd name="connsiteX16" fmla="*/ 164527 w 326760"/>
              <a:gd name="connsiteY16" fmla="*/ 6065 h 317665"/>
              <a:gd name="connsiteX17" fmla="*/ 135002 w 326760"/>
              <a:gd name="connsiteY17" fmla="*/ 94 h 317665"/>
              <a:gd name="connsiteX18" fmla="*/ 120240 w 326760"/>
              <a:gd name="connsiteY18" fmla="*/ 11373 h 317665"/>
              <a:gd name="connsiteX19" fmla="*/ 120240 w 326760"/>
              <a:gd name="connsiteY19" fmla="*/ 11373 h 317665"/>
              <a:gd name="connsiteX20" fmla="*/ 100501 w 326760"/>
              <a:gd name="connsiteY20" fmla="*/ 25804 h 317665"/>
              <a:gd name="connsiteX21" fmla="*/ 79602 w 326760"/>
              <a:gd name="connsiteY21" fmla="*/ 42391 h 317665"/>
              <a:gd name="connsiteX22" fmla="*/ 82090 w 326760"/>
              <a:gd name="connsiteY22" fmla="*/ 69925 h 317665"/>
              <a:gd name="connsiteX23" fmla="*/ 79602 w 326760"/>
              <a:gd name="connsiteY23" fmla="*/ 96132 h 317665"/>
              <a:gd name="connsiteX24" fmla="*/ 71640 w 326760"/>
              <a:gd name="connsiteY24" fmla="*/ 115870 h 317665"/>
              <a:gd name="connsiteX25" fmla="*/ -15 w 326760"/>
              <a:gd name="connsiteY25" fmla="*/ 153522 h 317665"/>
              <a:gd name="connsiteX26" fmla="*/ 2805 w 326760"/>
              <a:gd name="connsiteY26" fmla="*/ 170109 h 317665"/>
              <a:gd name="connsiteX27" fmla="*/ 10435 w 326760"/>
              <a:gd name="connsiteY27" fmla="*/ 203283 h 317665"/>
              <a:gd name="connsiteX28" fmla="*/ 36310 w 326760"/>
              <a:gd name="connsiteY28" fmla="*/ 203283 h 317665"/>
              <a:gd name="connsiteX29" fmla="*/ 101828 w 326760"/>
              <a:gd name="connsiteY29" fmla="*/ 241432 h 317665"/>
              <a:gd name="connsiteX30" fmla="*/ 181943 w 326760"/>
              <a:gd name="connsiteY30" fmla="*/ 300482 h 317665"/>
              <a:gd name="connsiteX31" fmla="*/ 221253 w 326760"/>
              <a:gd name="connsiteY31" fmla="*/ 313585 h 317665"/>
              <a:gd name="connsiteX32" fmla="*/ 259735 w 326760"/>
              <a:gd name="connsiteY32" fmla="*/ 317566 h 317665"/>
              <a:gd name="connsiteX33" fmla="*/ 275160 w 326760"/>
              <a:gd name="connsiteY33" fmla="*/ 286715 h 31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6760" h="317665">
                <a:moveTo>
                  <a:pt x="275160" y="286715"/>
                </a:moveTo>
                <a:cubicBezTo>
                  <a:pt x="279307" y="282236"/>
                  <a:pt x="279971" y="276099"/>
                  <a:pt x="290255" y="274606"/>
                </a:cubicBezTo>
                <a:cubicBezTo>
                  <a:pt x="300538" y="273113"/>
                  <a:pt x="303358" y="278587"/>
                  <a:pt x="312315" y="286880"/>
                </a:cubicBezTo>
                <a:cubicBezTo>
                  <a:pt x="316478" y="283215"/>
                  <a:pt x="321405" y="280561"/>
                  <a:pt x="326746" y="279084"/>
                </a:cubicBezTo>
                <a:cubicBezTo>
                  <a:pt x="317955" y="269962"/>
                  <a:pt x="307173" y="259346"/>
                  <a:pt x="308003" y="253043"/>
                </a:cubicBezTo>
                <a:cubicBezTo>
                  <a:pt x="309329" y="242428"/>
                  <a:pt x="297553" y="236457"/>
                  <a:pt x="296226" y="230651"/>
                </a:cubicBezTo>
                <a:cubicBezTo>
                  <a:pt x="294899" y="224846"/>
                  <a:pt x="304022" y="214064"/>
                  <a:pt x="298880" y="208425"/>
                </a:cubicBezTo>
                <a:cubicBezTo>
                  <a:pt x="293738" y="202785"/>
                  <a:pt x="292245" y="190013"/>
                  <a:pt x="282293" y="188686"/>
                </a:cubicBezTo>
                <a:cubicBezTo>
                  <a:pt x="272341" y="187359"/>
                  <a:pt x="244143" y="172100"/>
                  <a:pt x="245470" y="163806"/>
                </a:cubicBezTo>
                <a:cubicBezTo>
                  <a:pt x="246797" y="155513"/>
                  <a:pt x="235021" y="147219"/>
                  <a:pt x="229713" y="145395"/>
                </a:cubicBezTo>
                <a:cubicBezTo>
                  <a:pt x="224405" y="143570"/>
                  <a:pt x="219263" y="119188"/>
                  <a:pt x="225898" y="115207"/>
                </a:cubicBezTo>
                <a:cubicBezTo>
                  <a:pt x="232533" y="111226"/>
                  <a:pt x="231040" y="88999"/>
                  <a:pt x="239001" y="88999"/>
                </a:cubicBezTo>
                <a:cubicBezTo>
                  <a:pt x="246963" y="88999"/>
                  <a:pt x="240329" y="77223"/>
                  <a:pt x="242816" y="69261"/>
                </a:cubicBezTo>
                <a:cubicBezTo>
                  <a:pt x="245304" y="61299"/>
                  <a:pt x="236347" y="57485"/>
                  <a:pt x="229713" y="57485"/>
                </a:cubicBezTo>
                <a:cubicBezTo>
                  <a:pt x="220125" y="55312"/>
                  <a:pt x="212877" y="47466"/>
                  <a:pt x="211467" y="37746"/>
                </a:cubicBezTo>
                <a:cubicBezTo>
                  <a:pt x="211467" y="28623"/>
                  <a:pt x="198364" y="15520"/>
                  <a:pt x="199691" y="11539"/>
                </a:cubicBezTo>
                <a:cubicBezTo>
                  <a:pt x="197368" y="28955"/>
                  <a:pt x="172322" y="2085"/>
                  <a:pt x="164527" y="6065"/>
                </a:cubicBezTo>
                <a:cubicBezTo>
                  <a:pt x="156731" y="10046"/>
                  <a:pt x="150759" y="-1731"/>
                  <a:pt x="135002" y="94"/>
                </a:cubicBezTo>
                <a:cubicBezTo>
                  <a:pt x="125050" y="1421"/>
                  <a:pt x="125381" y="6729"/>
                  <a:pt x="120240" y="11373"/>
                </a:cubicBezTo>
                <a:lnTo>
                  <a:pt x="120240" y="11373"/>
                </a:lnTo>
                <a:lnTo>
                  <a:pt x="100501" y="25804"/>
                </a:lnTo>
                <a:cubicBezTo>
                  <a:pt x="100501" y="25804"/>
                  <a:pt x="83914" y="31112"/>
                  <a:pt x="79602" y="42391"/>
                </a:cubicBezTo>
                <a:cubicBezTo>
                  <a:pt x="75289" y="53670"/>
                  <a:pt x="87398" y="63456"/>
                  <a:pt x="82090" y="69925"/>
                </a:cubicBezTo>
                <a:cubicBezTo>
                  <a:pt x="78142" y="78069"/>
                  <a:pt x="77247" y="87374"/>
                  <a:pt x="79602" y="96132"/>
                </a:cubicBezTo>
                <a:cubicBezTo>
                  <a:pt x="80929" y="101440"/>
                  <a:pt x="71640" y="115870"/>
                  <a:pt x="71640" y="115870"/>
                </a:cubicBezTo>
                <a:cubicBezTo>
                  <a:pt x="71640" y="115870"/>
                  <a:pt x="32661" y="136936"/>
                  <a:pt x="-15" y="153522"/>
                </a:cubicBezTo>
                <a:cubicBezTo>
                  <a:pt x="433" y="159129"/>
                  <a:pt x="1362" y="164669"/>
                  <a:pt x="2805" y="170109"/>
                </a:cubicBezTo>
                <a:cubicBezTo>
                  <a:pt x="4795" y="177408"/>
                  <a:pt x="7947" y="191340"/>
                  <a:pt x="10435" y="203283"/>
                </a:cubicBezTo>
                <a:cubicBezTo>
                  <a:pt x="19044" y="202619"/>
                  <a:pt x="27702" y="202619"/>
                  <a:pt x="36310" y="203283"/>
                </a:cubicBezTo>
                <a:cubicBezTo>
                  <a:pt x="48087" y="204610"/>
                  <a:pt x="91379" y="236457"/>
                  <a:pt x="101828" y="241432"/>
                </a:cubicBezTo>
                <a:cubicBezTo>
                  <a:pt x="129562" y="259678"/>
                  <a:pt x="156300" y="279400"/>
                  <a:pt x="181943" y="300482"/>
                </a:cubicBezTo>
                <a:cubicBezTo>
                  <a:pt x="193305" y="308941"/>
                  <a:pt x="207089" y="313519"/>
                  <a:pt x="221253" y="313585"/>
                </a:cubicBezTo>
                <a:cubicBezTo>
                  <a:pt x="225732" y="313585"/>
                  <a:pt x="244641" y="315742"/>
                  <a:pt x="259735" y="317566"/>
                </a:cubicBezTo>
                <a:cubicBezTo>
                  <a:pt x="263915" y="306818"/>
                  <a:pt x="269074" y="296501"/>
                  <a:pt x="275160" y="286715"/>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8" name="Freeform: Shape 487">
            <a:extLst>
              <a:ext uri="{FF2B5EF4-FFF2-40B4-BE49-F238E27FC236}">
                <a16:creationId xmlns:a16="http://schemas.microsoft.com/office/drawing/2014/main" id="{30912389-2A65-4ABD-9B53-E4269F895D0D}"/>
              </a:ext>
            </a:extLst>
          </p:cNvPr>
          <p:cNvSpPr/>
          <p:nvPr/>
        </p:nvSpPr>
        <p:spPr>
          <a:xfrm>
            <a:off x="6545875" y="3861096"/>
            <a:ext cx="51289" cy="46562"/>
          </a:xfrm>
          <a:custGeom>
            <a:avLst/>
            <a:gdLst>
              <a:gd name="connsiteX0" fmla="*/ 21714 w 64688"/>
              <a:gd name="connsiteY0" fmla="*/ 44018 h 59875"/>
              <a:gd name="connsiteX1" fmla="*/ 38301 w 64688"/>
              <a:gd name="connsiteY1" fmla="*/ 58449 h 59875"/>
              <a:gd name="connsiteX2" fmla="*/ 64674 w 64688"/>
              <a:gd name="connsiteY2" fmla="*/ 59776 h 59875"/>
              <a:gd name="connsiteX3" fmla="*/ 48087 w 64688"/>
              <a:gd name="connsiteY3" fmla="*/ 17977 h 59875"/>
              <a:gd name="connsiteX4" fmla="*/ 51072 w 64688"/>
              <a:gd name="connsiteY4" fmla="*/ 12338 h 59875"/>
              <a:gd name="connsiteX5" fmla="*/ 29012 w 64688"/>
              <a:gd name="connsiteY5" fmla="*/ 63 h 59875"/>
              <a:gd name="connsiteX6" fmla="*/ 13918 w 64688"/>
              <a:gd name="connsiteY6" fmla="*/ 12172 h 59875"/>
              <a:gd name="connsiteX7" fmla="*/ -15 w 64688"/>
              <a:gd name="connsiteY7" fmla="*/ 41531 h 5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 h="59875">
                <a:moveTo>
                  <a:pt x="21714" y="44018"/>
                </a:moveTo>
                <a:lnTo>
                  <a:pt x="38301" y="58449"/>
                </a:lnTo>
                <a:lnTo>
                  <a:pt x="64674" y="59776"/>
                </a:lnTo>
                <a:cubicBezTo>
                  <a:pt x="58188" y="46241"/>
                  <a:pt x="52648" y="32275"/>
                  <a:pt x="48087" y="17977"/>
                </a:cubicBezTo>
                <a:cubicBezTo>
                  <a:pt x="48286" y="15771"/>
                  <a:pt x="49364" y="13748"/>
                  <a:pt x="51072" y="12338"/>
                </a:cubicBezTo>
                <a:cubicBezTo>
                  <a:pt x="42115" y="4044"/>
                  <a:pt x="37139" y="-1098"/>
                  <a:pt x="29012" y="63"/>
                </a:cubicBezTo>
                <a:cubicBezTo>
                  <a:pt x="20884" y="1225"/>
                  <a:pt x="18065" y="7693"/>
                  <a:pt x="13918" y="12172"/>
                </a:cubicBezTo>
                <a:cubicBezTo>
                  <a:pt x="8427" y="21527"/>
                  <a:pt x="3767" y="31363"/>
                  <a:pt x="-15" y="4153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89" name="Freeform: Shape 488">
            <a:extLst>
              <a:ext uri="{FF2B5EF4-FFF2-40B4-BE49-F238E27FC236}">
                <a16:creationId xmlns:a16="http://schemas.microsoft.com/office/drawing/2014/main" id="{A1E79026-B412-4C7E-896C-219B09184A5E}"/>
              </a:ext>
            </a:extLst>
          </p:cNvPr>
          <p:cNvSpPr/>
          <p:nvPr/>
        </p:nvSpPr>
        <p:spPr>
          <a:xfrm>
            <a:off x="5204720" y="3209707"/>
            <a:ext cx="379811" cy="314392"/>
          </a:xfrm>
          <a:custGeom>
            <a:avLst/>
            <a:gdLst>
              <a:gd name="connsiteX0" fmla="*/ 422620 w 479036"/>
              <a:gd name="connsiteY0" fmla="*/ 92123 h 404285"/>
              <a:gd name="connsiteX1" fmla="*/ 404872 w 479036"/>
              <a:gd name="connsiteY1" fmla="*/ 86152 h 404285"/>
              <a:gd name="connsiteX2" fmla="*/ 383474 w 479036"/>
              <a:gd name="connsiteY2" fmla="*/ 75868 h 404285"/>
              <a:gd name="connsiteX3" fmla="*/ 348974 w 479036"/>
              <a:gd name="connsiteY3" fmla="*/ 69897 h 404285"/>
              <a:gd name="connsiteX4" fmla="*/ 332387 w 479036"/>
              <a:gd name="connsiteY4" fmla="*/ 58950 h 404285"/>
              <a:gd name="connsiteX5" fmla="*/ 322767 w 479036"/>
              <a:gd name="connsiteY5" fmla="*/ 43358 h 404285"/>
              <a:gd name="connsiteX6" fmla="*/ 308170 w 479036"/>
              <a:gd name="connsiteY6" fmla="*/ 50822 h 404285"/>
              <a:gd name="connsiteX7" fmla="*/ 298550 w 479036"/>
              <a:gd name="connsiteY7" fmla="*/ 39709 h 404285"/>
              <a:gd name="connsiteX8" fmla="*/ 277816 w 479036"/>
              <a:gd name="connsiteY8" fmla="*/ 27269 h 404285"/>
              <a:gd name="connsiteX9" fmla="*/ 261230 w 479036"/>
              <a:gd name="connsiteY9" fmla="*/ 16985 h 404285"/>
              <a:gd name="connsiteX10" fmla="*/ 249453 w 479036"/>
              <a:gd name="connsiteY10" fmla="*/ 4379 h 404285"/>
              <a:gd name="connsiteX11" fmla="*/ 245140 w 479036"/>
              <a:gd name="connsiteY11" fmla="*/ -100 h 404285"/>
              <a:gd name="connsiteX12" fmla="*/ 237676 w 479036"/>
              <a:gd name="connsiteY12" fmla="*/ -100 h 404285"/>
              <a:gd name="connsiteX13" fmla="*/ 217606 w 479036"/>
              <a:gd name="connsiteY13" fmla="*/ 28430 h 404285"/>
              <a:gd name="connsiteX14" fmla="*/ 183106 w 479036"/>
              <a:gd name="connsiteY14" fmla="*/ 51486 h 404285"/>
              <a:gd name="connsiteX15" fmla="*/ 161542 w 479036"/>
              <a:gd name="connsiteY15" fmla="*/ 75039 h 404285"/>
              <a:gd name="connsiteX16" fmla="*/ 119744 w 479036"/>
              <a:gd name="connsiteY16" fmla="*/ 60774 h 404285"/>
              <a:gd name="connsiteX17" fmla="*/ 100669 w 479036"/>
              <a:gd name="connsiteY17" fmla="*/ 73546 h 404285"/>
              <a:gd name="connsiteX18" fmla="*/ 104981 w 479036"/>
              <a:gd name="connsiteY18" fmla="*/ 108876 h 404285"/>
              <a:gd name="connsiteX19" fmla="*/ 76120 w 479036"/>
              <a:gd name="connsiteY19" fmla="*/ 107383 h 404285"/>
              <a:gd name="connsiteX20" fmla="*/ 55884 w 479036"/>
              <a:gd name="connsiteY20" fmla="*/ 97597 h 404285"/>
              <a:gd name="connsiteX21" fmla="*/ 22711 w 479036"/>
              <a:gd name="connsiteY21" fmla="*/ 101080 h 404285"/>
              <a:gd name="connsiteX22" fmla="*/ 1977 w 479036"/>
              <a:gd name="connsiteY22" fmla="*/ 117667 h 404285"/>
              <a:gd name="connsiteX23" fmla="*/ 5958 w 479036"/>
              <a:gd name="connsiteY23" fmla="*/ 138235 h 404285"/>
              <a:gd name="connsiteX24" fmla="*/ 50245 w 479036"/>
              <a:gd name="connsiteY24" fmla="*/ 152499 h 404285"/>
              <a:gd name="connsiteX25" fmla="*/ 79106 w 479036"/>
              <a:gd name="connsiteY25" fmla="*/ 160461 h 404285"/>
              <a:gd name="connsiteX26" fmla="*/ 89887 w 479036"/>
              <a:gd name="connsiteY26" fmla="*/ 175057 h 404285"/>
              <a:gd name="connsiteX27" fmla="*/ 116095 w 479036"/>
              <a:gd name="connsiteY27" fmla="*/ 203587 h 404285"/>
              <a:gd name="connsiteX28" fmla="*/ 124886 w 479036"/>
              <a:gd name="connsiteY28" fmla="*/ 229628 h 404285"/>
              <a:gd name="connsiteX29" fmla="*/ 119910 w 479036"/>
              <a:gd name="connsiteY29" fmla="*/ 269437 h 404285"/>
              <a:gd name="connsiteX30" fmla="*/ 104152 w 479036"/>
              <a:gd name="connsiteY30" fmla="*/ 329315 h 404285"/>
              <a:gd name="connsiteX31" fmla="*/ 102327 w 479036"/>
              <a:gd name="connsiteY31" fmla="*/ 329315 h 404285"/>
              <a:gd name="connsiteX32" fmla="*/ 121071 w 479036"/>
              <a:gd name="connsiteY32" fmla="*/ 338604 h 404285"/>
              <a:gd name="connsiteX33" fmla="*/ 154244 w 479036"/>
              <a:gd name="connsiteY33" fmla="*/ 354195 h 404285"/>
              <a:gd name="connsiteX34" fmla="*/ 180617 w 479036"/>
              <a:gd name="connsiteY34" fmla="*/ 351707 h 404285"/>
              <a:gd name="connsiteX35" fmla="*/ 196043 w 479036"/>
              <a:gd name="connsiteY35" fmla="*/ 355356 h 404285"/>
              <a:gd name="connsiteX36" fmla="*/ 235520 w 479036"/>
              <a:gd name="connsiteY36" fmla="*/ 364977 h 404285"/>
              <a:gd name="connsiteX37" fmla="*/ 269689 w 479036"/>
              <a:gd name="connsiteY37" fmla="*/ 365972 h 404285"/>
              <a:gd name="connsiteX38" fmla="*/ 267698 w 479036"/>
              <a:gd name="connsiteY38" fmla="*/ 357347 h 404285"/>
              <a:gd name="connsiteX39" fmla="*/ 295232 w 479036"/>
              <a:gd name="connsiteY39" fmla="*/ 324173 h 404285"/>
              <a:gd name="connsiteX40" fmla="*/ 356106 w 479036"/>
              <a:gd name="connsiteY40" fmla="*/ 337442 h 404285"/>
              <a:gd name="connsiteX41" fmla="*/ 394422 w 479036"/>
              <a:gd name="connsiteY41" fmla="*/ 324671 h 404285"/>
              <a:gd name="connsiteX42" fmla="*/ 415321 w 479036"/>
              <a:gd name="connsiteY42" fmla="*/ 311069 h 404285"/>
              <a:gd name="connsiteX43" fmla="*/ 418970 w 479036"/>
              <a:gd name="connsiteY43" fmla="*/ 299790 h 404285"/>
              <a:gd name="connsiteX44" fmla="*/ 403544 w 479036"/>
              <a:gd name="connsiteY44" fmla="*/ 294648 h 404285"/>
              <a:gd name="connsiteX45" fmla="*/ 393741 w 479036"/>
              <a:gd name="connsiteY45" fmla="*/ 284215 h 404285"/>
              <a:gd name="connsiteX46" fmla="*/ 396081 w 479036"/>
              <a:gd name="connsiteY46" fmla="*/ 278061 h 404285"/>
              <a:gd name="connsiteX47" fmla="*/ 386626 w 479036"/>
              <a:gd name="connsiteY47" fmla="*/ 261475 h 404285"/>
              <a:gd name="connsiteX48" fmla="*/ 393261 w 479036"/>
              <a:gd name="connsiteY48" fmla="*/ 253347 h 404285"/>
              <a:gd name="connsiteX49" fmla="*/ 399895 w 479036"/>
              <a:gd name="connsiteY49" fmla="*/ 240078 h 404285"/>
              <a:gd name="connsiteX50" fmla="*/ 396081 w 479036"/>
              <a:gd name="connsiteY50" fmla="*/ 223491 h 404285"/>
              <a:gd name="connsiteX51" fmla="*/ 390275 w 479036"/>
              <a:gd name="connsiteY51" fmla="*/ 206904 h 404285"/>
              <a:gd name="connsiteX52" fmla="*/ 375513 w 479036"/>
              <a:gd name="connsiteY52" fmla="*/ 205411 h 404285"/>
              <a:gd name="connsiteX53" fmla="*/ 371034 w 479036"/>
              <a:gd name="connsiteY53" fmla="*/ 194298 h 404285"/>
              <a:gd name="connsiteX54" fmla="*/ 392431 w 479036"/>
              <a:gd name="connsiteY54" fmla="*/ 167759 h 404285"/>
              <a:gd name="connsiteX55" fmla="*/ 409018 w 479036"/>
              <a:gd name="connsiteY55" fmla="*/ 153826 h 404285"/>
              <a:gd name="connsiteX56" fmla="*/ 416482 w 479036"/>
              <a:gd name="connsiteY56" fmla="*/ 128780 h 404285"/>
              <a:gd name="connsiteX57" fmla="*/ 429752 w 479036"/>
              <a:gd name="connsiteY57" fmla="*/ 101412 h 404285"/>
              <a:gd name="connsiteX58" fmla="*/ 422620 w 479036"/>
              <a:gd name="connsiteY58" fmla="*/ 92123 h 404285"/>
              <a:gd name="connsiteX59" fmla="*/ 475200 w 479036"/>
              <a:gd name="connsiteY59" fmla="*/ 342087 h 404285"/>
              <a:gd name="connsiteX60" fmla="*/ 454466 w 479036"/>
              <a:gd name="connsiteY60" fmla="*/ 359835 h 404285"/>
              <a:gd name="connsiteX61" fmla="*/ 468233 w 479036"/>
              <a:gd name="connsiteY61" fmla="*/ 404121 h 404285"/>
              <a:gd name="connsiteX62" fmla="*/ 475200 w 479036"/>
              <a:gd name="connsiteY62" fmla="*/ 342087 h 40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79036" h="404285">
                <a:moveTo>
                  <a:pt x="422620" y="92123"/>
                </a:moveTo>
                <a:cubicBezTo>
                  <a:pt x="418141" y="92123"/>
                  <a:pt x="414492" y="86152"/>
                  <a:pt x="404872" y="86152"/>
                </a:cubicBezTo>
                <a:cubicBezTo>
                  <a:pt x="396512" y="86285"/>
                  <a:pt x="388583" y="82470"/>
                  <a:pt x="383474" y="75868"/>
                </a:cubicBezTo>
                <a:cubicBezTo>
                  <a:pt x="379162" y="69897"/>
                  <a:pt x="356272" y="68570"/>
                  <a:pt x="348974" y="69897"/>
                </a:cubicBezTo>
                <a:cubicBezTo>
                  <a:pt x="341676" y="71224"/>
                  <a:pt x="339353" y="57457"/>
                  <a:pt x="332387" y="58950"/>
                </a:cubicBezTo>
                <a:cubicBezTo>
                  <a:pt x="325420" y="60442"/>
                  <a:pt x="322767" y="49329"/>
                  <a:pt x="322767" y="43358"/>
                </a:cubicBezTo>
                <a:cubicBezTo>
                  <a:pt x="322767" y="37387"/>
                  <a:pt x="314805" y="47836"/>
                  <a:pt x="308170" y="50822"/>
                </a:cubicBezTo>
                <a:cubicBezTo>
                  <a:pt x="301535" y="53808"/>
                  <a:pt x="299213" y="44187"/>
                  <a:pt x="298550" y="39709"/>
                </a:cubicBezTo>
                <a:cubicBezTo>
                  <a:pt x="297886" y="35230"/>
                  <a:pt x="284451" y="30918"/>
                  <a:pt x="277816" y="27269"/>
                </a:cubicBezTo>
                <a:cubicBezTo>
                  <a:pt x="271182" y="23620"/>
                  <a:pt x="263883" y="11677"/>
                  <a:pt x="261230" y="16985"/>
                </a:cubicBezTo>
                <a:cubicBezTo>
                  <a:pt x="258576" y="22293"/>
                  <a:pt x="250282" y="9521"/>
                  <a:pt x="249453" y="4379"/>
                </a:cubicBezTo>
                <a:cubicBezTo>
                  <a:pt x="248623" y="-763"/>
                  <a:pt x="246633" y="2057"/>
                  <a:pt x="245140" y="-100"/>
                </a:cubicBezTo>
                <a:cubicBezTo>
                  <a:pt x="242669" y="232"/>
                  <a:pt x="240148" y="232"/>
                  <a:pt x="237676" y="-100"/>
                </a:cubicBezTo>
                <a:cubicBezTo>
                  <a:pt x="225899" y="-100"/>
                  <a:pt x="215616" y="8691"/>
                  <a:pt x="217606" y="28430"/>
                </a:cubicBezTo>
                <a:cubicBezTo>
                  <a:pt x="219596" y="48168"/>
                  <a:pt x="203342" y="49993"/>
                  <a:pt x="183106" y="51486"/>
                </a:cubicBezTo>
                <a:cubicBezTo>
                  <a:pt x="162870" y="52978"/>
                  <a:pt x="169836" y="68072"/>
                  <a:pt x="161542" y="75039"/>
                </a:cubicBezTo>
                <a:cubicBezTo>
                  <a:pt x="146017" y="79019"/>
                  <a:pt x="129596" y="73413"/>
                  <a:pt x="119744" y="60774"/>
                </a:cubicBezTo>
                <a:cubicBezTo>
                  <a:pt x="115763" y="49993"/>
                  <a:pt x="89390" y="60774"/>
                  <a:pt x="100669" y="73546"/>
                </a:cubicBezTo>
                <a:cubicBezTo>
                  <a:pt x="111948" y="86318"/>
                  <a:pt x="111450" y="104066"/>
                  <a:pt x="104981" y="108876"/>
                </a:cubicBezTo>
                <a:cubicBezTo>
                  <a:pt x="98513" y="113686"/>
                  <a:pt x="84911" y="101080"/>
                  <a:pt x="76120" y="107383"/>
                </a:cubicBezTo>
                <a:cubicBezTo>
                  <a:pt x="67329" y="113686"/>
                  <a:pt x="66666" y="101578"/>
                  <a:pt x="55884" y="97597"/>
                </a:cubicBezTo>
                <a:cubicBezTo>
                  <a:pt x="45103" y="93616"/>
                  <a:pt x="40624" y="102573"/>
                  <a:pt x="22711" y="101080"/>
                </a:cubicBezTo>
                <a:cubicBezTo>
                  <a:pt x="4797" y="99587"/>
                  <a:pt x="-4326" y="109373"/>
                  <a:pt x="1977" y="117667"/>
                </a:cubicBezTo>
                <a:cubicBezTo>
                  <a:pt x="8280" y="125960"/>
                  <a:pt x="982" y="131932"/>
                  <a:pt x="5958" y="138235"/>
                </a:cubicBezTo>
                <a:cubicBezTo>
                  <a:pt x="10934" y="144538"/>
                  <a:pt x="33492" y="143708"/>
                  <a:pt x="50245" y="152499"/>
                </a:cubicBezTo>
                <a:cubicBezTo>
                  <a:pt x="66998" y="161290"/>
                  <a:pt x="70813" y="153992"/>
                  <a:pt x="79106" y="160461"/>
                </a:cubicBezTo>
                <a:cubicBezTo>
                  <a:pt x="87399" y="166930"/>
                  <a:pt x="89556" y="162783"/>
                  <a:pt x="89887" y="175057"/>
                </a:cubicBezTo>
                <a:cubicBezTo>
                  <a:pt x="91579" y="189206"/>
                  <a:pt x="102128" y="200701"/>
                  <a:pt x="116095" y="203587"/>
                </a:cubicBezTo>
                <a:cubicBezTo>
                  <a:pt x="132682" y="208065"/>
                  <a:pt x="119910" y="218847"/>
                  <a:pt x="124886" y="229628"/>
                </a:cubicBezTo>
                <a:cubicBezTo>
                  <a:pt x="129862" y="240410"/>
                  <a:pt x="117421" y="256167"/>
                  <a:pt x="119910" y="269437"/>
                </a:cubicBezTo>
                <a:cubicBezTo>
                  <a:pt x="122398" y="282706"/>
                  <a:pt x="112114" y="325500"/>
                  <a:pt x="104152" y="329315"/>
                </a:cubicBezTo>
                <a:cubicBezTo>
                  <a:pt x="103539" y="329398"/>
                  <a:pt x="102941" y="329398"/>
                  <a:pt x="102327" y="329315"/>
                </a:cubicBezTo>
                <a:cubicBezTo>
                  <a:pt x="109626" y="332964"/>
                  <a:pt x="117421" y="336115"/>
                  <a:pt x="121071" y="338604"/>
                </a:cubicBezTo>
                <a:cubicBezTo>
                  <a:pt x="128369" y="343414"/>
                  <a:pt x="143794" y="348224"/>
                  <a:pt x="154244" y="354195"/>
                </a:cubicBezTo>
                <a:cubicBezTo>
                  <a:pt x="164694" y="360166"/>
                  <a:pt x="180617" y="359005"/>
                  <a:pt x="180617" y="351707"/>
                </a:cubicBezTo>
                <a:cubicBezTo>
                  <a:pt x="180617" y="344409"/>
                  <a:pt x="190072" y="349385"/>
                  <a:pt x="196043" y="355356"/>
                </a:cubicBezTo>
                <a:cubicBezTo>
                  <a:pt x="202014" y="361327"/>
                  <a:pt x="224738" y="362489"/>
                  <a:pt x="235520" y="364977"/>
                </a:cubicBezTo>
                <a:cubicBezTo>
                  <a:pt x="246865" y="366171"/>
                  <a:pt x="258294" y="366502"/>
                  <a:pt x="269689" y="365972"/>
                </a:cubicBezTo>
                <a:cubicBezTo>
                  <a:pt x="269224" y="363053"/>
                  <a:pt x="268561" y="360166"/>
                  <a:pt x="267698" y="357347"/>
                </a:cubicBezTo>
                <a:cubicBezTo>
                  <a:pt x="261727" y="338272"/>
                  <a:pt x="278978" y="326827"/>
                  <a:pt x="295232" y="324173"/>
                </a:cubicBezTo>
                <a:cubicBezTo>
                  <a:pt x="316281" y="323775"/>
                  <a:pt x="337131" y="328320"/>
                  <a:pt x="356106" y="337442"/>
                </a:cubicBezTo>
                <a:cubicBezTo>
                  <a:pt x="365395" y="343248"/>
                  <a:pt x="378166" y="341755"/>
                  <a:pt x="394422" y="324671"/>
                </a:cubicBezTo>
                <a:cubicBezTo>
                  <a:pt x="399879" y="318168"/>
                  <a:pt x="407161" y="313425"/>
                  <a:pt x="415321" y="311069"/>
                </a:cubicBezTo>
                <a:cubicBezTo>
                  <a:pt x="416035" y="307171"/>
                  <a:pt x="417262" y="303373"/>
                  <a:pt x="418970" y="299790"/>
                </a:cubicBezTo>
                <a:cubicBezTo>
                  <a:pt x="421126" y="293985"/>
                  <a:pt x="410843" y="295312"/>
                  <a:pt x="403544" y="294648"/>
                </a:cubicBezTo>
                <a:cubicBezTo>
                  <a:pt x="397955" y="294483"/>
                  <a:pt x="393576" y="289805"/>
                  <a:pt x="393741" y="284215"/>
                </a:cubicBezTo>
                <a:cubicBezTo>
                  <a:pt x="393808" y="281959"/>
                  <a:pt x="394637" y="279803"/>
                  <a:pt x="396081" y="278061"/>
                </a:cubicBezTo>
                <a:cubicBezTo>
                  <a:pt x="401388" y="269934"/>
                  <a:pt x="391768" y="269270"/>
                  <a:pt x="386626" y="261475"/>
                </a:cubicBezTo>
                <a:cubicBezTo>
                  <a:pt x="381484" y="253679"/>
                  <a:pt x="388782" y="255669"/>
                  <a:pt x="393261" y="253347"/>
                </a:cubicBezTo>
                <a:cubicBezTo>
                  <a:pt x="397739" y="251025"/>
                  <a:pt x="403544" y="242400"/>
                  <a:pt x="399895" y="240078"/>
                </a:cubicBezTo>
                <a:cubicBezTo>
                  <a:pt x="396246" y="237756"/>
                  <a:pt x="393261" y="232779"/>
                  <a:pt x="396081" y="223491"/>
                </a:cubicBezTo>
                <a:cubicBezTo>
                  <a:pt x="398900" y="214202"/>
                  <a:pt x="390275" y="214036"/>
                  <a:pt x="390275" y="206904"/>
                </a:cubicBezTo>
                <a:cubicBezTo>
                  <a:pt x="390275" y="199772"/>
                  <a:pt x="382148" y="197284"/>
                  <a:pt x="375513" y="205411"/>
                </a:cubicBezTo>
                <a:cubicBezTo>
                  <a:pt x="368878" y="213539"/>
                  <a:pt x="366722" y="207567"/>
                  <a:pt x="371034" y="194298"/>
                </a:cubicBezTo>
                <a:cubicBezTo>
                  <a:pt x="375347" y="181029"/>
                  <a:pt x="390939" y="175223"/>
                  <a:pt x="392431" y="167759"/>
                </a:cubicBezTo>
                <a:cubicBezTo>
                  <a:pt x="394654" y="160196"/>
                  <a:pt x="401189" y="154705"/>
                  <a:pt x="409018" y="153826"/>
                </a:cubicBezTo>
                <a:cubicBezTo>
                  <a:pt x="415653" y="153826"/>
                  <a:pt x="414160" y="138235"/>
                  <a:pt x="416482" y="128780"/>
                </a:cubicBezTo>
                <a:cubicBezTo>
                  <a:pt x="417428" y="118347"/>
                  <a:pt x="422155" y="108627"/>
                  <a:pt x="429752" y="101412"/>
                </a:cubicBezTo>
                <a:cubicBezTo>
                  <a:pt x="438874" y="95109"/>
                  <a:pt x="426932" y="91294"/>
                  <a:pt x="422620" y="92123"/>
                </a:cubicBezTo>
                <a:close/>
                <a:moveTo>
                  <a:pt x="475200" y="342087"/>
                </a:moveTo>
                <a:cubicBezTo>
                  <a:pt x="469726" y="342087"/>
                  <a:pt x="468233" y="351375"/>
                  <a:pt x="454466" y="359835"/>
                </a:cubicBezTo>
                <a:cubicBezTo>
                  <a:pt x="440699" y="368294"/>
                  <a:pt x="454466" y="405946"/>
                  <a:pt x="468233" y="404121"/>
                </a:cubicBezTo>
                <a:cubicBezTo>
                  <a:pt x="482000" y="402297"/>
                  <a:pt x="480507" y="342584"/>
                  <a:pt x="475200" y="34208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0" name="Freeform: Shape 489">
            <a:extLst>
              <a:ext uri="{FF2B5EF4-FFF2-40B4-BE49-F238E27FC236}">
                <a16:creationId xmlns:a16="http://schemas.microsoft.com/office/drawing/2014/main" id="{30E3974E-A7EE-49BE-8C85-23B4E8D7DAC7}"/>
              </a:ext>
            </a:extLst>
          </p:cNvPr>
          <p:cNvSpPr/>
          <p:nvPr/>
        </p:nvSpPr>
        <p:spPr>
          <a:xfrm>
            <a:off x="2958377" y="4250761"/>
            <a:ext cx="160707" cy="82554"/>
          </a:xfrm>
          <a:custGeom>
            <a:avLst/>
            <a:gdLst>
              <a:gd name="connsiteX0" fmla="*/ 84910 w 202691"/>
              <a:gd name="connsiteY0" fmla="*/ 94284 h 106159"/>
              <a:gd name="connsiteX1" fmla="*/ 95525 w 202691"/>
              <a:gd name="connsiteY1" fmla="*/ 73550 h 106159"/>
              <a:gd name="connsiteX2" fmla="*/ 131850 w 202691"/>
              <a:gd name="connsiteY2" fmla="*/ 57959 h 106159"/>
              <a:gd name="connsiteX3" fmla="*/ 163863 w 202691"/>
              <a:gd name="connsiteY3" fmla="*/ 50826 h 106159"/>
              <a:gd name="connsiteX4" fmla="*/ 202676 w 202691"/>
              <a:gd name="connsiteY4" fmla="*/ 35234 h 106159"/>
              <a:gd name="connsiteX5" fmla="*/ 165687 w 202691"/>
              <a:gd name="connsiteY5" fmla="*/ 9193 h 106159"/>
              <a:gd name="connsiteX6" fmla="*/ 95027 w 202691"/>
              <a:gd name="connsiteY6" fmla="*/ 7701 h 106159"/>
              <a:gd name="connsiteX7" fmla="*/ 32993 w 202691"/>
              <a:gd name="connsiteY7" fmla="*/ 11350 h 106159"/>
              <a:gd name="connsiteX8" fmla="*/ 32993 w 202691"/>
              <a:gd name="connsiteY8" fmla="*/ 11350 h 106159"/>
              <a:gd name="connsiteX9" fmla="*/ 15079 w 202691"/>
              <a:gd name="connsiteY9" fmla="*/ 29927 h 106159"/>
              <a:gd name="connsiteX10" fmla="*/ -15 w 202691"/>
              <a:gd name="connsiteY10" fmla="*/ 55470 h 106159"/>
              <a:gd name="connsiteX11" fmla="*/ 14415 w 202691"/>
              <a:gd name="connsiteY11" fmla="*/ 62603 h 106159"/>
              <a:gd name="connsiteX12" fmla="*/ 50575 w 202691"/>
              <a:gd name="connsiteY12" fmla="*/ 71892 h 106159"/>
              <a:gd name="connsiteX13" fmla="*/ 50575 w 202691"/>
              <a:gd name="connsiteY13" fmla="*/ 93620 h 106159"/>
              <a:gd name="connsiteX14" fmla="*/ 60361 w 202691"/>
              <a:gd name="connsiteY14" fmla="*/ 93620 h 106159"/>
              <a:gd name="connsiteX15" fmla="*/ 63347 w 202691"/>
              <a:gd name="connsiteY15" fmla="*/ 106060 h 106159"/>
              <a:gd name="connsiteX16" fmla="*/ 75787 w 202691"/>
              <a:gd name="connsiteY16" fmla="*/ 103240 h 106159"/>
              <a:gd name="connsiteX17" fmla="*/ 84910 w 202691"/>
              <a:gd name="connsiteY17" fmla="*/ 94284 h 10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2691" h="106159">
                <a:moveTo>
                  <a:pt x="84910" y="94284"/>
                </a:moveTo>
                <a:cubicBezTo>
                  <a:pt x="86236" y="91464"/>
                  <a:pt x="76284" y="75043"/>
                  <a:pt x="95525" y="73550"/>
                </a:cubicBezTo>
                <a:cubicBezTo>
                  <a:pt x="114766" y="72057"/>
                  <a:pt x="128699" y="70067"/>
                  <a:pt x="131850" y="57959"/>
                </a:cubicBezTo>
                <a:cubicBezTo>
                  <a:pt x="135002" y="45850"/>
                  <a:pt x="157394" y="51656"/>
                  <a:pt x="163863" y="50826"/>
                </a:cubicBezTo>
                <a:cubicBezTo>
                  <a:pt x="170332" y="49997"/>
                  <a:pt x="186089" y="34239"/>
                  <a:pt x="202676" y="35234"/>
                </a:cubicBezTo>
                <a:cubicBezTo>
                  <a:pt x="202676" y="18647"/>
                  <a:pt x="180947" y="24287"/>
                  <a:pt x="165687" y="9193"/>
                </a:cubicBezTo>
                <a:cubicBezTo>
                  <a:pt x="150427" y="-5901"/>
                  <a:pt x="114102" y="236"/>
                  <a:pt x="95027" y="7701"/>
                </a:cubicBezTo>
                <a:cubicBezTo>
                  <a:pt x="75952" y="15164"/>
                  <a:pt x="53726" y="-427"/>
                  <a:pt x="32993" y="11350"/>
                </a:cubicBezTo>
                <a:lnTo>
                  <a:pt x="32993" y="11350"/>
                </a:lnTo>
                <a:cubicBezTo>
                  <a:pt x="27735" y="18183"/>
                  <a:pt x="21714" y="24420"/>
                  <a:pt x="15079" y="29927"/>
                </a:cubicBezTo>
                <a:cubicBezTo>
                  <a:pt x="1146" y="41206"/>
                  <a:pt x="4961" y="52319"/>
                  <a:pt x="-15" y="55470"/>
                </a:cubicBezTo>
                <a:cubicBezTo>
                  <a:pt x="5044" y="57312"/>
                  <a:pt x="9887" y="59700"/>
                  <a:pt x="14415" y="62603"/>
                </a:cubicBezTo>
                <a:cubicBezTo>
                  <a:pt x="30007" y="73218"/>
                  <a:pt x="44935" y="64096"/>
                  <a:pt x="50575" y="71892"/>
                </a:cubicBezTo>
                <a:cubicBezTo>
                  <a:pt x="52416" y="79024"/>
                  <a:pt x="52416" y="86488"/>
                  <a:pt x="50575" y="93620"/>
                </a:cubicBezTo>
                <a:cubicBezTo>
                  <a:pt x="53395" y="91298"/>
                  <a:pt x="55551" y="89474"/>
                  <a:pt x="60361" y="93620"/>
                </a:cubicBezTo>
                <a:cubicBezTo>
                  <a:pt x="63712" y="96821"/>
                  <a:pt x="64889" y="101681"/>
                  <a:pt x="63347" y="106060"/>
                </a:cubicBezTo>
                <a:lnTo>
                  <a:pt x="75787" y="103240"/>
                </a:lnTo>
                <a:cubicBezTo>
                  <a:pt x="79154" y="100603"/>
                  <a:pt x="82206" y="97601"/>
                  <a:pt x="84910" y="9428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1" name="Freeform: Shape 490">
            <a:extLst>
              <a:ext uri="{FF2B5EF4-FFF2-40B4-BE49-F238E27FC236}">
                <a16:creationId xmlns:a16="http://schemas.microsoft.com/office/drawing/2014/main" id="{77F7DBCF-37DA-409C-ACA3-A38D794694DE}"/>
              </a:ext>
            </a:extLst>
          </p:cNvPr>
          <p:cNvSpPr/>
          <p:nvPr/>
        </p:nvSpPr>
        <p:spPr>
          <a:xfrm>
            <a:off x="2871579" y="4203297"/>
            <a:ext cx="112442" cy="106543"/>
          </a:xfrm>
          <a:custGeom>
            <a:avLst/>
            <a:gdLst>
              <a:gd name="connsiteX0" fmla="*/ 123889 w 141817"/>
              <a:gd name="connsiteY0" fmla="*/ 91294 h 137007"/>
              <a:gd name="connsiteX1" fmla="*/ 141802 w 141817"/>
              <a:gd name="connsiteY1" fmla="*/ 72717 h 137007"/>
              <a:gd name="connsiteX2" fmla="*/ 128367 w 141817"/>
              <a:gd name="connsiteY2" fmla="*/ 64921 h 137007"/>
              <a:gd name="connsiteX3" fmla="*/ 111780 w 141817"/>
              <a:gd name="connsiteY3" fmla="*/ 67077 h 137007"/>
              <a:gd name="connsiteX4" fmla="*/ 113439 w 141817"/>
              <a:gd name="connsiteY4" fmla="*/ -100 h 137007"/>
              <a:gd name="connsiteX5" fmla="*/ 57707 w 141817"/>
              <a:gd name="connsiteY5" fmla="*/ -100 h 137007"/>
              <a:gd name="connsiteX6" fmla="*/ 47092 w 141817"/>
              <a:gd name="connsiteY6" fmla="*/ 24781 h 137007"/>
              <a:gd name="connsiteX7" fmla="*/ 71308 w 141817"/>
              <a:gd name="connsiteY7" fmla="*/ 56794 h 137007"/>
              <a:gd name="connsiteX8" fmla="*/ 27187 w 141817"/>
              <a:gd name="connsiteY8" fmla="*/ 61770 h 137007"/>
              <a:gd name="connsiteX9" fmla="*/ -15 w 141817"/>
              <a:gd name="connsiteY9" fmla="*/ 97597 h 137007"/>
              <a:gd name="connsiteX10" fmla="*/ 36476 w 141817"/>
              <a:gd name="connsiteY10" fmla="*/ 128780 h 137007"/>
              <a:gd name="connsiteX11" fmla="*/ 82753 w 141817"/>
              <a:gd name="connsiteY11" fmla="*/ 136908 h 137007"/>
              <a:gd name="connsiteX12" fmla="*/ 83914 w 141817"/>
              <a:gd name="connsiteY12" fmla="*/ 136908 h 137007"/>
              <a:gd name="connsiteX13" fmla="*/ 107468 w 141817"/>
              <a:gd name="connsiteY13" fmla="*/ 117170 h 137007"/>
              <a:gd name="connsiteX14" fmla="*/ 123889 w 141817"/>
              <a:gd name="connsiteY14" fmla="*/ 91294 h 137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817" h="137007">
                <a:moveTo>
                  <a:pt x="123889" y="91294"/>
                </a:moveTo>
                <a:cubicBezTo>
                  <a:pt x="130523" y="85787"/>
                  <a:pt x="136544" y="79550"/>
                  <a:pt x="141802" y="72717"/>
                </a:cubicBezTo>
                <a:cubicBezTo>
                  <a:pt x="130192" y="79020"/>
                  <a:pt x="126708" y="72717"/>
                  <a:pt x="128367" y="64921"/>
                </a:cubicBezTo>
                <a:lnTo>
                  <a:pt x="111780" y="67077"/>
                </a:lnTo>
                <a:lnTo>
                  <a:pt x="113439" y="-100"/>
                </a:lnTo>
                <a:cubicBezTo>
                  <a:pt x="100169" y="-100"/>
                  <a:pt x="62517" y="-100"/>
                  <a:pt x="57707" y="-100"/>
                </a:cubicBezTo>
                <a:cubicBezTo>
                  <a:pt x="52897" y="-100"/>
                  <a:pt x="50575" y="22625"/>
                  <a:pt x="47092" y="24781"/>
                </a:cubicBezTo>
                <a:cubicBezTo>
                  <a:pt x="43608" y="26937"/>
                  <a:pt x="74792" y="47505"/>
                  <a:pt x="71308" y="56794"/>
                </a:cubicBezTo>
                <a:cubicBezTo>
                  <a:pt x="67825" y="66082"/>
                  <a:pt x="30671" y="60940"/>
                  <a:pt x="27187" y="61770"/>
                </a:cubicBezTo>
                <a:cubicBezTo>
                  <a:pt x="17202" y="72982"/>
                  <a:pt x="8096" y="84958"/>
                  <a:pt x="-15" y="97597"/>
                </a:cubicBezTo>
                <a:cubicBezTo>
                  <a:pt x="11563" y="108660"/>
                  <a:pt x="23754" y="119061"/>
                  <a:pt x="36476" y="128780"/>
                </a:cubicBezTo>
                <a:cubicBezTo>
                  <a:pt x="50409" y="137571"/>
                  <a:pt x="73299" y="127951"/>
                  <a:pt x="82753" y="136908"/>
                </a:cubicBezTo>
                <a:lnTo>
                  <a:pt x="83914" y="136908"/>
                </a:lnTo>
                <a:cubicBezTo>
                  <a:pt x="90881" y="129344"/>
                  <a:pt x="98793" y="122710"/>
                  <a:pt x="107468" y="117170"/>
                </a:cubicBezTo>
                <a:cubicBezTo>
                  <a:pt x="114600" y="115179"/>
                  <a:pt x="108961" y="103403"/>
                  <a:pt x="123889" y="91294"/>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2" name="Freeform: Shape 491">
            <a:extLst>
              <a:ext uri="{FF2B5EF4-FFF2-40B4-BE49-F238E27FC236}">
                <a16:creationId xmlns:a16="http://schemas.microsoft.com/office/drawing/2014/main" id="{6EADC7A5-3350-4517-91CA-E5C8501C824A}"/>
              </a:ext>
            </a:extLst>
          </p:cNvPr>
          <p:cNvSpPr/>
          <p:nvPr/>
        </p:nvSpPr>
        <p:spPr>
          <a:xfrm>
            <a:off x="2960217" y="4186517"/>
            <a:ext cx="34324" cy="68375"/>
          </a:xfrm>
          <a:custGeom>
            <a:avLst/>
            <a:gdLst>
              <a:gd name="connsiteX0" fmla="*/ 6454 w 43291"/>
              <a:gd name="connsiteY0" fmla="*/ 20650 h 87926"/>
              <a:gd name="connsiteX1" fmla="*/ 1644 w 43291"/>
              <a:gd name="connsiteY1" fmla="*/ 20650 h 87926"/>
              <a:gd name="connsiteX2" fmla="*/ -15 w 43291"/>
              <a:gd name="connsiteY2" fmla="*/ 87827 h 87926"/>
              <a:gd name="connsiteX3" fmla="*/ 16572 w 43291"/>
              <a:gd name="connsiteY3" fmla="*/ 85671 h 87926"/>
              <a:gd name="connsiteX4" fmla="*/ 27021 w 43291"/>
              <a:gd name="connsiteY4" fmla="*/ 69084 h 87926"/>
              <a:gd name="connsiteX5" fmla="*/ 35812 w 43291"/>
              <a:gd name="connsiteY5" fmla="*/ 13850 h 87926"/>
              <a:gd name="connsiteX6" fmla="*/ 43277 w 43291"/>
              <a:gd name="connsiteY6" fmla="*/ 9537 h 87926"/>
              <a:gd name="connsiteX7" fmla="*/ 27685 w 43291"/>
              <a:gd name="connsiteY7" fmla="*/ -83 h 87926"/>
              <a:gd name="connsiteX8" fmla="*/ 6454 w 43291"/>
              <a:gd name="connsiteY8" fmla="*/ 20650 h 8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91" h="87926">
                <a:moveTo>
                  <a:pt x="6454" y="20650"/>
                </a:moveTo>
                <a:cubicBezTo>
                  <a:pt x="4861" y="20816"/>
                  <a:pt x="3236" y="20816"/>
                  <a:pt x="1644" y="20650"/>
                </a:cubicBezTo>
                <a:lnTo>
                  <a:pt x="-15" y="87827"/>
                </a:lnTo>
                <a:lnTo>
                  <a:pt x="16572" y="85671"/>
                </a:lnTo>
                <a:cubicBezTo>
                  <a:pt x="18197" y="79169"/>
                  <a:pt x="21863" y="73347"/>
                  <a:pt x="27021" y="69084"/>
                </a:cubicBezTo>
                <a:cubicBezTo>
                  <a:pt x="40291" y="58800"/>
                  <a:pt x="20387" y="17499"/>
                  <a:pt x="35812" y="13850"/>
                </a:cubicBezTo>
                <a:cubicBezTo>
                  <a:pt x="38632" y="13087"/>
                  <a:pt x="41220" y="11610"/>
                  <a:pt x="43277" y="9537"/>
                </a:cubicBezTo>
                <a:cubicBezTo>
                  <a:pt x="37803" y="4395"/>
                  <a:pt x="31666" y="-415"/>
                  <a:pt x="27685" y="-83"/>
                </a:cubicBezTo>
                <a:cubicBezTo>
                  <a:pt x="19226" y="1078"/>
                  <a:pt x="9274" y="19655"/>
                  <a:pt x="6454" y="2065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3" name="Freeform: Shape 492">
            <a:extLst>
              <a:ext uri="{FF2B5EF4-FFF2-40B4-BE49-F238E27FC236}">
                <a16:creationId xmlns:a16="http://schemas.microsoft.com/office/drawing/2014/main" id="{368B50F9-1EC2-4255-AC9F-6C95C7994AB4}"/>
              </a:ext>
            </a:extLst>
          </p:cNvPr>
          <p:cNvSpPr/>
          <p:nvPr/>
        </p:nvSpPr>
        <p:spPr>
          <a:xfrm>
            <a:off x="3349571" y="4141718"/>
            <a:ext cx="75801" cy="59128"/>
          </a:xfrm>
          <a:custGeom>
            <a:avLst/>
            <a:gdLst>
              <a:gd name="connsiteX0" fmla="*/ 43010 w 95604"/>
              <a:gd name="connsiteY0" fmla="*/ 1958 h 76035"/>
              <a:gd name="connsiteX1" fmla="*/ 65070 w 95604"/>
              <a:gd name="connsiteY1" fmla="*/ 47738 h 76035"/>
              <a:gd name="connsiteX2" fmla="*/ 216 w 95604"/>
              <a:gd name="connsiteY2" fmla="*/ 59515 h 76035"/>
              <a:gd name="connsiteX3" fmla="*/ 43010 w 95604"/>
              <a:gd name="connsiteY3" fmla="*/ 69799 h 76035"/>
              <a:gd name="connsiteX4" fmla="*/ 89121 w 95604"/>
              <a:gd name="connsiteY4" fmla="*/ 75936 h 76035"/>
              <a:gd name="connsiteX5" fmla="*/ 95590 w 95604"/>
              <a:gd name="connsiteY5" fmla="*/ 11247 h 76035"/>
              <a:gd name="connsiteX6" fmla="*/ 43010 w 95604"/>
              <a:gd name="connsiteY6" fmla="*/ 1958 h 7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04" h="76035">
                <a:moveTo>
                  <a:pt x="43010" y="1958"/>
                </a:moveTo>
                <a:cubicBezTo>
                  <a:pt x="28247" y="12242"/>
                  <a:pt x="65070" y="35132"/>
                  <a:pt x="65070" y="47738"/>
                </a:cubicBezTo>
                <a:cubicBezTo>
                  <a:pt x="65070" y="60344"/>
                  <a:pt x="6021" y="45084"/>
                  <a:pt x="216" y="59515"/>
                </a:cubicBezTo>
                <a:cubicBezTo>
                  <a:pt x="-2604" y="66813"/>
                  <a:pt x="20949" y="77097"/>
                  <a:pt x="43010" y="69799"/>
                </a:cubicBezTo>
                <a:cubicBezTo>
                  <a:pt x="58518" y="64856"/>
                  <a:pt x="75437" y="67112"/>
                  <a:pt x="89121" y="75936"/>
                </a:cubicBezTo>
                <a:cubicBezTo>
                  <a:pt x="90780" y="53544"/>
                  <a:pt x="93268" y="28331"/>
                  <a:pt x="95590" y="11247"/>
                </a:cubicBezTo>
                <a:cubicBezTo>
                  <a:pt x="77013" y="6437"/>
                  <a:pt x="53791" y="-4676"/>
                  <a:pt x="43010" y="195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4" name="Freeform: Shape 493">
            <a:extLst>
              <a:ext uri="{FF2B5EF4-FFF2-40B4-BE49-F238E27FC236}">
                <a16:creationId xmlns:a16="http://schemas.microsoft.com/office/drawing/2014/main" id="{3FC3945E-D1E4-47FE-AA81-440CF5B63E72}"/>
              </a:ext>
            </a:extLst>
          </p:cNvPr>
          <p:cNvSpPr/>
          <p:nvPr/>
        </p:nvSpPr>
        <p:spPr>
          <a:xfrm>
            <a:off x="3420770" y="4150284"/>
            <a:ext cx="89164" cy="52588"/>
          </a:xfrm>
          <a:custGeom>
            <a:avLst/>
            <a:gdLst>
              <a:gd name="connsiteX0" fmla="*/ 43111 w 112458"/>
              <a:gd name="connsiteY0" fmla="*/ 50656 h 67624"/>
              <a:gd name="connsiteX1" fmla="*/ 112444 w 112458"/>
              <a:gd name="connsiteY1" fmla="*/ 37552 h 67624"/>
              <a:gd name="connsiteX2" fmla="*/ 24699 w 112458"/>
              <a:gd name="connsiteY2" fmla="*/ 896 h 67624"/>
              <a:gd name="connsiteX3" fmla="*/ 6454 w 112458"/>
              <a:gd name="connsiteY3" fmla="*/ -100 h 67624"/>
              <a:gd name="connsiteX4" fmla="*/ -15 w 112458"/>
              <a:gd name="connsiteY4" fmla="*/ 64589 h 67624"/>
              <a:gd name="connsiteX5" fmla="*/ 2473 w 112458"/>
              <a:gd name="connsiteY5" fmla="*/ 65750 h 67624"/>
              <a:gd name="connsiteX6" fmla="*/ 43111 w 112458"/>
              <a:gd name="connsiteY6" fmla="*/ 50656 h 6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58" h="67624">
                <a:moveTo>
                  <a:pt x="43111" y="50656"/>
                </a:moveTo>
                <a:cubicBezTo>
                  <a:pt x="69650" y="41865"/>
                  <a:pt x="112444" y="58120"/>
                  <a:pt x="112444" y="37552"/>
                </a:cubicBezTo>
                <a:cubicBezTo>
                  <a:pt x="112444" y="16985"/>
                  <a:pt x="41286" y="-4578"/>
                  <a:pt x="24699" y="896"/>
                </a:cubicBezTo>
                <a:cubicBezTo>
                  <a:pt x="18645" y="2272"/>
                  <a:pt x="12326" y="1940"/>
                  <a:pt x="6454" y="-100"/>
                </a:cubicBezTo>
                <a:cubicBezTo>
                  <a:pt x="4132" y="16487"/>
                  <a:pt x="1644" y="42197"/>
                  <a:pt x="-15" y="64589"/>
                </a:cubicBezTo>
                <a:lnTo>
                  <a:pt x="2473" y="65750"/>
                </a:lnTo>
                <a:cubicBezTo>
                  <a:pt x="13586" y="72053"/>
                  <a:pt x="16572" y="60276"/>
                  <a:pt x="43111" y="50656"/>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5" name="Freeform: Shape 494">
            <a:extLst>
              <a:ext uri="{FF2B5EF4-FFF2-40B4-BE49-F238E27FC236}">
                <a16:creationId xmlns:a16="http://schemas.microsoft.com/office/drawing/2014/main" id="{D4C73FAD-5805-4A51-9E48-E3E87E5D0807}"/>
              </a:ext>
            </a:extLst>
          </p:cNvPr>
          <p:cNvSpPr/>
          <p:nvPr/>
        </p:nvSpPr>
        <p:spPr>
          <a:xfrm>
            <a:off x="3007846" y="4278239"/>
            <a:ext cx="111599" cy="113045"/>
          </a:xfrm>
          <a:custGeom>
            <a:avLst/>
            <a:gdLst>
              <a:gd name="connsiteX0" fmla="*/ 75593 w 140753"/>
              <a:gd name="connsiteY0" fmla="*/ 137240 h 145367"/>
              <a:gd name="connsiteX1" fmla="*/ 108767 w 140753"/>
              <a:gd name="connsiteY1" fmla="*/ 142713 h 145367"/>
              <a:gd name="connsiteX2" fmla="*/ 125354 w 140753"/>
              <a:gd name="connsiteY2" fmla="*/ 144538 h 145367"/>
              <a:gd name="connsiteX3" fmla="*/ 120710 w 140753"/>
              <a:gd name="connsiteY3" fmla="*/ 137405 h 145367"/>
              <a:gd name="connsiteX4" fmla="*/ 128837 w 140753"/>
              <a:gd name="connsiteY4" fmla="*/ 94612 h 145367"/>
              <a:gd name="connsiteX5" fmla="*/ 133316 w 140753"/>
              <a:gd name="connsiteY5" fmla="*/ 37884 h 145367"/>
              <a:gd name="connsiteX6" fmla="*/ 140614 w 140753"/>
              <a:gd name="connsiteY6" fmla="*/ 3218 h 145367"/>
              <a:gd name="connsiteX7" fmla="*/ 140614 w 140753"/>
              <a:gd name="connsiteY7" fmla="*/ -100 h 145367"/>
              <a:gd name="connsiteX8" fmla="*/ 101801 w 140753"/>
              <a:gd name="connsiteY8" fmla="*/ 15492 h 145367"/>
              <a:gd name="connsiteX9" fmla="*/ 69788 w 140753"/>
              <a:gd name="connsiteY9" fmla="*/ 22625 h 145367"/>
              <a:gd name="connsiteX10" fmla="*/ 33463 w 140753"/>
              <a:gd name="connsiteY10" fmla="*/ 38217 h 145367"/>
              <a:gd name="connsiteX11" fmla="*/ 22847 w 140753"/>
              <a:gd name="connsiteY11" fmla="*/ 58950 h 145367"/>
              <a:gd name="connsiteX12" fmla="*/ 12895 w 140753"/>
              <a:gd name="connsiteY12" fmla="*/ 68239 h 145367"/>
              <a:gd name="connsiteX13" fmla="*/ 455 w 140753"/>
              <a:gd name="connsiteY13" fmla="*/ 71058 h 145367"/>
              <a:gd name="connsiteX14" fmla="*/ 5597 w 140753"/>
              <a:gd name="connsiteY14" fmla="*/ 83664 h 145367"/>
              <a:gd name="connsiteX15" fmla="*/ 46235 w 140753"/>
              <a:gd name="connsiteY15" fmla="*/ 122643 h 145367"/>
              <a:gd name="connsiteX16" fmla="*/ 57514 w 140753"/>
              <a:gd name="connsiteY16" fmla="*/ 136244 h 145367"/>
              <a:gd name="connsiteX17" fmla="*/ 75593 w 140753"/>
              <a:gd name="connsiteY17" fmla="*/ 137240 h 14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0753" h="145367">
                <a:moveTo>
                  <a:pt x="75593" y="137240"/>
                </a:moveTo>
                <a:cubicBezTo>
                  <a:pt x="82892" y="140889"/>
                  <a:pt x="101137" y="137240"/>
                  <a:pt x="108767" y="142713"/>
                </a:cubicBezTo>
                <a:cubicBezTo>
                  <a:pt x="113892" y="145301"/>
                  <a:pt x="119781" y="145948"/>
                  <a:pt x="125354" y="144538"/>
                </a:cubicBezTo>
                <a:cubicBezTo>
                  <a:pt x="123198" y="141387"/>
                  <a:pt x="121539" y="138898"/>
                  <a:pt x="120710" y="137405"/>
                </a:cubicBezTo>
                <a:cubicBezTo>
                  <a:pt x="115568" y="127785"/>
                  <a:pt x="124525" y="108711"/>
                  <a:pt x="128837" y="94612"/>
                </a:cubicBezTo>
                <a:cubicBezTo>
                  <a:pt x="133150" y="80513"/>
                  <a:pt x="125188" y="46841"/>
                  <a:pt x="133316" y="37884"/>
                </a:cubicBezTo>
                <a:cubicBezTo>
                  <a:pt x="141443" y="28927"/>
                  <a:pt x="136965" y="23952"/>
                  <a:pt x="140614" y="3218"/>
                </a:cubicBezTo>
                <a:cubicBezTo>
                  <a:pt x="140780" y="2123"/>
                  <a:pt x="140780" y="995"/>
                  <a:pt x="140614" y="-100"/>
                </a:cubicBezTo>
                <a:cubicBezTo>
                  <a:pt x="124027" y="-100"/>
                  <a:pt x="107440" y="14995"/>
                  <a:pt x="101801" y="15492"/>
                </a:cubicBezTo>
                <a:cubicBezTo>
                  <a:pt x="96161" y="15990"/>
                  <a:pt x="72608" y="10516"/>
                  <a:pt x="69788" y="22625"/>
                </a:cubicBezTo>
                <a:cubicBezTo>
                  <a:pt x="66968" y="34733"/>
                  <a:pt x="53201" y="36889"/>
                  <a:pt x="33463" y="38217"/>
                </a:cubicBezTo>
                <a:cubicBezTo>
                  <a:pt x="13725" y="39543"/>
                  <a:pt x="24174" y="56130"/>
                  <a:pt x="22847" y="58950"/>
                </a:cubicBezTo>
                <a:cubicBezTo>
                  <a:pt x="19912" y="62433"/>
                  <a:pt x="16561" y="65551"/>
                  <a:pt x="12895" y="68239"/>
                </a:cubicBezTo>
                <a:lnTo>
                  <a:pt x="455" y="71058"/>
                </a:lnTo>
                <a:cubicBezTo>
                  <a:pt x="-1038" y="75951"/>
                  <a:pt x="1118" y="81209"/>
                  <a:pt x="5597" y="83664"/>
                </a:cubicBezTo>
                <a:cubicBezTo>
                  <a:pt x="17374" y="90299"/>
                  <a:pt x="33629" y="116008"/>
                  <a:pt x="46235" y="122643"/>
                </a:cubicBezTo>
                <a:cubicBezTo>
                  <a:pt x="51609" y="125546"/>
                  <a:pt x="55656" y="130423"/>
                  <a:pt x="57514" y="136244"/>
                </a:cubicBezTo>
                <a:cubicBezTo>
                  <a:pt x="63535" y="135266"/>
                  <a:pt x="69705" y="135597"/>
                  <a:pt x="75593" y="13724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6" name="Freeform: Shape 495">
            <a:extLst>
              <a:ext uri="{FF2B5EF4-FFF2-40B4-BE49-F238E27FC236}">
                <a16:creationId xmlns:a16="http://schemas.microsoft.com/office/drawing/2014/main" id="{F40D315A-BE3A-4FC0-AE1C-D1148814B871}"/>
              </a:ext>
            </a:extLst>
          </p:cNvPr>
          <p:cNvSpPr/>
          <p:nvPr/>
        </p:nvSpPr>
        <p:spPr>
          <a:xfrm>
            <a:off x="3365712" y="4536744"/>
            <a:ext cx="1041002" cy="1052266"/>
          </a:xfrm>
          <a:custGeom>
            <a:avLst/>
            <a:gdLst>
              <a:gd name="connsiteX0" fmla="*/ 699229 w 1312960"/>
              <a:gd name="connsiteY0" fmla="*/ 1337943 h 1353136"/>
              <a:gd name="connsiteX1" fmla="*/ 724275 w 1312960"/>
              <a:gd name="connsiteY1" fmla="*/ 1296642 h 1353136"/>
              <a:gd name="connsiteX2" fmla="*/ 741857 w 1312960"/>
              <a:gd name="connsiteY2" fmla="*/ 1256170 h 1353136"/>
              <a:gd name="connsiteX3" fmla="*/ 759605 w 1312960"/>
              <a:gd name="connsiteY3" fmla="*/ 1220674 h 1353136"/>
              <a:gd name="connsiteX4" fmla="*/ 759605 w 1312960"/>
              <a:gd name="connsiteY4" fmla="*/ 1250862 h 1353136"/>
              <a:gd name="connsiteX5" fmla="*/ 761927 w 1312960"/>
              <a:gd name="connsiteY5" fmla="*/ 1261975 h 1353136"/>
              <a:gd name="connsiteX6" fmla="*/ 804721 w 1312960"/>
              <a:gd name="connsiteY6" fmla="*/ 1197121 h 1353136"/>
              <a:gd name="connsiteX7" fmla="*/ 837895 w 1312960"/>
              <a:gd name="connsiteY7" fmla="*/ 1161791 h 1353136"/>
              <a:gd name="connsiteX8" fmla="*/ 847515 w 1312960"/>
              <a:gd name="connsiteY8" fmla="*/ 1113855 h 1353136"/>
              <a:gd name="connsiteX9" fmla="*/ 848345 w 1312960"/>
              <a:gd name="connsiteY9" fmla="*/ 1064095 h 1353136"/>
              <a:gd name="connsiteX10" fmla="*/ 858628 w 1312960"/>
              <a:gd name="connsiteY10" fmla="*/ 1039878 h 1353136"/>
              <a:gd name="connsiteX11" fmla="*/ 900593 w 1312960"/>
              <a:gd name="connsiteY11" fmla="*/ 1008197 h 1353136"/>
              <a:gd name="connsiteX12" fmla="*/ 944051 w 1312960"/>
              <a:gd name="connsiteY12" fmla="*/ 988956 h 1353136"/>
              <a:gd name="connsiteX13" fmla="*/ 962462 w 1312960"/>
              <a:gd name="connsiteY13" fmla="*/ 978672 h 1353136"/>
              <a:gd name="connsiteX14" fmla="*/ 988338 w 1312960"/>
              <a:gd name="connsiteY14" fmla="*/ 958768 h 1353136"/>
              <a:gd name="connsiteX15" fmla="*/ 1043572 w 1312960"/>
              <a:gd name="connsiteY15" fmla="*/ 958768 h 1353136"/>
              <a:gd name="connsiteX16" fmla="*/ 1073096 w 1312960"/>
              <a:gd name="connsiteY16" fmla="*/ 949314 h 1353136"/>
              <a:gd name="connsiteX17" fmla="*/ 1091474 w 1312960"/>
              <a:gd name="connsiteY17" fmla="*/ 929244 h 1353136"/>
              <a:gd name="connsiteX18" fmla="*/ 1091508 w 1312960"/>
              <a:gd name="connsiteY18" fmla="*/ 929244 h 1353136"/>
              <a:gd name="connsiteX19" fmla="*/ 1106270 w 1312960"/>
              <a:gd name="connsiteY19" fmla="*/ 911662 h 1353136"/>
              <a:gd name="connsiteX20" fmla="*/ 1119540 w 1312960"/>
              <a:gd name="connsiteY20" fmla="*/ 881473 h 1353136"/>
              <a:gd name="connsiteX21" fmla="*/ 1132809 w 1312960"/>
              <a:gd name="connsiteY21" fmla="*/ 850456 h 1353136"/>
              <a:gd name="connsiteX22" fmla="*/ 1145249 w 1312960"/>
              <a:gd name="connsiteY22" fmla="*/ 832874 h 1353136"/>
              <a:gd name="connsiteX23" fmla="*/ 1150391 w 1312960"/>
              <a:gd name="connsiteY23" fmla="*/ 792237 h 1353136"/>
              <a:gd name="connsiteX24" fmla="*/ 1166978 w 1312960"/>
              <a:gd name="connsiteY24" fmla="*/ 774654 h 1353136"/>
              <a:gd name="connsiteX25" fmla="*/ 1170793 w 1312960"/>
              <a:gd name="connsiteY25" fmla="*/ 733353 h 1353136"/>
              <a:gd name="connsiteX26" fmla="*/ 1170793 w 1312960"/>
              <a:gd name="connsiteY26" fmla="*/ 668499 h 1353136"/>
              <a:gd name="connsiteX27" fmla="*/ 1178091 w 1312960"/>
              <a:gd name="connsiteY27" fmla="*/ 619899 h 1353136"/>
              <a:gd name="connsiteX28" fmla="*/ 1175935 w 1312960"/>
              <a:gd name="connsiteY28" fmla="*/ 606630 h 1353136"/>
              <a:gd name="connsiteX29" fmla="*/ 1181740 w 1312960"/>
              <a:gd name="connsiteY29" fmla="*/ 597009 h 1353136"/>
              <a:gd name="connsiteX30" fmla="*/ 1202474 w 1312960"/>
              <a:gd name="connsiteY30" fmla="*/ 603644 h 1353136"/>
              <a:gd name="connsiteX31" fmla="*/ 1229013 w 1312960"/>
              <a:gd name="connsiteY31" fmla="*/ 552059 h 1353136"/>
              <a:gd name="connsiteX32" fmla="*/ 1260693 w 1312960"/>
              <a:gd name="connsiteY32" fmla="*/ 527677 h 1353136"/>
              <a:gd name="connsiteX33" fmla="*/ 1307137 w 1312960"/>
              <a:gd name="connsiteY33" fmla="*/ 462158 h 1353136"/>
              <a:gd name="connsiteX34" fmla="*/ 1300502 w 1312960"/>
              <a:gd name="connsiteY34" fmla="*/ 365623 h 1353136"/>
              <a:gd name="connsiteX35" fmla="*/ 1271640 w 1312960"/>
              <a:gd name="connsiteY35" fmla="*/ 346383 h 1353136"/>
              <a:gd name="connsiteX36" fmla="*/ 1192024 w 1312960"/>
              <a:gd name="connsiteY36" fmla="*/ 303588 h 1353136"/>
              <a:gd name="connsiteX37" fmla="*/ 1094825 w 1312960"/>
              <a:gd name="connsiteY37" fmla="*/ 273401 h 1353136"/>
              <a:gd name="connsiteX38" fmla="*/ 1029307 w 1312960"/>
              <a:gd name="connsiteY38" fmla="*/ 257974 h 1353136"/>
              <a:gd name="connsiteX39" fmla="*/ 985850 w 1312960"/>
              <a:gd name="connsiteY39" fmla="*/ 279372 h 1353136"/>
              <a:gd name="connsiteX40" fmla="*/ 992318 w 1312960"/>
              <a:gd name="connsiteY40" fmla="*/ 247691 h 1353136"/>
              <a:gd name="connsiteX41" fmla="*/ 914360 w 1312960"/>
              <a:gd name="connsiteY41" fmla="*/ 200584 h 1353136"/>
              <a:gd name="connsiteX42" fmla="*/ 865595 w 1312960"/>
              <a:gd name="connsiteY42" fmla="*/ 215181 h 1353136"/>
              <a:gd name="connsiteX43" fmla="*/ 842042 w 1312960"/>
              <a:gd name="connsiteY43" fmla="*/ 231767 h 1353136"/>
              <a:gd name="connsiteX44" fmla="*/ 825455 w 1312960"/>
              <a:gd name="connsiteY44" fmla="*/ 231767 h 1353136"/>
              <a:gd name="connsiteX45" fmla="*/ 854150 w 1312960"/>
              <a:gd name="connsiteY45" fmla="*/ 193452 h 1353136"/>
              <a:gd name="connsiteX46" fmla="*/ 787803 w 1312960"/>
              <a:gd name="connsiteY46" fmla="*/ 175870 h 1353136"/>
              <a:gd name="connsiteX47" fmla="*/ 766406 w 1312960"/>
              <a:gd name="connsiteY47" fmla="*/ 201579 h 1353136"/>
              <a:gd name="connsiteX48" fmla="*/ 775197 w 1312960"/>
              <a:gd name="connsiteY48" fmla="*/ 174377 h 1353136"/>
              <a:gd name="connsiteX49" fmla="*/ 808370 w 1312960"/>
              <a:gd name="connsiteY49" fmla="*/ 133076 h 1353136"/>
              <a:gd name="connsiteX50" fmla="*/ 781168 w 1312960"/>
              <a:gd name="connsiteY50" fmla="*/ 97746 h 1353136"/>
              <a:gd name="connsiteX51" fmla="*/ 757283 w 1312960"/>
              <a:gd name="connsiteY51" fmla="*/ 33887 h 1353136"/>
              <a:gd name="connsiteX52" fmla="*/ 717972 w 1312960"/>
              <a:gd name="connsiteY52" fmla="*/ 86799 h 1353136"/>
              <a:gd name="connsiteX53" fmla="*/ 683140 w 1312960"/>
              <a:gd name="connsiteY53" fmla="*/ 101892 h 1353136"/>
              <a:gd name="connsiteX54" fmla="*/ 649966 w 1312960"/>
              <a:gd name="connsiteY54" fmla="*/ 91941 h 1353136"/>
              <a:gd name="connsiteX55" fmla="*/ 613143 w 1312960"/>
              <a:gd name="connsiteY55" fmla="*/ 90945 h 1353136"/>
              <a:gd name="connsiteX56" fmla="*/ 599210 w 1312960"/>
              <a:gd name="connsiteY56" fmla="*/ 111844 h 1353136"/>
              <a:gd name="connsiteX57" fmla="*/ 559236 w 1312960"/>
              <a:gd name="connsiteY57" fmla="*/ 110849 h 1353136"/>
              <a:gd name="connsiteX58" fmla="*/ 542649 w 1312960"/>
              <a:gd name="connsiteY58" fmla="*/ 118811 h 1353136"/>
              <a:gd name="connsiteX59" fmla="*/ 520589 w 1312960"/>
              <a:gd name="connsiteY59" fmla="*/ 126773 h 1353136"/>
              <a:gd name="connsiteX60" fmla="*/ 484761 w 1312960"/>
              <a:gd name="connsiteY60" fmla="*/ 114830 h 1353136"/>
              <a:gd name="connsiteX61" fmla="*/ 477795 w 1312960"/>
              <a:gd name="connsiteY61" fmla="*/ 55947 h 1353136"/>
              <a:gd name="connsiteX62" fmla="*/ 480465 w 1312960"/>
              <a:gd name="connsiteY62" fmla="*/ 32642 h 1353136"/>
              <a:gd name="connsiteX63" fmla="*/ 474809 w 1312960"/>
              <a:gd name="connsiteY63" fmla="*/ 28081 h 1353136"/>
              <a:gd name="connsiteX64" fmla="*/ 460711 w 1312960"/>
              <a:gd name="connsiteY64" fmla="*/ 49 h 1353136"/>
              <a:gd name="connsiteX65" fmla="*/ 439811 w 1312960"/>
              <a:gd name="connsiteY65" fmla="*/ 18958 h 1353136"/>
              <a:gd name="connsiteX66" fmla="*/ 399008 w 1312960"/>
              <a:gd name="connsiteY66" fmla="*/ 35545 h 1353136"/>
              <a:gd name="connsiteX67" fmla="*/ 375952 w 1312960"/>
              <a:gd name="connsiteY67" fmla="*/ 48483 h 1353136"/>
              <a:gd name="connsiteX68" fmla="*/ 363014 w 1312960"/>
              <a:gd name="connsiteY68" fmla="*/ 47488 h 1353136"/>
              <a:gd name="connsiteX69" fmla="*/ 334153 w 1312960"/>
              <a:gd name="connsiteY69" fmla="*/ 37536 h 1353136"/>
              <a:gd name="connsiteX70" fmla="*/ 312092 w 1312960"/>
              <a:gd name="connsiteY70" fmla="*/ 41516 h 1353136"/>
              <a:gd name="connsiteX71" fmla="*/ 325030 w 1312960"/>
              <a:gd name="connsiteY71" fmla="*/ 66397 h 1353136"/>
              <a:gd name="connsiteX72" fmla="*/ 334153 w 1312960"/>
              <a:gd name="connsiteY72" fmla="*/ 87296 h 1353136"/>
              <a:gd name="connsiteX73" fmla="*/ 350740 w 1312960"/>
              <a:gd name="connsiteY73" fmla="*/ 91443 h 1353136"/>
              <a:gd name="connsiteX74" fmla="*/ 346759 w 1312960"/>
              <a:gd name="connsiteY74" fmla="*/ 105376 h 1353136"/>
              <a:gd name="connsiteX75" fmla="*/ 327850 w 1312960"/>
              <a:gd name="connsiteY75" fmla="*/ 123289 h 1353136"/>
              <a:gd name="connsiteX76" fmla="*/ 305789 w 1312960"/>
              <a:gd name="connsiteY76" fmla="*/ 134237 h 1353136"/>
              <a:gd name="connsiteX77" fmla="*/ 282900 w 1312960"/>
              <a:gd name="connsiteY77" fmla="*/ 146179 h 1353136"/>
              <a:gd name="connsiteX78" fmla="*/ 264986 w 1312960"/>
              <a:gd name="connsiteY78" fmla="*/ 149165 h 1353136"/>
              <a:gd name="connsiteX79" fmla="*/ 244916 w 1312960"/>
              <a:gd name="connsiteY79" fmla="*/ 141204 h 1353136"/>
              <a:gd name="connsiteX80" fmla="*/ 219538 w 1312960"/>
              <a:gd name="connsiteY80" fmla="*/ 108030 h 1353136"/>
              <a:gd name="connsiteX81" fmla="*/ 186364 w 1312960"/>
              <a:gd name="connsiteY81" fmla="*/ 117484 h 1353136"/>
              <a:gd name="connsiteX82" fmla="*/ 136604 w 1312960"/>
              <a:gd name="connsiteY82" fmla="*/ 121299 h 1353136"/>
              <a:gd name="connsiteX83" fmla="*/ 145229 w 1312960"/>
              <a:gd name="connsiteY83" fmla="*/ 139545 h 1353136"/>
              <a:gd name="connsiteX84" fmla="*/ 151864 w 1312960"/>
              <a:gd name="connsiteY84" fmla="*/ 153146 h 1353136"/>
              <a:gd name="connsiteX85" fmla="*/ 129140 w 1312960"/>
              <a:gd name="connsiteY85" fmla="*/ 171060 h 1353136"/>
              <a:gd name="connsiteX86" fmla="*/ 150537 w 1312960"/>
              <a:gd name="connsiteY86" fmla="*/ 224967 h 1353136"/>
              <a:gd name="connsiteX87" fmla="*/ 143736 w 1312960"/>
              <a:gd name="connsiteY87" fmla="*/ 270249 h 1353136"/>
              <a:gd name="connsiteX88" fmla="*/ 130964 w 1312960"/>
              <a:gd name="connsiteY88" fmla="*/ 315365 h 1353136"/>
              <a:gd name="connsiteX89" fmla="*/ 102435 w 1312960"/>
              <a:gd name="connsiteY89" fmla="*/ 317521 h 1353136"/>
              <a:gd name="connsiteX90" fmla="*/ 62129 w 1312960"/>
              <a:gd name="connsiteY90" fmla="*/ 332118 h 1353136"/>
              <a:gd name="connsiteX91" fmla="*/ 32604 w 1312960"/>
              <a:gd name="connsiteY91" fmla="*/ 351856 h 1353136"/>
              <a:gd name="connsiteX92" fmla="*/ 21823 w 1312960"/>
              <a:gd name="connsiteY92" fmla="*/ 383205 h 1353136"/>
              <a:gd name="connsiteX93" fmla="*/ 7061 w 1312960"/>
              <a:gd name="connsiteY93" fmla="*/ 400953 h 1353136"/>
              <a:gd name="connsiteX94" fmla="*/ 2085 w 1312960"/>
              <a:gd name="connsiteY94" fmla="*/ 422516 h 1353136"/>
              <a:gd name="connsiteX95" fmla="*/ 11042 w 1312960"/>
              <a:gd name="connsiteY95" fmla="*/ 451045 h 1353136"/>
              <a:gd name="connsiteX96" fmla="*/ 24809 w 1312960"/>
              <a:gd name="connsiteY96" fmla="*/ 479575 h 1353136"/>
              <a:gd name="connsiteX97" fmla="*/ 41396 w 1312960"/>
              <a:gd name="connsiteY97" fmla="*/ 492346 h 1353136"/>
              <a:gd name="connsiteX98" fmla="*/ 59143 w 1312960"/>
              <a:gd name="connsiteY98" fmla="*/ 510924 h 1353136"/>
              <a:gd name="connsiteX99" fmla="*/ 94473 w 1312960"/>
              <a:gd name="connsiteY99" fmla="*/ 506114 h 1353136"/>
              <a:gd name="connsiteX100" fmla="*/ 109236 w 1312960"/>
              <a:gd name="connsiteY100" fmla="*/ 503128 h 1353136"/>
              <a:gd name="connsiteX101" fmla="*/ 117197 w 1312960"/>
              <a:gd name="connsiteY101" fmla="*/ 546420 h 1353136"/>
              <a:gd name="connsiteX102" fmla="*/ 160323 w 1312960"/>
              <a:gd name="connsiteY102" fmla="*/ 547415 h 1353136"/>
              <a:gd name="connsiteX103" fmla="*/ 188852 w 1312960"/>
              <a:gd name="connsiteY103" fmla="*/ 540448 h 1353136"/>
              <a:gd name="connsiteX104" fmla="*/ 217382 w 1312960"/>
              <a:gd name="connsiteY104" fmla="*/ 525686 h 1353136"/>
              <a:gd name="connsiteX105" fmla="*/ 256693 w 1312960"/>
              <a:gd name="connsiteY105" fmla="*/ 508104 h 1353136"/>
              <a:gd name="connsiteX106" fmla="*/ 288042 w 1312960"/>
              <a:gd name="connsiteY106" fmla="*/ 509928 h 1353136"/>
              <a:gd name="connsiteX107" fmla="*/ 298989 w 1312960"/>
              <a:gd name="connsiteY107" fmla="*/ 574783 h 1353136"/>
              <a:gd name="connsiteX108" fmla="*/ 338300 w 1312960"/>
              <a:gd name="connsiteY108" fmla="*/ 598502 h 1353136"/>
              <a:gd name="connsiteX109" fmla="*/ 361853 w 1312960"/>
              <a:gd name="connsiteY109" fmla="*/ 603312 h 1353136"/>
              <a:gd name="connsiteX110" fmla="*/ 375620 w 1312960"/>
              <a:gd name="connsiteY110" fmla="*/ 615089 h 1353136"/>
              <a:gd name="connsiteX111" fmla="*/ 403154 w 1312960"/>
              <a:gd name="connsiteY111" fmla="*/ 627861 h 1353136"/>
              <a:gd name="connsiteX112" fmla="*/ 439479 w 1312960"/>
              <a:gd name="connsiteY112" fmla="*/ 635822 h 1353136"/>
              <a:gd name="connsiteX113" fmla="*/ 452251 w 1312960"/>
              <a:gd name="connsiteY113" fmla="*/ 658381 h 1353136"/>
              <a:gd name="connsiteX114" fmla="*/ 457061 w 1312960"/>
              <a:gd name="connsiteY114" fmla="*/ 683925 h 1353136"/>
              <a:gd name="connsiteX115" fmla="*/ 461042 w 1312960"/>
              <a:gd name="connsiteY115" fmla="*/ 711458 h 1353136"/>
              <a:gd name="connsiteX116" fmla="*/ 497367 w 1312960"/>
              <a:gd name="connsiteY116" fmla="*/ 728045 h 1353136"/>
              <a:gd name="connsiteX117" fmla="*/ 524902 w 1312960"/>
              <a:gd name="connsiteY117" fmla="*/ 744632 h 1353136"/>
              <a:gd name="connsiteX118" fmla="*/ 544640 w 1312960"/>
              <a:gd name="connsiteY118" fmla="*/ 777806 h 1353136"/>
              <a:gd name="connsiteX119" fmla="*/ 540659 w 1312960"/>
              <a:gd name="connsiteY119" fmla="*/ 820932 h 1353136"/>
              <a:gd name="connsiteX120" fmla="*/ 530541 w 1312960"/>
              <a:gd name="connsiteY120" fmla="*/ 843655 h 1353136"/>
              <a:gd name="connsiteX121" fmla="*/ 531868 w 1312960"/>
              <a:gd name="connsiteY121" fmla="*/ 861403 h 1353136"/>
              <a:gd name="connsiteX122" fmla="*/ 538005 w 1312960"/>
              <a:gd name="connsiteY122" fmla="*/ 902207 h 1353136"/>
              <a:gd name="connsiteX123" fmla="*/ 554592 w 1312960"/>
              <a:gd name="connsiteY123" fmla="*/ 929244 h 1353136"/>
              <a:gd name="connsiteX124" fmla="*/ 583453 w 1312960"/>
              <a:gd name="connsiteY124" fmla="*/ 932229 h 1353136"/>
              <a:gd name="connsiteX125" fmla="*/ 606509 w 1312960"/>
              <a:gd name="connsiteY125" fmla="*/ 960095 h 1353136"/>
              <a:gd name="connsiteX126" fmla="*/ 623096 w 1312960"/>
              <a:gd name="connsiteY126" fmla="*/ 997084 h 1353136"/>
              <a:gd name="connsiteX127" fmla="*/ 650962 w 1312960"/>
              <a:gd name="connsiteY127" fmla="*/ 991113 h 1353136"/>
              <a:gd name="connsiteX128" fmla="*/ 647810 w 1312960"/>
              <a:gd name="connsiteY128" fmla="*/ 1050493 h 1353136"/>
              <a:gd name="connsiteX129" fmla="*/ 669704 w 1312960"/>
              <a:gd name="connsiteY129" fmla="*/ 1051986 h 1353136"/>
              <a:gd name="connsiteX130" fmla="*/ 675676 w 1312960"/>
              <a:gd name="connsiteY130" fmla="*/ 1102742 h 1353136"/>
              <a:gd name="connsiteX131" fmla="*/ 635370 w 1312960"/>
              <a:gd name="connsiteY131" fmla="*/ 1125134 h 1353136"/>
              <a:gd name="connsiteX132" fmla="*/ 577814 w 1312960"/>
              <a:gd name="connsiteY132" fmla="*/ 1185510 h 1353136"/>
              <a:gd name="connsiteX133" fmla="*/ 548621 w 1312960"/>
              <a:gd name="connsiteY133" fmla="*/ 1220508 h 1353136"/>
              <a:gd name="connsiteX134" fmla="*/ 558407 w 1312960"/>
              <a:gd name="connsiteY134" fmla="*/ 1220508 h 1353136"/>
              <a:gd name="connsiteX135" fmla="*/ 586936 w 1312960"/>
              <a:gd name="connsiteY135" fmla="*/ 1230958 h 1353136"/>
              <a:gd name="connsiteX136" fmla="*/ 601864 w 1312960"/>
              <a:gd name="connsiteY136" fmla="*/ 1254014 h 1353136"/>
              <a:gd name="connsiteX137" fmla="*/ 620442 w 1312960"/>
              <a:gd name="connsiteY137" fmla="*/ 1248872 h 1353136"/>
              <a:gd name="connsiteX138" fmla="*/ 657762 w 1312960"/>
              <a:gd name="connsiteY138" fmla="*/ 1277235 h 1353136"/>
              <a:gd name="connsiteX139" fmla="*/ 680154 w 1312960"/>
              <a:gd name="connsiteY139" fmla="*/ 1303277 h 1353136"/>
              <a:gd name="connsiteX140" fmla="*/ 683637 w 1312960"/>
              <a:gd name="connsiteY140" fmla="*/ 1353037 h 1353136"/>
              <a:gd name="connsiteX141" fmla="*/ 699229 w 1312960"/>
              <a:gd name="connsiteY141" fmla="*/ 1337943 h 1353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312960" h="1353136">
                <a:moveTo>
                  <a:pt x="699229" y="1337943"/>
                </a:moveTo>
                <a:cubicBezTo>
                  <a:pt x="719797" y="1323181"/>
                  <a:pt x="714655" y="1314224"/>
                  <a:pt x="724275" y="1296642"/>
                </a:cubicBezTo>
                <a:cubicBezTo>
                  <a:pt x="733896" y="1279060"/>
                  <a:pt x="725768" y="1271596"/>
                  <a:pt x="741857" y="1256170"/>
                </a:cubicBezTo>
                <a:cubicBezTo>
                  <a:pt x="757947" y="1240744"/>
                  <a:pt x="739038" y="1230294"/>
                  <a:pt x="759605" y="1220674"/>
                </a:cubicBezTo>
                <a:cubicBezTo>
                  <a:pt x="780173" y="1211054"/>
                  <a:pt x="777353" y="1229631"/>
                  <a:pt x="759605" y="1250862"/>
                </a:cubicBezTo>
                <a:cubicBezTo>
                  <a:pt x="741857" y="1272094"/>
                  <a:pt x="739701" y="1278231"/>
                  <a:pt x="761927" y="1261975"/>
                </a:cubicBezTo>
                <a:cubicBezTo>
                  <a:pt x="784154" y="1245721"/>
                  <a:pt x="792115" y="1222997"/>
                  <a:pt x="804721" y="1197121"/>
                </a:cubicBezTo>
                <a:cubicBezTo>
                  <a:pt x="817327" y="1171245"/>
                  <a:pt x="826782" y="1163947"/>
                  <a:pt x="837895" y="1161791"/>
                </a:cubicBezTo>
                <a:cubicBezTo>
                  <a:pt x="849008" y="1159635"/>
                  <a:pt x="849008" y="1132930"/>
                  <a:pt x="847515" y="1113855"/>
                </a:cubicBezTo>
                <a:cubicBezTo>
                  <a:pt x="846023" y="1094780"/>
                  <a:pt x="840217" y="1077032"/>
                  <a:pt x="848345" y="1064095"/>
                </a:cubicBezTo>
                <a:cubicBezTo>
                  <a:pt x="856472" y="1051157"/>
                  <a:pt x="848345" y="1039878"/>
                  <a:pt x="858628" y="1039878"/>
                </a:cubicBezTo>
                <a:cubicBezTo>
                  <a:pt x="868912" y="1039878"/>
                  <a:pt x="884338" y="1024286"/>
                  <a:pt x="900593" y="1008197"/>
                </a:cubicBezTo>
                <a:cubicBezTo>
                  <a:pt x="911574" y="995757"/>
                  <a:pt x="927448" y="988724"/>
                  <a:pt x="944051" y="988956"/>
                </a:cubicBezTo>
                <a:cubicBezTo>
                  <a:pt x="960637" y="987463"/>
                  <a:pt x="951515" y="981658"/>
                  <a:pt x="962462" y="978672"/>
                </a:cubicBezTo>
                <a:cubicBezTo>
                  <a:pt x="973410" y="975687"/>
                  <a:pt x="980873" y="965403"/>
                  <a:pt x="988338" y="958768"/>
                </a:cubicBezTo>
                <a:cubicBezTo>
                  <a:pt x="995801" y="952133"/>
                  <a:pt x="1025824" y="958768"/>
                  <a:pt x="1043572" y="958768"/>
                </a:cubicBezTo>
                <a:cubicBezTo>
                  <a:pt x="1061320" y="958768"/>
                  <a:pt x="1073096" y="960261"/>
                  <a:pt x="1073096" y="949314"/>
                </a:cubicBezTo>
                <a:cubicBezTo>
                  <a:pt x="1072632" y="938698"/>
                  <a:pt x="1080859" y="929708"/>
                  <a:pt x="1091474" y="929244"/>
                </a:cubicBezTo>
                <a:cubicBezTo>
                  <a:pt x="1091491" y="929244"/>
                  <a:pt x="1091491" y="929244"/>
                  <a:pt x="1091508" y="929244"/>
                </a:cubicBezTo>
                <a:cubicBezTo>
                  <a:pt x="1101791" y="929244"/>
                  <a:pt x="1106270" y="926424"/>
                  <a:pt x="1106270" y="911662"/>
                </a:cubicBezTo>
                <a:cubicBezTo>
                  <a:pt x="1105026" y="899951"/>
                  <a:pt x="1110068" y="888473"/>
                  <a:pt x="1119540" y="881473"/>
                </a:cubicBezTo>
                <a:cubicBezTo>
                  <a:pt x="1128331" y="874839"/>
                  <a:pt x="1129823" y="860077"/>
                  <a:pt x="1132809" y="850456"/>
                </a:cubicBezTo>
                <a:cubicBezTo>
                  <a:pt x="1135794" y="840836"/>
                  <a:pt x="1145249" y="846807"/>
                  <a:pt x="1145249" y="832874"/>
                </a:cubicBezTo>
                <a:cubicBezTo>
                  <a:pt x="1145249" y="818941"/>
                  <a:pt x="1150391" y="803350"/>
                  <a:pt x="1150391" y="792237"/>
                </a:cubicBezTo>
                <a:cubicBezTo>
                  <a:pt x="1150391" y="781123"/>
                  <a:pt x="1162168" y="782782"/>
                  <a:pt x="1166978" y="774654"/>
                </a:cubicBezTo>
                <a:cubicBezTo>
                  <a:pt x="1171788" y="766527"/>
                  <a:pt x="1162665" y="756243"/>
                  <a:pt x="1170793" y="733353"/>
                </a:cubicBezTo>
                <a:cubicBezTo>
                  <a:pt x="1178920" y="710463"/>
                  <a:pt x="1170793" y="689067"/>
                  <a:pt x="1170793" y="668499"/>
                </a:cubicBezTo>
                <a:cubicBezTo>
                  <a:pt x="1170793" y="647931"/>
                  <a:pt x="1170793" y="626368"/>
                  <a:pt x="1178091" y="619899"/>
                </a:cubicBezTo>
                <a:cubicBezTo>
                  <a:pt x="1185389" y="613431"/>
                  <a:pt x="1181740" y="609449"/>
                  <a:pt x="1175935" y="606630"/>
                </a:cubicBezTo>
                <a:cubicBezTo>
                  <a:pt x="1170129" y="603810"/>
                  <a:pt x="1175935" y="595517"/>
                  <a:pt x="1181740" y="597009"/>
                </a:cubicBezTo>
                <a:cubicBezTo>
                  <a:pt x="1187546" y="598502"/>
                  <a:pt x="1192853" y="609449"/>
                  <a:pt x="1202474" y="603644"/>
                </a:cubicBezTo>
                <a:cubicBezTo>
                  <a:pt x="1212094" y="597839"/>
                  <a:pt x="1220885" y="572627"/>
                  <a:pt x="1229013" y="552059"/>
                </a:cubicBezTo>
                <a:cubicBezTo>
                  <a:pt x="1237140" y="531492"/>
                  <a:pt x="1250409" y="532155"/>
                  <a:pt x="1260693" y="527677"/>
                </a:cubicBezTo>
                <a:cubicBezTo>
                  <a:pt x="1282422" y="511023"/>
                  <a:pt x="1298611" y="488183"/>
                  <a:pt x="1307137" y="462158"/>
                </a:cubicBezTo>
                <a:cubicBezTo>
                  <a:pt x="1321069" y="425999"/>
                  <a:pt x="1306307" y="390669"/>
                  <a:pt x="1300502" y="365623"/>
                </a:cubicBezTo>
                <a:cubicBezTo>
                  <a:pt x="1294696" y="340577"/>
                  <a:pt x="1286403" y="345719"/>
                  <a:pt x="1271640" y="346383"/>
                </a:cubicBezTo>
                <a:cubicBezTo>
                  <a:pt x="1256878" y="347046"/>
                  <a:pt x="1229013" y="343397"/>
                  <a:pt x="1192024" y="303588"/>
                </a:cubicBezTo>
                <a:cubicBezTo>
                  <a:pt x="1168902" y="274512"/>
                  <a:pt x="1130354" y="262536"/>
                  <a:pt x="1094825" y="273401"/>
                </a:cubicBezTo>
                <a:cubicBezTo>
                  <a:pt x="1070442" y="280035"/>
                  <a:pt x="1045064" y="261624"/>
                  <a:pt x="1029307" y="257974"/>
                </a:cubicBezTo>
                <a:cubicBezTo>
                  <a:pt x="1013549" y="254325"/>
                  <a:pt x="997626" y="274561"/>
                  <a:pt x="985850" y="279372"/>
                </a:cubicBezTo>
                <a:cubicBezTo>
                  <a:pt x="974073" y="284182"/>
                  <a:pt x="991655" y="261624"/>
                  <a:pt x="992318" y="247691"/>
                </a:cubicBezTo>
                <a:cubicBezTo>
                  <a:pt x="992982" y="233758"/>
                  <a:pt x="948197" y="214517"/>
                  <a:pt x="914360" y="200584"/>
                </a:cubicBezTo>
                <a:cubicBezTo>
                  <a:pt x="880523" y="186651"/>
                  <a:pt x="865595" y="193783"/>
                  <a:pt x="865595" y="215181"/>
                </a:cubicBezTo>
                <a:cubicBezTo>
                  <a:pt x="865595" y="236578"/>
                  <a:pt x="852326" y="208546"/>
                  <a:pt x="842042" y="231767"/>
                </a:cubicBezTo>
                <a:cubicBezTo>
                  <a:pt x="831758" y="254989"/>
                  <a:pt x="812517" y="239895"/>
                  <a:pt x="825455" y="231767"/>
                </a:cubicBezTo>
                <a:cubicBezTo>
                  <a:pt x="838990" y="222512"/>
                  <a:pt x="849091" y="209044"/>
                  <a:pt x="854150" y="193452"/>
                </a:cubicBezTo>
                <a:cubicBezTo>
                  <a:pt x="858628" y="179519"/>
                  <a:pt x="805551" y="168406"/>
                  <a:pt x="787803" y="175870"/>
                </a:cubicBezTo>
                <a:cubicBezTo>
                  <a:pt x="770055" y="183334"/>
                  <a:pt x="781168" y="209044"/>
                  <a:pt x="766406" y="201579"/>
                </a:cubicBezTo>
                <a:cubicBezTo>
                  <a:pt x="751643" y="194115"/>
                  <a:pt x="763420" y="173714"/>
                  <a:pt x="775197" y="174377"/>
                </a:cubicBezTo>
                <a:cubicBezTo>
                  <a:pt x="786973" y="175040"/>
                  <a:pt x="800243" y="150824"/>
                  <a:pt x="808370" y="133076"/>
                </a:cubicBezTo>
                <a:cubicBezTo>
                  <a:pt x="816498" y="115328"/>
                  <a:pt x="794438" y="112508"/>
                  <a:pt x="781168" y="97746"/>
                </a:cubicBezTo>
                <a:cubicBezTo>
                  <a:pt x="767898" y="82984"/>
                  <a:pt x="770718" y="40687"/>
                  <a:pt x="757283" y="33887"/>
                </a:cubicBezTo>
                <a:cubicBezTo>
                  <a:pt x="740928" y="48864"/>
                  <a:pt x="727593" y="66828"/>
                  <a:pt x="717972" y="86799"/>
                </a:cubicBezTo>
                <a:cubicBezTo>
                  <a:pt x="711006" y="107864"/>
                  <a:pt x="701385" y="95921"/>
                  <a:pt x="683140" y="101892"/>
                </a:cubicBezTo>
                <a:cubicBezTo>
                  <a:pt x="671181" y="107814"/>
                  <a:pt x="656684" y="103468"/>
                  <a:pt x="649966" y="91941"/>
                </a:cubicBezTo>
                <a:cubicBezTo>
                  <a:pt x="644990" y="83813"/>
                  <a:pt x="626081" y="91941"/>
                  <a:pt x="613143" y="90945"/>
                </a:cubicBezTo>
                <a:cubicBezTo>
                  <a:pt x="600206" y="89950"/>
                  <a:pt x="608167" y="107532"/>
                  <a:pt x="599210" y="111844"/>
                </a:cubicBezTo>
                <a:cubicBezTo>
                  <a:pt x="590254" y="116157"/>
                  <a:pt x="567198" y="101892"/>
                  <a:pt x="559236" y="110849"/>
                </a:cubicBezTo>
                <a:cubicBezTo>
                  <a:pt x="551275" y="119806"/>
                  <a:pt x="546298" y="110849"/>
                  <a:pt x="542649" y="118811"/>
                </a:cubicBezTo>
                <a:cubicBezTo>
                  <a:pt x="539000" y="126773"/>
                  <a:pt x="524570" y="121797"/>
                  <a:pt x="520589" y="126773"/>
                </a:cubicBezTo>
                <a:cubicBezTo>
                  <a:pt x="516608" y="131749"/>
                  <a:pt x="502675" y="134734"/>
                  <a:pt x="484761" y="114830"/>
                </a:cubicBezTo>
                <a:cubicBezTo>
                  <a:pt x="466848" y="94926"/>
                  <a:pt x="469833" y="61918"/>
                  <a:pt x="477795" y="55947"/>
                </a:cubicBezTo>
                <a:cubicBezTo>
                  <a:pt x="484960" y="50241"/>
                  <a:pt x="486171" y="39808"/>
                  <a:pt x="480465" y="32642"/>
                </a:cubicBezTo>
                <a:cubicBezTo>
                  <a:pt x="478939" y="30718"/>
                  <a:pt x="477015" y="29159"/>
                  <a:pt x="474809" y="28081"/>
                </a:cubicBezTo>
                <a:cubicBezTo>
                  <a:pt x="463696" y="23105"/>
                  <a:pt x="474809" y="2040"/>
                  <a:pt x="460711" y="49"/>
                </a:cubicBezTo>
                <a:cubicBezTo>
                  <a:pt x="446612" y="-1941"/>
                  <a:pt x="448768" y="16636"/>
                  <a:pt x="439811" y="18958"/>
                </a:cubicBezTo>
                <a:cubicBezTo>
                  <a:pt x="430854" y="21281"/>
                  <a:pt x="408959" y="37038"/>
                  <a:pt x="399008" y="35545"/>
                </a:cubicBezTo>
                <a:cubicBezTo>
                  <a:pt x="389055" y="34052"/>
                  <a:pt x="375952" y="37536"/>
                  <a:pt x="375952" y="48483"/>
                </a:cubicBezTo>
                <a:cubicBezTo>
                  <a:pt x="375952" y="59430"/>
                  <a:pt x="365004" y="56445"/>
                  <a:pt x="363014" y="47488"/>
                </a:cubicBezTo>
                <a:cubicBezTo>
                  <a:pt x="361024" y="38531"/>
                  <a:pt x="340124" y="43507"/>
                  <a:pt x="334153" y="37536"/>
                </a:cubicBezTo>
                <a:cubicBezTo>
                  <a:pt x="328182" y="31564"/>
                  <a:pt x="300979" y="34550"/>
                  <a:pt x="312092" y="41516"/>
                </a:cubicBezTo>
                <a:cubicBezTo>
                  <a:pt x="321447" y="46011"/>
                  <a:pt x="326722" y="56146"/>
                  <a:pt x="325030" y="66397"/>
                </a:cubicBezTo>
                <a:cubicBezTo>
                  <a:pt x="325030" y="77344"/>
                  <a:pt x="334153" y="74359"/>
                  <a:pt x="334153" y="87296"/>
                </a:cubicBezTo>
                <a:cubicBezTo>
                  <a:pt x="334153" y="100234"/>
                  <a:pt x="344105" y="91443"/>
                  <a:pt x="350740" y="91443"/>
                </a:cubicBezTo>
                <a:cubicBezTo>
                  <a:pt x="357374" y="91443"/>
                  <a:pt x="357706" y="103386"/>
                  <a:pt x="346759" y="105376"/>
                </a:cubicBezTo>
                <a:cubicBezTo>
                  <a:pt x="337255" y="106636"/>
                  <a:pt x="329625" y="113868"/>
                  <a:pt x="327850" y="123289"/>
                </a:cubicBezTo>
                <a:cubicBezTo>
                  <a:pt x="324698" y="133242"/>
                  <a:pt x="314746" y="126275"/>
                  <a:pt x="305789" y="134237"/>
                </a:cubicBezTo>
                <a:cubicBezTo>
                  <a:pt x="296833" y="142199"/>
                  <a:pt x="289203" y="150824"/>
                  <a:pt x="282900" y="146179"/>
                </a:cubicBezTo>
                <a:cubicBezTo>
                  <a:pt x="276597" y="141535"/>
                  <a:pt x="271952" y="145184"/>
                  <a:pt x="264986" y="149165"/>
                </a:cubicBezTo>
                <a:cubicBezTo>
                  <a:pt x="258019" y="153146"/>
                  <a:pt x="255034" y="149165"/>
                  <a:pt x="244916" y="141204"/>
                </a:cubicBezTo>
                <a:cubicBezTo>
                  <a:pt x="237452" y="135232"/>
                  <a:pt x="232807" y="120802"/>
                  <a:pt x="219538" y="108030"/>
                </a:cubicBezTo>
                <a:cubicBezTo>
                  <a:pt x="209122" y="113089"/>
                  <a:pt x="197892" y="116290"/>
                  <a:pt x="186364" y="117484"/>
                </a:cubicBezTo>
                <a:cubicBezTo>
                  <a:pt x="174754" y="117484"/>
                  <a:pt x="138097" y="114830"/>
                  <a:pt x="136604" y="121299"/>
                </a:cubicBezTo>
                <a:cubicBezTo>
                  <a:pt x="135028" y="128630"/>
                  <a:pt x="138561" y="136111"/>
                  <a:pt x="145229" y="139545"/>
                </a:cubicBezTo>
                <a:cubicBezTo>
                  <a:pt x="151200" y="140871"/>
                  <a:pt x="163806" y="144521"/>
                  <a:pt x="151864" y="153146"/>
                </a:cubicBezTo>
                <a:cubicBezTo>
                  <a:pt x="139921" y="161771"/>
                  <a:pt x="129140" y="150160"/>
                  <a:pt x="129140" y="171060"/>
                </a:cubicBezTo>
                <a:cubicBezTo>
                  <a:pt x="129140" y="191959"/>
                  <a:pt x="156010" y="205560"/>
                  <a:pt x="150537" y="224967"/>
                </a:cubicBezTo>
                <a:cubicBezTo>
                  <a:pt x="146821" y="239812"/>
                  <a:pt x="144549" y="254972"/>
                  <a:pt x="143736" y="270249"/>
                </a:cubicBezTo>
                <a:cubicBezTo>
                  <a:pt x="143736" y="280035"/>
                  <a:pt x="139755" y="313540"/>
                  <a:pt x="130964" y="315365"/>
                </a:cubicBezTo>
                <a:cubicBezTo>
                  <a:pt x="122173" y="317190"/>
                  <a:pt x="114377" y="307569"/>
                  <a:pt x="102435" y="317521"/>
                </a:cubicBezTo>
                <a:cubicBezTo>
                  <a:pt x="90492" y="327473"/>
                  <a:pt x="75896" y="321336"/>
                  <a:pt x="62129" y="332118"/>
                </a:cubicBezTo>
                <a:cubicBezTo>
                  <a:pt x="48362" y="342899"/>
                  <a:pt x="33600" y="339084"/>
                  <a:pt x="32604" y="351856"/>
                </a:cubicBezTo>
                <a:cubicBezTo>
                  <a:pt x="31609" y="364628"/>
                  <a:pt x="18837" y="371428"/>
                  <a:pt x="21823" y="383205"/>
                </a:cubicBezTo>
                <a:cubicBezTo>
                  <a:pt x="24809" y="394982"/>
                  <a:pt x="16017" y="392162"/>
                  <a:pt x="7061" y="400953"/>
                </a:cubicBezTo>
                <a:cubicBezTo>
                  <a:pt x="-1896" y="409744"/>
                  <a:pt x="8056" y="415715"/>
                  <a:pt x="2085" y="422516"/>
                </a:cubicBezTo>
                <a:cubicBezTo>
                  <a:pt x="-3887" y="429317"/>
                  <a:pt x="4075" y="440264"/>
                  <a:pt x="11042" y="451045"/>
                </a:cubicBezTo>
                <a:cubicBezTo>
                  <a:pt x="18008" y="461827"/>
                  <a:pt x="25804" y="469789"/>
                  <a:pt x="24809" y="479575"/>
                </a:cubicBezTo>
                <a:cubicBezTo>
                  <a:pt x="23813" y="489361"/>
                  <a:pt x="31609" y="493342"/>
                  <a:pt x="41396" y="492346"/>
                </a:cubicBezTo>
                <a:cubicBezTo>
                  <a:pt x="51182" y="491351"/>
                  <a:pt x="43386" y="510924"/>
                  <a:pt x="59143" y="510924"/>
                </a:cubicBezTo>
                <a:cubicBezTo>
                  <a:pt x="74901" y="510924"/>
                  <a:pt x="90658" y="514905"/>
                  <a:pt x="94473" y="506114"/>
                </a:cubicBezTo>
                <a:cubicBezTo>
                  <a:pt x="98288" y="497323"/>
                  <a:pt x="109236" y="490356"/>
                  <a:pt x="109236" y="503128"/>
                </a:cubicBezTo>
                <a:cubicBezTo>
                  <a:pt x="109236" y="515900"/>
                  <a:pt x="106416" y="550234"/>
                  <a:pt x="117197" y="546420"/>
                </a:cubicBezTo>
                <a:cubicBezTo>
                  <a:pt x="131396" y="542771"/>
                  <a:pt x="146307" y="543119"/>
                  <a:pt x="160323" y="547415"/>
                </a:cubicBezTo>
                <a:cubicBezTo>
                  <a:pt x="170374" y="550832"/>
                  <a:pt x="181504" y="548111"/>
                  <a:pt x="188852" y="540448"/>
                </a:cubicBezTo>
                <a:cubicBezTo>
                  <a:pt x="195819" y="533648"/>
                  <a:pt x="203615" y="533648"/>
                  <a:pt x="217382" y="525686"/>
                </a:cubicBezTo>
                <a:cubicBezTo>
                  <a:pt x="228926" y="516829"/>
                  <a:pt x="242395" y="510808"/>
                  <a:pt x="256693" y="508104"/>
                </a:cubicBezTo>
                <a:cubicBezTo>
                  <a:pt x="269464" y="508104"/>
                  <a:pt x="291027" y="500142"/>
                  <a:pt x="288042" y="509928"/>
                </a:cubicBezTo>
                <a:cubicBezTo>
                  <a:pt x="283082" y="532155"/>
                  <a:pt x="287013" y="555426"/>
                  <a:pt x="298989" y="574783"/>
                </a:cubicBezTo>
                <a:cubicBezTo>
                  <a:pt x="314580" y="593526"/>
                  <a:pt x="323537" y="600327"/>
                  <a:pt x="338300" y="598502"/>
                </a:cubicBezTo>
                <a:cubicBezTo>
                  <a:pt x="353062" y="596678"/>
                  <a:pt x="351072" y="604308"/>
                  <a:pt x="361853" y="603312"/>
                </a:cubicBezTo>
                <a:cubicBezTo>
                  <a:pt x="372634" y="602317"/>
                  <a:pt x="365668" y="615089"/>
                  <a:pt x="375620" y="615089"/>
                </a:cubicBezTo>
                <a:cubicBezTo>
                  <a:pt x="385572" y="615089"/>
                  <a:pt x="403154" y="617079"/>
                  <a:pt x="403154" y="627861"/>
                </a:cubicBezTo>
                <a:cubicBezTo>
                  <a:pt x="403154" y="638642"/>
                  <a:pt x="432513" y="629851"/>
                  <a:pt x="439479" y="635822"/>
                </a:cubicBezTo>
                <a:cubicBezTo>
                  <a:pt x="446446" y="641794"/>
                  <a:pt x="454242" y="646604"/>
                  <a:pt x="452251" y="658381"/>
                </a:cubicBezTo>
                <a:cubicBezTo>
                  <a:pt x="450261" y="670157"/>
                  <a:pt x="467013" y="678948"/>
                  <a:pt x="457061" y="683925"/>
                </a:cubicBezTo>
                <a:cubicBezTo>
                  <a:pt x="447109" y="688901"/>
                  <a:pt x="460047" y="698687"/>
                  <a:pt x="461042" y="711458"/>
                </a:cubicBezTo>
                <a:cubicBezTo>
                  <a:pt x="462037" y="724231"/>
                  <a:pt x="475804" y="729206"/>
                  <a:pt x="497367" y="728045"/>
                </a:cubicBezTo>
                <a:cubicBezTo>
                  <a:pt x="518930" y="726885"/>
                  <a:pt x="524902" y="729040"/>
                  <a:pt x="524902" y="744632"/>
                </a:cubicBezTo>
                <a:cubicBezTo>
                  <a:pt x="524902" y="760224"/>
                  <a:pt x="539664" y="762380"/>
                  <a:pt x="544640" y="777806"/>
                </a:cubicBezTo>
                <a:cubicBezTo>
                  <a:pt x="549616" y="793232"/>
                  <a:pt x="538669" y="809155"/>
                  <a:pt x="540659" y="820932"/>
                </a:cubicBezTo>
                <a:cubicBezTo>
                  <a:pt x="541687" y="829789"/>
                  <a:pt x="537823" y="838497"/>
                  <a:pt x="530541" y="843655"/>
                </a:cubicBezTo>
                <a:cubicBezTo>
                  <a:pt x="538171" y="853276"/>
                  <a:pt x="538669" y="857588"/>
                  <a:pt x="531868" y="861403"/>
                </a:cubicBezTo>
                <a:cubicBezTo>
                  <a:pt x="525067" y="865219"/>
                  <a:pt x="542981" y="880313"/>
                  <a:pt x="538005" y="902207"/>
                </a:cubicBezTo>
                <a:cubicBezTo>
                  <a:pt x="533029" y="924102"/>
                  <a:pt x="532034" y="928248"/>
                  <a:pt x="554592" y="929244"/>
                </a:cubicBezTo>
                <a:cubicBezTo>
                  <a:pt x="577150" y="930239"/>
                  <a:pt x="575491" y="937205"/>
                  <a:pt x="583453" y="932229"/>
                </a:cubicBezTo>
                <a:cubicBezTo>
                  <a:pt x="591415" y="927253"/>
                  <a:pt x="603523" y="948816"/>
                  <a:pt x="606509" y="960095"/>
                </a:cubicBezTo>
                <a:cubicBezTo>
                  <a:pt x="609494" y="971374"/>
                  <a:pt x="618451" y="997084"/>
                  <a:pt x="623096" y="997084"/>
                </a:cubicBezTo>
                <a:cubicBezTo>
                  <a:pt x="627740" y="997084"/>
                  <a:pt x="639682" y="985141"/>
                  <a:pt x="650962" y="991113"/>
                </a:cubicBezTo>
                <a:cubicBezTo>
                  <a:pt x="662240" y="997084"/>
                  <a:pt x="648308" y="1034072"/>
                  <a:pt x="647810" y="1050493"/>
                </a:cubicBezTo>
                <a:cubicBezTo>
                  <a:pt x="655141" y="1049880"/>
                  <a:pt x="662522" y="1050377"/>
                  <a:pt x="669704" y="1051986"/>
                </a:cubicBezTo>
                <a:cubicBezTo>
                  <a:pt x="675676" y="1054972"/>
                  <a:pt x="678662" y="1095278"/>
                  <a:pt x="675676" y="1102742"/>
                </a:cubicBezTo>
                <a:cubicBezTo>
                  <a:pt x="672690" y="1110206"/>
                  <a:pt x="648142" y="1116841"/>
                  <a:pt x="635370" y="1125134"/>
                </a:cubicBezTo>
                <a:cubicBezTo>
                  <a:pt x="612978" y="1141936"/>
                  <a:pt x="593538" y="1162338"/>
                  <a:pt x="577814" y="1185510"/>
                </a:cubicBezTo>
                <a:cubicBezTo>
                  <a:pt x="569138" y="1198017"/>
                  <a:pt x="559369" y="1209727"/>
                  <a:pt x="548621" y="1220508"/>
                </a:cubicBezTo>
                <a:cubicBezTo>
                  <a:pt x="551822" y="1221404"/>
                  <a:pt x="555206" y="1221404"/>
                  <a:pt x="558407" y="1220508"/>
                </a:cubicBezTo>
                <a:cubicBezTo>
                  <a:pt x="565207" y="1217523"/>
                  <a:pt x="574994" y="1217523"/>
                  <a:pt x="586936" y="1230958"/>
                </a:cubicBezTo>
                <a:cubicBezTo>
                  <a:pt x="598879" y="1244393"/>
                  <a:pt x="597386" y="1254843"/>
                  <a:pt x="601864" y="1254014"/>
                </a:cubicBezTo>
                <a:cubicBezTo>
                  <a:pt x="606343" y="1253184"/>
                  <a:pt x="611485" y="1236100"/>
                  <a:pt x="620442" y="1248872"/>
                </a:cubicBezTo>
                <a:cubicBezTo>
                  <a:pt x="629399" y="1261644"/>
                  <a:pt x="652620" y="1271264"/>
                  <a:pt x="657762" y="1277235"/>
                </a:cubicBezTo>
                <a:cubicBezTo>
                  <a:pt x="662904" y="1283207"/>
                  <a:pt x="680154" y="1287685"/>
                  <a:pt x="680154" y="1303277"/>
                </a:cubicBezTo>
                <a:cubicBezTo>
                  <a:pt x="677218" y="1319897"/>
                  <a:pt x="678413" y="1336981"/>
                  <a:pt x="683637" y="1353037"/>
                </a:cubicBezTo>
                <a:cubicBezTo>
                  <a:pt x="688033" y="1347249"/>
                  <a:pt x="693291" y="1342156"/>
                  <a:pt x="699229" y="1337943"/>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7" name="Freeform: Shape 496">
            <a:extLst>
              <a:ext uri="{FF2B5EF4-FFF2-40B4-BE49-F238E27FC236}">
                <a16:creationId xmlns:a16="http://schemas.microsoft.com/office/drawing/2014/main" id="{0D149919-1689-473D-9775-1D34A413718D}"/>
              </a:ext>
            </a:extLst>
          </p:cNvPr>
          <p:cNvSpPr/>
          <p:nvPr/>
        </p:nvSpPr>
        <p:spPr>
          <a:xfrm>
            <a:off x="3776459" y="5484312"/>
            <a:ext cx="131034" cy="136014"/>
          </a:xfrm>
          <a:custGeom>
            <a:avLst/>
            <a:gdLst>
              <a:gd name="connsiteX0" fmla="*/ 162101 w 165267"/>
              <a:gd name="connsiteY0" fmla="*/ 84276 h 174904"/>
              <a:gd name="connsiteX1" fmla="*/ 139709 w 165267"/>
              <a:gd name="connsiteY1" fmla="*/ 58234 h 174904"/>
              <a:gd name="connsiteX2" fmla="*/ 102388 w 165267"/>
              <a:gd name="connsiteY2" fmla="*/ 29871 h 174904"/>
              <a:gd name="connsiteX3" fmla="*/ 83811 w 165267"/>
              <a:gd name="connsiteY3" fmla="*/ 35013 h 174904"/>
              <a:gd name="connsiteX4" fmla="*/ 68883 w 165267"/>
              <a:gd name="connsiteY4" fmla="*/ 11957 h 174904"/>
              <a:gd name="connsiteX5" fmla="*/ 40354 w 165267"/>
              <a:gd name="connsiteY5" fmla="*/ 1507 h 174904"/>
              <a:gd name="connsiteX6" fmla="*/ 30567 w 165267"/>
              <a:gd name="connsiteY6" fmla="*/ 1507 h 174904"/>
              <a:gd name="connsiteX7" fmla="*/ 20284 w 165267"/>
              <a:gd name="connsiteY7" fmla="*/ 20416 h 174904"/>
              <a:gd name="connsiteX8" fmla="*/ 9005 w 165267"/>
              <a:gd name="connsiteY8" fmla="*/ 77143 h 174904"/>
              <a:gd name="connsiteX9" fmla="*/ 48 w 165267"/>
              <a:gd name="connsiteY9" fmla="*/ 120435 h 174904"/>
              <a:gd name="connsiteX10" fmla="*/ 9834 w 165267"/>
              <a:gd name="connsiteY10" fmla="*/ 140505 h 174904"/>
              <a:gd name="connsiteX11" fmla="*/ 7346 w 165267"/>
              <a:gd name="connsiteY11" fmla="*/ 154438 h 174904"/>
              <a:gd name="connsiteX12" fmla="*/ 20449 w 165267"/>
              <a:gd name="connsiteY12" fmla="*/ 160907 h 174904"/>
              <a:gd name="connsiteX13" fmla="*/ 63243 w 165267"/>
              <a:gd name="connsiteY13" fmla="*/ 172020 h 174904"/>
              <a:gd name="connsiteX14" fmla="*/ 88953 w 165267"/>
              <a:gd name="connsiteY14" fmla="*/ 172020 h 174904"/>
              <a:gd name="connsiteX15" fmla="*/ 138714 w 165267"/>
              <a:gd name="connsiteY15" fmla="*/ 165219 h 174904"/>
              <a:gd name="connsiteX16" fmla="*/ 165253 w 165267"/>
              <a:gd name="connsiteY16" fmla="*/ 134202 h 174904"/>
              <a:gd name="connsiteX17" fmla="*/ 162101 w 165267"/>
              <a:gd name="connsiteY17" fmla="*/ 84276 h 17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5267" h="174904">
                <a:moveTo>
                  <a:pt x="162101" y="84276"/>
                </a:moveTo>
                <a:cubicBezTo>
                  <a:pt x="162101" y="68684"/>
                  <a:pt x="145514" y="64205"/>
                  <a:pt x="139709" y="58234"/>
                </a:cubicBezTo>
                <a:cubicBezTo>
                  <a:pt x="133904" y="52263"/>
                  <a:pt x="111345" y="42476"/>
                  <a:pt x="102388" y="29871"/>
                </a:cubicBezTo>
                <a:cubicBezTo>
                  <a:pt x="93432" y="17265"/>
                  <a:pt x="88290" y="34349"/>
                  <a:pt x="83811" y="35013"/>
                </a:cubicBezTo>
                <a:cubicBezTo>
                  <a:pt x="79333" y="35676"/>
                  <a:pt x="79996" y="25392"/>
                  <a:pt x="68883" y="11957"/>
                </a:cubicBezTo>
                <a:cubicBezTo>
                  <a:pt x="57770" y="-1479"/>
                  <a:pt x="47154" y="-1479"/>
                  <a:pt x="40354" y="1507"/>
                </a:cubicBezTo>
                <a:cubicBezTo>
                  <a:pt x="37152" y="2403"/>
                  <a:pt x="33769" y="2403"/>
                  <a:pt x="30567" y="1507"/>
                </a:cubicBezTo>
                <a:cubicBezTo>
                  <a:pt x="25127" y="6500"/>
                  <a:pt x="21511" y="13151"/>
                  <a:pt x="20284" y="20416"/>
                </a:cubicBezTo>
                <a:cubicBezTo>
                  <a:pt x="20284" y="34515"/>
                  <a:pt x="9834" y="50107"/>
                  <a:pt x="9005" y="77143"/>
                </a:cubicBezTo>
                <a:cubicBezTo>
                  <a:pt x="8175" y="104180"/>
                  <a:pt x="877" y="99535"/>
                  <a:pt x="48" y="120435"/>
                </a:cubicBezTo>
                <a:cubicBezTo>
                  <a:pt x="-782" y="141334"/>
                  <a:pt x="6848" y="137022"/>
                  <a:pt x="9834" y="140505"/>
                </a:cubicBezTo>
                <a:cubicBezTo>
                  <a:pt x="12820" y="143988"/>
                  <a:pt x="9834" y="148798"/>
                  <a:pt x="7346" y="154438"/>
                </a:cubicBezTo>
                <a:cubicBezTo>
                  <a:pt x="10481" y="158501"/>
                  <a:pt x="15308" y="160890"/>
                  <a:pt x="20449" y="160907"/>
                </a:cubicBezTo>
                <a:cubicBezTo>
                  <a:pt x="35461" y="160674"/>
                  <a:pt x="50239" y="164506"/>
                  <a:pt x="63243" y="172020"/>
                </a:cubicBezTo>
                <a:cubicBezTo>
                  <a:pt x="79830" y="179318"/>
                  <a:pt x="73527" y="169698"/>
                  <a:pt x="88953" y="172020"/>
                </a:cubicBezTo>
                <a:cubicBezTo>
                  <a:pt x="105822" y="175868"/>
                  <a:pt x="123504" y="173446"/>
                  <a:pt x="138714" y="165219"/>
                </a:cubicBezTo>
                <a:cubicBezTo>
                  <a:pt x="149445" y="156644"/>
                  <a:pt x="158435" y="146127"/>
                  <a:pt x="165253" y="134202"/>
                </a:cubicBezTo>
                <a:cubicBezTo>
                  <a:pt x="160111" y="118080"/>
                  <a:pt x="159033" y="100929"/>
                  <a:pt x="162101" y="84276"/>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8" name="Freeform: Shape 497">
            <a:extLst>
              <a:ext uri="{FF2B5EF4-FFF2-40B4-BE49-F238E27FC236}">
                <a16:creationId xmlns:a16="http://schemas.microsoft.com/office/drawing/2014/main" id="{3FE2AD4F-BA56-4136-BA00-6A644C05BE85}"/>
              </a:ext>
            </a:extLst>
          </p:cNvPr>
          <p:cNvSpPr/>
          <p:nvPr/>
        </p:nvSpPr>
        <p:spPr>
          <a:xfrm>
            <a:off x="3372668" y="5253454"/>
            <a:ext cx="530033" cy="1025031"/>
          </a:xfrm>
          <a:custGeom>
            <a:avLst/>
            <a:gdLst>
              <a:gd name="connsiteX0" fmla="*/ 252729 w 668503"/>
              <a:gd name="connsiteY0" fmla="*/ 1293915 h 1318114"/>
              <a:gd name="connsiteX1" fmla="*/ 186382 w 668503"/>
              <a:gd name="connsiteY1" fmla="*/ 1250457 h 1318114"/>
              <a:gd name="connsiteX2" fmla="*/ 169795 w 668503"/>
              <a:gd name="connsiteY2" fmla="*/ 1235032 h 1318114"/>
              <a:gd name="connsiteX3" fmla="*/ 172780 w 668503"/>
              <a:gd name="connsiteY3" fmla="*/ 1220933 h 1318114"/>
              <a:gd name="connsiteX4" fmla="*/ 161170 w 668503"/>
              <a:gd name="connsiteY4" fmla="*/ 1203019 h 1318114"/>
              <a:gd name="connsiteX5" fmla="*/ 161170 w 668503"/>
              <a:gd name="connsiteY5" fmla="*/ 1312493 h 1318114"/>
              <a:gd name="connsiteX6" fmla="*/ 217233 w 668503"/>
              <a:gd name="connsiteY6" fmla="*/ 1315478 h 1318114"/>
              <a:gd name="connsiteX7" fmla="*/ 232327 w 668503"/>
              <a:gd name="connsiteY7" fmla="*/ 1315478 h 1318114"/>
              <a:gd name="connsiteX8" fmla="*/ 273628 w 668503"/>
              <a:gd name="connsiteY8" fmla="*/ 1304531 h 1318114"/>
              <a:gd name="connsiteX9" fmla="*/ 252729 w 668503"/>
              <a:gd name="connsiteY9" fmla="*/ 1293915 h 1318114"/>
              <a:gd name="connsiteX10" fmla="*/ 660931 w 668503"/>
              <a:gd name="connsiteY10" fmla="*/ 130349 h 1318114"/>
              <a:gd name="connsiteX11" fmla="*/ 639036 w 668503"/>
              <a:gd name="connsiteY11" fmla="*/ 128856 h 1318114"/>
              <a:gd name="connsiteX12" fmla="*/ 639036 w 668503"/>
              <a:gd name="connsiteY12" fmla="*/ 132340 h 1318114"/>
              <a:gd name="connsiteX13" fmla="*/ 622449 w 668503"/>
              <a:gd name="connsiteY13" fmla="*/ 181105 h 1318114"/>
              <a:gd name="connsiteX14" fmla="*/ 596574 w 668503"/>
              <a:gd name="connsiteY14" fmla="*/ 194043 h 1318114"/>
              <a:gd name="connsiteX15" fmla="*/ 567547 w 668503"/>
              <a:gd name="connsiteY15" fmla="*/ 200014 h 1318114"/>
              <a:gd name="connsiteX16" fmla="*/ 535700 w 668503"/>
              <a:gd name="connsiteY16" fmla="*/ 197194 h 1318114"/>
              <a:gd name="connsiteX17" fmla="*/ 504683 w 668503"/>
              <a:gd name="connsiteY17" fmla="*/ 190227 h 1318114"/>
              <a:gd name="connsiteX18" fmla="*/ 515630 w 668503"/>
              <a:gd name="connsiteY18" fmla="*/ 168167 h 1318114"/>
              <a:gd name="connsiteX19" fmla="*/ 541671 w 668503"/>
              <a:gd name="connsiteY19" fmla="*/ 123383 h 1318114"/>
              <a:gd name="connsiteX20" fmla="*/ 479803 w 668503"/>
              <a:gd name="connsiteY20" fmla="*/ 92365 h 1318114"/>
              <a:gd name="connsiteX21" fmla="*/ 442814 w 668503"/>
              <a:gd name="connsiteY21" fmla="*/ 73456 h 1318114"/>
              <a:gd name="connsiteX22" fmla="*/ 405991 w 668503"/>
              <a:gd name="connsiteY22" fmla="*/ 50401 h 1318114"/>
              <a:gd name="connsiteX23" fmla="*/ 359880 w 668503"/>
              <a:gd name="connsiteY23" fmla="*/ 3294 h 1318114"/>
              <a:gd name="connsiteX24" fmla="*/ 326706 w 668503"/>
              <a:gd name="connsiteY24" fmla="*/ 3294 h 1318114"/>
              <a:gd name="connsiteX25" fmla="*/ 306968 w 668503"/>
              <a:gd name="connsiteY25" fmla="*/ 22866 h 1318114"/>
              <a:gd name="connsiteX26" fmla="*/ 268652 w 668503"/>
              <a:gd name="connsiteY26" fmla="*/ 7109 h 1318114"/>
              <a:gd name="connsiteX27" fmla="*/ 239294 w 668503"/>
              <a:gd name="connsiteY27" fmla="*/ 8104 h 1318114"/>
              <a:gd name="connsiteX28" fmla="*/ 214911 w 668503"/>
              <a:gd name="connsiteY28" fmla="*/ 28174 h 1318114"/>
              <a:gd name="connsiteX29" fmla="*/ 208110 w 668503"/>
              <a:gd name="connsiteY29" fmla="*/ 67153 h 1318114"/>
              <a:gd name="connsiteX30" fmla="*/ 170126 w 668503"/>
              <a:gd name="connsiteY30" fmla="*/ 97010 h 1318114"/>
              <a:gd name="connsiteX31" fmla="*/ 168136 w 668503"/>
              <a:gd name="connsiteY31" fmla="*/ 120895 h 1318114"/>
              <a:gd name="connsiteX32" fmla="*/ 171122 w 668503"/>
              <a:gd name="connsiteY32" fmla="*/ 156888 h 1318114"/>
              <a:gd name="connsiteX33" fmla="*/ 172117 w 668503"/>
              <a:gd name="connsiteY33" fmla="*/ 178782 h 1318114"/>
              <a:gd name="connsiteX34" fmla="*/ 152213 w 668503"/>
              <a:gd name="connsiteY34" fmla="*/ 195369 h 1318114"/>
              <a:gd name="connsiteX35" fmla="*/ 142260 w 668503"/>
              <a:gd name="connsiteY35" fmla="*/ 223235 h 1318114"/>
              <a:gd name="connsiteX36" fmla="*/ 127332 w 668503"/>
              <a:gd name="connsiteY36" fmla="*/ 253092 h 1318114"/>
              <a:gd name="connsiteX37" fmla="*/ 118376 w 668503"/>
              <a:gd name="connsiteY37" fmla="*/ 271005 h 1318114"/>
              <a:gd name="connsiteX38" fmla="*/ 118376 w 668503"/>
              <a:gd name="connsiteY38" fmla="*/ 305008 h 1318114"/>
              <a:gd name="connsiteX39" fmla="*/ 104277 w 668503"/>
              <a:gd name="connsiteY39" fmla="*/ 330884 h 1318114"/>
              <a:gd name="connsiteX40" fmla="*/ 104277 w 668503"/>
              <a:gd name="connsiteY40" fmla="*/ 366877 h 1318114"/>
              <a:gd name="connsiteX41" fmla="*/ 115390 w 668503"/>
              <a:gd name="connsiteY41" fmla="*/ 400051 h 1318114"/>
              <a:gd name="connsiteX42" fmla="*/ 123351 w 668503"/>
              <a:gd name="connsiteY42" fmla="*/ 428912 h 1318114"/>
              <a:gd name="connsiteX43" fmla="*/ 114229 w 668503"/>
              <a:gd name="connsiteY43" fmla="*/ 456778 h 1318114"/>
              <a:gd name="connsiteX44" fmla="*/ 104277 w 668503"/>
              <a:gd name="connsiteY44" fmla="*/ 480829 h 1318114"/>
              <a:gd name="connsiteX45" fmla="*/ 104277 w 668503"/>
              <a:gd name="connsiteY45" fmla="*/ 522628 h 1318114"/>
              <a:gd name="connsiteX46" fmla="*/ 79397 w 668503"/>
              <a:gd name="connsiteY46" fmla="*/ 555801 h 1318114"/>
              <a:gd name="connsiteX47" fmla="*/ 80392 w 668503"/>
              <a:gd name="connsiteY47" fmla="*/ 599756 h 1318114"/>
              <a:gd name="connsiteX48" fmla="*/ 88353 w 668503"/>
              <a:gd name="connsiteY48" fmla="*/ 618665 h 1318114"/>
              <a:gd name="connsiteX49" fmla="*/ 69444 w 668503"/>
              <a:gd name="connsiteY49" fmla="*/ 631603 h 1318114"/>
              <a:gd name="connsiteX50" fmla="*/ 67454 w 668503"/>
              <a:gd name="connsiteY50" fmla="*/ 656483 h 1318114"/>
              <a:gd name="connsiteX51" fmla="*/ 58497 w 668503"/>
              <a:gd name="connsiteY51" fmla="*/ 677549 h 1318114"/>
              <a:gd name="connsiteX52" fmla="*/ 49540 w 668503"/>
              <a:gd name="connsiteY52" fmla="*/ 700439 h 1318114"/>
              <a:gd name="connsiteX53" fmla="*/ 56507 w 668503"/>
              <a:gd name="connsiteY53" fmla="*/ 723328 h 1318114"/>
              <a:gd name="connsiteX54" fmla="*/ 54516 w 668503"/>
              <a:gd name="connsiteY54" fmla="*/ 759322 h 1318114"/>
              <a:gd name="connsiteX55" fmla="*/ 49540 w 668503"/>
              <a:gd name="connsiteY55" fmla="*/ 794154 h 1318114"/>
              <a:gd name="connsiteX56" fmla="*/ 52526 w 668503"/>
              <a:gd name="connsiteY56" fmla="*/ 812234 h 1318114"/>
              <a:gd name="connsiteX57" fmla="*/ 57502 w 668503"/>
              <a:gd name="connsiteY57" fmla="*/ 833133 h 1318114"/>
              <a:gd name="connsiteX58" fmla="*/ 67454 w 668503"/>
              <a:gd name="connsiteY58" fmla="*/ 849720 h 1318114"/>
              <a:gd name="connsiteX59" fmla="*/ 72430 w 668503"/>
              <a:gd name="connsiteY59" fmla="*/ 864648 h 1318114"/>
              <a:gd name="connsiteX60" fmla="*/ 59492 w 668503"/>
              <a:gd name="connsiteY60" fmla="*/ 871614 h 1318114"/>
              <a:gd name="connsiteX61" fmla="*/ 64468 w 668503"/>
              <a:gd name="connsiteY61" fmla="*/ 893675 h 1318114"/>
              <a:gd name="connsiteX62" fmla="*/ 59492 w 668503"/>
              <a:gd name="connsiteY62" fmla="*/ 919550 h 1318114"/>
              <a:gd name="connsiteX63" fmla="*/ 58497 w 668503"/>
              <a:gd name="connsiteY63" fmla="*/ 945426 h 1318114"/>
              <a:gd name="connsiteX64" fmla="*/ 48545 w 668503"/>
              <a:gd name="connsiteY64" fmla="*/ 968481 h 1318114"/>
              <a:gd name="connsiteX65" fmla="*/ 34446 w 668503"/>
              <a:gd name="connsiteY65" fmla="*/ 990376 h 1318114"/>
              <a:gd name="connsiteX66" fmla="*/ 35442 w 668503"/>
              <a:gd name="connsiteY66" fmla="*/ 1016418 h 1318114"/>
              <a:gd name="connsiteX67" fmla="*/ 21508 w 668503"/>
              <a:gd name="connsiteY67" fmla="*/ 1039307 h 1318114"/>
              <a:gd name="connsiteX68" fmla="*/ 3595 w 668503"/>
              <a:gd name="connsiteY68" fmla="*/ 1061202 h 1318114"/>
              <a:gd name="connsiteX69" fmla="*/ 4590 w 668503"/>
              <a:gd name="connsiteY69" fmla="*/ 1092219 h 1318114"/>
              <a:gd name="connsiteX70" fmla="*/ 10561 w 668503"/>
              <a:gd name="connsiteY70" fmla="*/ 1114114 h 1318114"/>
              <a:gd name="connsiteX71" fmla="*/ 41413 w 668503"/>
              <a:gd name="connsiteY71" fmla="*/ 1124066 h 1318114"/>
              <a:gd name="connsiteX72" fmla="*/ 43569 w 668503"/>
              <a:gd name="connsiteY72" fmla="*/ 1162050 h 1318114"/>
              <a:gd name="connsiteX73" fmla="*/ 60156 w 668503"/>
              <a:gd name="connsiteY73" fmla="*/ 1175983 h 1318114"/>
              <a:gd name="connsiteX74" fmla="*/ 119039 w 668503"/>
              <a:gd name="connsiteY74" fmla="*/ 1174988 h 1318114"/>
              <a:gd name="connsiteX75" fmla="*/ 136953 w 668503"/>
              <a:gd name="connsiteY75" fmla="*/ 1185271 h 1318114"/>
              <a:gd name="connsiteX76" fmla="*/ 168468 w 668503"/>
              <a:gd name="connsiteY76" fmla="*/ 1189418 h 1318114"/>
              <a:gd name="connsiteX77" fmla="*/ 150720 w 668503"/>
              <a:gd name="connsiteY77" fmla="*/ 1158567 h 1318114"/>
              <a:gd name="connsiteX78" fmla="*/ 147071 w 668503"/>
              <a:gd name="connsiteY78" fmla="*/ 1133521 h 1318114"/>
              <a:gd name="connsiteX79" fmla="*/ 153705 w 668503"/>
              <a:gd name="connsiteY79" fmla="*/ 1102503 h 1318114"/>
              <a:gd name="connsiteX80" fmla="*/ 171287 w 668503"/>
              <a:gd name="connsiteY80" fmla="*/ 1089234 h 1318114"/>
              <a:gd name="connsiteX81" fmla="*/ 192021 w 668503"/>
              <a:gd name="connsiteY81" fmla="*/ 1065680 h 1318114"/>
              <a:gd name="connsiteX82" fmla="*/ 215574 w 668503"/>
              <a:gd name="connsiteY82" fmla="*/ 1028858 h 1318114"/>
              <a:gd name="connsiteX83" fmla="*/ 254553 w 668503"/>
              <a:gd name="connsiteY83" fmla="*/ 995684 h 1318114"/>
              <a:gd name="connsiteX84" fmla="*/ 260525 w 668503"/>
              <a:gd name="connsiteY84" fmla="*/ 963339 h 1318114"/>
              <a:gd name="connsiteX85" fmla="*/ 227351 w 668503"/>
              <a:gd name="connsiteY85" fmla="*/ 954383 h 1318114"/>
              <a:gd name="connsiteX86" fmla="*/ 204461 w 668503"/>
              <a:gd name="connsiteY86" fmla="*/ 903627 h 1318114"/>
              <a:gd name="connsiteX87" fmla="*/ 259032 w 668503"/>
              <a:gd name="connsiteY87" fmla="*/ 872609 h 1318114"/>
              <a:gd name="connsiteX88" fmla="*/ 267160 w 668503"/>
              <a:gd name="connsiteY88" fmla="*/ 855027 h 1318114"/>
              <a:gd name="connsiteX89" fmla="*/ 275951 w 668503"/>
              <a:gd name="connsiteY89" fmla="*/ 832138 h 1318114"/>
              <a:gd name="connsiteX90" fmla="*/ 289220 w 668503"/>
              <a:gd name="connsiteY90" fmla="*/ 798964 h 1318114"/>
              <a:gd name="connsiteX91" fmla="*/ 298177 w 668503"/>
              <a:gd name="connsiteY91" fmla="*/ 787851 h 1318114"/>
              <a:gd name="connsiteX92" fmla="*/ 299504 w 668503"/>
              <a:gd name="connsiteY92" fmla="*/ 774582 h 1318114"/>
              <a:gd name="connsiteX93" fmla="*/ 317915 w 668503"/>
              <a:gd name="connsiteY93" fmla="*/ 785695 h 1318114"/>
              <a:gd name="connsiteX94" fmla="*/ 331185 w 668503"/>
              <a:gd name="connsiteY94" fmla="*/ 759819 h 1318114"/>
              <a:gd name="connsiteX95" fmla="*/ 308461 w 668503"/>
              <a:gd name="connsiteY95" fmla="*/ 765791 h 1318114"/>
              <a:gd name="connsiteX96" fmla="*/ 290049 w 668503"/>
              <a:gd name="connsiteY96" fmla="*/ 756834 h 1318114"/>
              <a:gd name="connsiteX97" fmla="*/ 284907 w 668503"/>
              <a:gd name="connsiteY97" fmla="*/ 731787 h 1318114"/>
              <a:gd name="connsiteX98" fmla="*/ 283415 w 668503"/>
              <a:gd name="connsiteY98" fmla="*/ 700936 h 1318114"/>
              <a:gd name="connsiteX99" fmla="*/ 336492 w 668503"/>
              <a:gd name="connsiteY99" fmla="*/ 714869 h 1318114"/>
              <a:gd name="connsiteX100" fmla="*/ 374808 w 668503"/>
              <a:gd name="connsiteY100" fmla="*/ 695628 h 1318114"/>
              <a:gd name="connsiteX101" fmla="*/ 377628 w 668503"/>
              <a:gd name="connsiteY101" fmla="*/ 663947 h 1318114"/>
              <a:gd name="connsiteX102" fmla="*/ 376301 w 668503"/>
              <a:gd name="connsiteY102" fmla="*/ 640394 h 1318114"/>
              <a:gd name="connsiteX103" fmla="*/ 388077 w 668503"/>
              <a:gd name="connsiteY103" fmla="*/ 627125 h 1318114"/>
              <a:gd name="connsiteX104" fmla="*/ 473499 w 668503"/>
              <a:gd name="connsiteY104" fmla="*/ 621983 h 1318114"/>
              <a:gd name="connsiteX105" fmla="*/ 536861 w 668503"/>
              <a:gd name="connsiteY105" fmla="*/ 591131 h 1318114"/>
              <a:gd name="connsiteX106" fmla="*/ 567049 w 668503"/>
              <a:gd name="connsiteY106" fmla="*/ 547508 h 1318114"/>
              <a:gd name="connsiteX107" fmla="*/ 553116 w 668503"/>
              <a:gd name="connsiteY107" fmla="*/ 525447 h 1318114"/>
              <a:gd name="connsiteX108" fmla="*/ 547145 w 668503"/>
              <a:gd name="connsiteY108" fmla="*/ 496752 h 1318114"/>
              <a:gd name="connsiteX109" fmla="*/ 528734 w 668503"/>
              <a:gd name="connsiteY109" fmla="*/ 476848 h 1318114"/>
              <a:gd name="connsiteX110" fmla="*/ 505180 w 668503"/>
              <a:gd name="connsiteY110" fmla="*/ 453958 h 1318114"/>
              <a:gd name="connsiteX111" fmla="*/ 517123 w 668503"/>
              <a:gd name="connsiteY111" fmla="*/ 451968 h 1318114"/>
              <a:gd name="connsiteX112" fmla="*/ 519611 w 668503"/>
              <a:gd name="connsiteY112" fmla="*/ 438035 h 1318114"/>
              <a:gd name="connsiteX113" fmla="*/ 509825 w 668503"/>
              <a:gd name="connsiteY113" fmla="*/ 417965 h 1318114"/>
              <a:gd name="connsiteX114" fmla="*/ 518782 w 668503"/>
              <a:gd name="connsiteY114" fmla="*/ 374673 h 1318114"/>
              <a:gd name="connsiteX115" fmla="*/ 530061 w 668503"/>
              <a:gd name="connsiteY115" fmla="*/ 317946 h 1318114"/>
              <a:gd name="connsiteX116" fmla="*/ 569537 w 668503"/>
              <a:gd name="connsiteY116" fmla="*/ 264039 h 1318114"/>
              <a:gd name="connsiteX117" fmla="*/ 627094 w 668503"/>
              <a:gd name="connsiteY117" fmla="*/ 203663 h 1318114"/>
              <a:gd name="connsiteX118" fmla="*/ 667400 w 668503"/>
              <a:gd name="connsiteY118" fmla="*/ 181270 h 1318114"/>
              <a:gd name="connsiteX119" fmla="*/ 660931 w 668503"/>
              <a:gd name="connsiteY119" fmla="*/ 130349 h 131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8503" h="1318114">
                <a:moveTo>
                  <a:pt x="252729" y="1293915"/>
                </a:moveTo>
                <a:cubicBezTo>
                  <a:pt x="234152" y="1293915"/>
                  <a:pt x="198158" y="1259249"/>
                  <a:pt x="186382" y="1250457"/>
                </a:cubicBezTo>
                <a:cubicBezTo>
                  <a:pt x="174605" y="1241666"/>
                  <a:pt x="183396" y="1232875"/>
                  <a:pt x="169795" y="1235032"/>
                </a:cubicBezTo>
                <a:cubicBezTo>
                  <a:pt x="156194" y="1237188"/>
                  <a:pt x="165482" y="1224748"/>
                  <a:pt x="172780" y="1220933"/>
                </a:cubicBezTo>
                <a:cubicBezTo>
                  <a:pt x="180079" y="1217118"/>
                  <a:pt x="170126" y="1204346"/>
                  <a:pt x="161170" y="1203019"/>
                </a:cubicBezTo>
                <a:cubicBezTo>
                  <a:pt x="160174" y="1222758"/>
                  <a:pt x="156028" y="1311663"/>
                  <a:pt x="161170" y="1312493"/>
                </a:cubicBezTo>
                <a:cubicBezTo>
                  <a:pt x="166312" y="1313322"/>
                  <a:pt x="205622" y="1307848"/>
                  <a:pt x="217233" y="1315478"/>
                </a:cubicBezTo>
                <a:cubicBezTo>
                  <a:pt x="221712" y="1316805"/>
                  <a:pt x="227683" y="1320454"/>
                  <a:pt x="232327" y="1315478"/>
                </a:cubicBezTo>
                <a:cubicBezTo>
                  <a:pt x="239625" y="1307351"/>
                  <a:pt x="261852" y="1311829"/>
                  <a:pt x="273628" y="1304531"/>
                </a:cubicBezTo>
                <a:cubicBezTo>
                  <a:pt x="285405" y="1297232"/>
                  <a:pt x="271140" y="1294745"/>
                  <a:pt x="252729" y="1293915"/>
                </a:cubicBezTo>
                <a:close/>
                <a:moveTo>
                  <a:pt x="660931" y="130349"/>
                </a:moveTo>
                <a:cubicBezTo>
                  <a:pt x="653749" y="128740"/>
                  <a:pt x="646368" y="128242"/>
                  <a:pt x="639036" y="128856"/>
                </a:cubicBezTo>
                <a:cubicBezTo>
                  <a:pt x="638937" y="130017"/>
                  <a:pt x="638937" y="131178"/>
                  <a:pt x="639036" y="132340"/>
                </a:cubicBezTo>
                <a:cubicBezTo>
                  <a:pt x="641027" y="146272"/>
                  <a:pt x="632070" y="182100"/>
                  <a:pt x="622449" y="181105"/>
                </a:cubicBezTo>
                <a:cubicBezTo>
                  <a:pt x="612829" y="180109"/>
                  <a:pt x="604536" y="196033"/>
                  <a:pt x="596574" y="194043"/>
                </a:cubicBezTo>
                <a:cubicBezTo>
                  <a:pt x="588612" y="192052"/>
                  <a:pt x="577499" y="206151"/>
                  <a:pt x="567547" y="200014"/>
                </a:cubicBezTo>
                <a:cubicBezTo>
                  <a:pt x="557595" y="193877"/>
                  <a:pt x="543662" y="202170"/>
                  <a:pt x="535700" y="197194"/>
                </a:cubicBezTo>
                <a:cubicBezTo>
                  <a:pt x="527739" y="192218"/>
                  <a:pt x="504683" y="196033"/>
                  <a:pt x="504683" y="190227"/>
                </a:cubicBezTo>
                <a:cubicBezTo>
                  <a:pt x="504683" y="184422"/>
                  <a:pt x="515630" y="186247"/>
                  <a:pt x="515630" y="168167"/>
                </a:cubicBezTo>
                <a:cubicBezTo>
                  <a:pt x="515630" y="150087"/>
                  <a:pt x="545652" y="130349"/>
                  <a:pt x="541671" y="123383"/>
                </a:cubicBezTo>
                <a:cubicBezTo>
                  <a:pt x="537691" y="116416"/>
                  <a:pt x="486769" y="101322"/>
                  <a:pt x="479803" y="92365"/>
                </a:cubicBezTo>
                <a:cubicBezTo>
                  <a:pt x="470929" y="80837"/>
                  <a:pt x="457344" y="73904"/>
                  <a:pt x="442814" y="73456"/>
                </a:cubicBezTo>
                <a:cubicBezTo>
                  <a:pt x="422910" y="71466"/>
                  <a:pt x="423905" y="61513"/>
                  <a:pt x="405991" y="50401"/>
                </a:cubicBezTo>
                <a:cubicBezTo>
                  <a:pt x="387779" y="37761"/>
                  <a:pt x="372121" y="21771"/>
                  <a:pt x="359880" y="3294"/>
                </a:cubicBezTo>
                <a:cubicBezTo>
                  <a:pt x="347606" y="1967"/>
                  <a:pt x="330355" y="-521"/>
                  <a:pt x="326706" y="3294"/>
                </a:cubicBezTo>
                <a:cubicBezTo>
                  <a:pt x="323057" y="7109"/>
                  <a:pt x="313934" y="36468"/>
                  <a:pt x="306968" y="22866"/>
                </a:cubicBezTo>
                <a:cubicBezTo>
                  <a:pt x="300001" y="9265"/>
                  <a:pt x="283415" y="9099"/>
                  <a:pt x="268652" y="7109"/>
                </a:cubicBezTo>
                <a:cubicBezTo>
                  <a:pt x="253890" y="5118"/>
                  <a:pt x="254885" y="-8649"/>
                  <a:pt x="239294" y="8104"/>
                </a:cubicBezTo>
                <a:cubicBezTo>
                  <a:pt x="231962" y="15701"/>
                  <a:pt x="223768" y="22435"/>
                  <a:pt x="214911" y="28174"/>
                </a:cubicBezTo>
                <a:cubicBezTo>
                  <a:pt x="214529" y="41427"/>
                  <a:pt x="212240" y="54547"/>
                  <a:pt x="208110" y="67153"/>
                </a:cubicBezTo>
                <a:cubicBezTo>
                  <a:pt x="204130" y="74120"/>
                  <a:pt x="171122" y="89048"/>
                  <a:pt x="170126" y="97010"/>
                </a:cubicBezTo>
                <a:cubicBezTo>
                  <a:pt x="169131" y="104971"/>
                  <a:pt x="174107" y="115918"/>
                  <a:pt x="168136" y="120895"/>
                </a:cubicBezTo>
                <a:cubicBezTo>
                  <a:pt x="162165" y="125870"/>
                  <a:pt x="182235" y="150917"/>
                  <a:pt x="171122" y="156888"/>
                </a:cubicBezTo>
                <a:cubicBezTo>
                  <a:pt x="160009" y="162859"/>
                  <a:pt x="179083" y="173475"/>
                  <a:pt x="172117" y="178782"/>
                </a:cubicBezTo>
                <a:cubicBezTo>
                  <a:pt x="165150" y="184090"/>
                  <a:pt x="152213" y="187740"/>
                  <a:pt x="152213" y="195369"/>
                </a:cubicBezTo>
                <a:cubicBezTo>
                  <a:pt x="152213" y="202999"/>
                  <a:pt x="151218" y="219254"/>
                  <a:pt x="142260" y="223235"/>
                </a:cubicBezTo>
                <a:cubicBezTo>
                  <a:pt x="132607" y="230052"/>
                  <a:pt x="127001" y="241265"/>
                  <a:pt x="127332" y="253092"/>
                </a:cubicBezTo>
                <a:cubicBezTo>
                  <a:pt x="127332" y="264039"/>
                  <a:pt x="113234" y="257072"/>
                  <a:pt x="118376" y="271005"/>
                </a:cubicBezTo>
                <a:cubicBezTo>
                  <a:pt x="123518" y="284938"/>
                  <a:pt x="129323" y="302023"/>
                  <a:pt x="118376" y="305008"/>
                </a:cubicBezTo>
                <a:cubicBezTo>
                  <a:pt x="107428" y="307994"/>
                  <a:pt x="110248" y="330884"/>
                  <a:pt x="104277" y="330884"/>
                </a:cubicBezTo>
                <a:cubicBezTo>
                  <a:pt x="98305" y="330884"/>
                  <a:pt x="95320" y="354935"/>
                  <a:pt x="104277" y="366877"/>
                </a:cubicBezTo>
                <a:cubicBezTo>
                  <a:pt x="111874" y="376232"/>
                  <a:pt x="115821" y="388009"/>
                  <a:pt x="115390" y="400051"/>
                </a:cubicBezTo>
                <a:cubicBezTo>
                  <a:pt x="115390" y="410998"/>
                  <a:pt x="127332" y="416638"/>
                  <a:pt x="123351" y="428912"/>
                </a:cubicBezTo>
                <a:cubicBezTo>
                  <a:pt x="119371" y="441186"/>
                  <a:pt x="121361" y="451802"/>
                  <a:pt x="114229" y="456778"/>
                </a:cubicBezTo>
                <a:cubicBezTo>
                  <a:pt x="107096" y="461754"/>
                  <a:pt x="113234" y="476682"/>
                  <a:pt x="104277" y="480829"/>
                </a:cubicBezTo>
                <a:cubicBezTo>
                  <a:pt x="95320" y="484975"/>
                  <a:pt x="111243" y="516656"/>
                  <a:pt x="104277" y="522628"/>
                </a:cubicBezTo>
                <a:cubicBezTo>
                  <a:pt x="97310" y="528599"/>
                  <a:pt x="79397" y="533741"/>
                  <a:pt x="79397" y="555801"/>
                </a:cubicBezTo>
                <a:cubicBezTo>
                  <a:pt x="80790" y="570414"/>
                  <a:pt x="81122" y="585094"/>
                  <a:pt x="80392" y="599756"/>
                </a:cubicBezTo>
                <a:cubicBezTo>
                  <a:pt x="78401" y="607718"/>
                  <a:pt x="90344" y="605562"/>
                  <a:pt x="88353" y="618665"/>
                </a:cubicBezTo>
                <a:cubicBezTo>
                  <a:pt x="86363" y="631769"/>
                  <a:pt x="70440" y="623641"/>
                  <a:pt x="69444" y="631603"/>
                </a:cubicBezTo>
                <a:cubicBezTo>
                  <a:pt x="68449" y="639565"/>
                  <a:pt x="73425" y="655488"/>
                  <a:pt x="67454" y="656483"/>
                </a:cubicBezTo>
                <a:cubicBezTo>
                  <a:pt x="61483" y="657478"/>
                  <a:pt x="58497" y="663450"/>
                  <a:pt x="58497" y="677549"/>
                </a:cubicBezTo>
                <a:cubicBezTo>
                  <a:pt x="58497" y="691648"/>
                  <a:pt x="50535" y="694135"/>
                  <a:pt x="49540" y="700439"/>
                </a:cubicBezTo>
                <a:cubicBezTo>
                  <a:pt x="48545" y="706741"/>
                  <a:pt x="56507" y="715367"/>
                  <a:pt x="56507" y="723328"/>
                </a:cubicBezTo>
                <a:cubicBezTo>
                  <a:pt x="56507" y="731290"/>
                  <a:pt x="61483" y="758326"/>
                  <a:pt x="54516" y="759322"/>
                </a:cubicBezTo>
                <a:cubicBezTo>
                  <a:pt x="47550" y="760317"/>
                  <a:pt x="43569" y="790173"/>
                  <a:pt x="49540" y="794154"/>
                </a:cubicBezTo>
                <a:cubicBezTo>
                  <a:pt x="54914" y="798583"/>
                  <a:pt x="56191" y="806312"/>
                  <a:pt x="52526" y="812234"/>
                </a:cubicBezTo>
                <a:cubicBezTo>
                  <a:pt x="49540" y="818205"/>
                  <a:pt x="66459" y="824010"/>
                  <a:pt x="57502" y="833133"/>
                </a:cubicBezTo>
                <a:cubicBezTo>
                  <a:pt x="48545" y="842256"/>
                  <a:pt x="55511" y="853535"/>
                  <a:pt x="67454" y="849720"/>
                </a:cubicBezTo>
                <a:cubicBezTo>
                  <a:pt x="79397" y="845905"/>
                  <a:pt x="84041" y="864648"/>
                  <a:pt x="72430" y="864648"/>
                </a:cubicBezTo>
                <a:cubicBezTo>
                  <a:pt x="60819" y="864648"/>
                  <a:pt x="50535" y="864648"/>
                  <a:pt x="59492" y="871614"/>
                </a:cubicBezTo>
                <a:cubicBezTo>
                  <a:pt x="68449" y="878581"/>
                  <a:pt x="77406" y="888201"/>
                  <a:pt x="64468" y="893675"/>
                </a:cubicBezTo>
                <a:cubicBezTo>
                  <a:pt x="51531" y="899148"/>
                  <a:pt x="62478" y="907608"/>
                  <a:pt x="59492" y="919550"/>
                </a:cubicBezTo>
                <a:cubicBezTo>
                  <a:pt x="56507" y="931493"/>
                  <a:pt x="68449" y="942606"/>
                  <a:pt x="58497" y="945426"/>
                </a:cubicBezTo>
                <a:cubicBezTo>
                  <a:pt x="48545" y="948246"/>
                  <a:pt x="62478" y="966491"/>
                  <a:pt x="48545" y="968481"/>
                </a:cubicBezTo>
                <a:cubicBezTo>
                  <a:pt x="34612" y="970472"/>
                  <a:pt x="43569" y="983410"/>
                  <a:pt x="34446" y="990376"/>
                </a:cubicBezTo>
                <a:cubicBezTo>
                  <a:pt x="25324" y="997343"/>
                  <a:pt x="46555" y="1009285"/>
                  <a:pt x="35442" y="1016418"/>
                </a:cubicBezTo>
                <a:cubicBezTo>
                  <a:pt x="24328" y="1023550"/>
                  <a:pt x="32456" y="1039307"/>
                  <a:pt x="21508" y="1039307"/>
                </a:cubicBezTo>
                <a:cubicBezTo>
                  <a:pt x="10561" y="1039307"/>
                  <a:pt x="4922" y="1054235"/>
                  <a:pt x="3595" y="1061202"/>
                </a:cubicBezTo>
                <a:cubicBezTo>
                  <a:pt x="2268" y="1068168"/>
                  <a:pt x="-4367" y="1082101"/>
                  <a:pt x="4590" y="1092219"/>
                </a:cubicBezTo>
                <a:cubicBezTo>
                  <a:pt x="13547" y="1102337"/>
                  <a:pt x="2599" y="1110133"/>
                  <a:pt x="10561" y="1114114"/>
                </a:cubicBezTo>
                <a:cubicBezTo>
                  <a:pt x="18523" y="1118095"/>
                  <a:pt x="45393" y="1112123"/>
                  <a:pt x="41413" y="1124066"/>
                </a:cubicBezTo>
                <a:cubicBezTo>
                  <a:pt x="37432" y="1136008"/>
                  <a:pt x="38427" y="1162050"/>
                  <a:pt x="43569" y="1162050"/>
                </a:cubicBezTo>
                <a:cubicBezTo>
                  <a:pt x="48711" y="1162050"/>
                  <a:pt x="51531" y="1176978"/>
                  <a:pt x="60156" y="1175983"/>
                </a:cubicBezTo>
                <a:cubicBezTo>
                  <a:pt x="79662" y="1173080"/>
                  <a:pt x="99450" y="1172748"/>
                  <a:pt x="119039" y="1174988"/>
                </a:cubicBezTo>
                <a:cubicBezTo>
                  <a:pt x="125707" y="1177011"/>
                  <a:pt x="131844" y="1180528"/>
                  <a:pt x="136953" y="1185271"/>
                </a:cubicBezTo>
                <a:cubicBezTo>
                  <a:pt x="145412" y="1181457"/>
                  <a:pt x="164155" y="1193731"/>
                  <a:pt x="168468" y="1189418"/>
                </a:cubicBezTo>
                <a:cubicBezTo>
                  <a:pt x="172780" y="1185106"/>
                  <a:pt x="150056" y="1165201"/>
                  <a:pt x="150720" y="1158567"/>
                </a:cubicBezTo>
                <a:cubicBezTo>
                  <a:pt x="151383" y="1151932"/>
                  <a:pt x="147071" y="1140819"/>
                  <a:pt x="147071" y="1133521"/>
                </a:cubicBezTo>
                <a:cubicBezTo>
                  <a:pt x="147071" y="1126222"/>
                  <a:pt x="143422" y="1109968"/>
                  <a:pt x="153705" y="1102503"/>
                </a:cubicBezTo>
                <a:cubicBezTo>
                  <a:pt x="163989" y="1095039"/>
                  <a:pt x="164653" y="1087741"/>
                  <a:pt x="171287" y="1089234"/>
                </a:cubicBezTo>
                <a:cubicBezTo>
                  <a:pt x="177922" y="1090727"/>
                  <a:pt x="191192" y="1083428"/>
                  <a:pt x="192021" y="1065680"/>
                </a:cubicBezTo>
                <a:cubicBezTo>
                  <a:pt x="192850" y="1047932"/>
                  <a:pt x="200812" y="1041298"/>
                  <a:pt x="215574" y="1028858"/>
                </a:cubicBezTo>
                <a:cubicBezTo>
                  <a:pt x="230337" y="1016418"/>
                  <a:pt x="258368" y="1002319"/>
                  <a:pt x="254553" y="995684"/>
                </a:cubicBezTo>
                <a:cubicBezTo>
                  <a:pt x="250738" y="989049"/>
                  <a:pt x="260525" y="970638"/>
                  <a:pt x="260525" y="963339"/>
                </a:cubicBezTo>
                <a:cubicBezTo>
                  <a:pt x="260525" y="956041"/>
                  <a:pt x="235479" y="957368"/>
                  <a:pt x="227351" y="954383"/>
                </a:cubicBezTo>
                <a:cubicBezTo>
                  <a:pt x="219224" y="951397"/>
                  <a:pt x="189699" y="930829"/>
                  <a:pt x="204461" y="903627"/>
                </a:cubicBezTo>
                <a:cubicBezTo>
                  <a:pt x="216304" y="884801"/>
                  <a:pt x="236789" y="873140"/>
                  <a:pt x="259032" y="872609"/>
                </a:cubicBezTo>
                <a:cubicBezTo>
                  <a:pt x="267823" y="872609"/>
                  <a:pt x="259861" y="859340"/>
                  <a:pt x="267160" y="855027"/>
                </a:cubicBezTo>
                <a:cubicBezTo>
                  <a:pt x="274458" y="850715"/>
                  <a:pt x="275951" y="843251"/>
                  <a:pt x="275951" y="832138"/>
                </a:cubicBezTo>
                <a:cubicBezTo>
                  <a:pt x="275951" y="821025"/>
                  <a:pt x="275951" y="798964"/>
                  <a:pt x="289220" y="798964"/>
                </a:cubicBezTo>
                <a:cubicBezTo>
                  <a:pt x="302489" y="798964"/>
                  <a:pt x="305807" y="790007"/>
                  <a:pt x="298177" y="787851"/>
                </a:cubicBezTo>
                <a:cubicBezTo>
                  <a:pt x="290547" y="785695"/>
                  <a:pt x="286234" y="776074"/>
                  <a:pt x="299504" y="774582"/>
                </a:cubicBezTo>
                <a:cubicBezTo>
                  <a:pt x="312773" y="773088"/>
                  <a:pt x="308461" y="785695"/>
                  <a:pt x="317915" y="785695"/>
                </a:cubicBezTo>
                <a:cubicBezTo>
                  <a:pt x="327370" y="785695"/>
                  <a:pt x="343791" y="769108"/>
                  <a:pt x="331185" y="759819"/>
                </a:cubicBezTo>
                <a:cubicBezTo>
                  <a:pt x="318579" y="750531"/>
                  <a:pt x="314598" y="764297"/>
                  <a:pt x="308461" y="765791"/>
                </a:cubicBezTo>
                <a:cubicBezTo>
                  <a:pt x="302324" y="767283"/>
                  <a:pt x="296684" y="756834"/>
                  <a:pt x="290049" y="756834"/>
                </a:cubicBezTo>
                <a:cubicBezTo>
                  <a:pt x="283415" y="756834"/>
                  <a:pt x="287727" y="738422"/>
                  <a:pt x="284907" y="731787"/>
                </a:cubicBezTo>
                <a:cubicBezTo>
                  <a:pt x="282088" y="725153"/>
                  <a:pt x="277443" y="709064"/>
                  <a:pt x="283415" y="700936"/>
                </a:cubicBezTo>
                <a:cubicBezTo>
                  <a:pt x="289386" y="692808"/>
                  <a:pt x="314266" y="713376"/>
                  <a:pt x="336492" y="714869"/>
                </a:cubicBezTo>
                <a:cubicBezTo>
                  <a:pt x="358719" y="716362"/>
                  <a:pt x="374808" y="703756"/>
                  <a:pt x="374808" y="695628"/>
                </a:cubicBezTo>
                <a:cubicBezTo>
                  <a:pt x="374808" y="687501"/>
                  <a:pt x="364358" y="672904"/>
                  <a:pt x="377628" y="663947"/>
                </a:cubicBezTo>
                <a:cubicBezTo>
                  <a:pt x="390897" y="654990"/>
                  <a:pt x="379950" y="652171"/>
                  <a:pt x="376301" y="640394"/>
                </a:cubicBezTo>
                <a:cubicBezTo>
                  <a:pt x="372652" y="628617"/>
                  <a:pt x="382106" y="621319"/>
                  <a:pt x="388077" y="627125"/>
                </a:cubicBezTo>
                <a:cubicBezTo>
                  <a:pt x="394049" y="632930"/>
                  <a:pt x="437838" y="629447"/>
                  <a:pt x="473499" y="621983"/>
                </a:cubicBezTo>
                <a:cubicBezTo>
                  <a:pt x="509161" y="614518"/>
                  <a:pt x="534705" y="601415"/>
                  <a:pt x="536861" y="591131"/>
                </a:cubicBezTo>
                <a:cubicBezTo>
                  <a:pt x="539018" y="580847"/>
                  <a:pt x="561907" y="556464"/>
                  <a:pt x="567049" y="547508"/>
                </a:cubicBezTo>
                <a:cubicBezTo>
                  <a:pt x="572191" y="538551"/>
                  <a:pt x="567879" y="527604"/>
                  <a:pt x="553116" y="525447"/>
                </a:cubicBezTo>
                <a:cubicBezTo>
                  <a:pt x="538354" y="523291"/>
                  <a:pt x="539018" y="506372"/>
                  <a:pt x="547145" y="496752"/>
                </a:cubicBezTo>
                <a:cubicBezTo>
                  <a:pt x="555273" y="487132"/>
                  <a:pt x="542833" y="478341"/>
                  <a:pt x="528734" y="476848"/>
                </a:cubicBezTo>
                <a:cubicBezTo>
                  <a:pt x="514635" y="475355"/>
                  <a:pt x="492740" y="465734"/>
                  <a:pt x="505180" y="453958"/>
                </a:cubicBezTo>
                <a:cubicBezTo>
                  <a:pt x="511152" y="448319"/>
                  <a:pt x="514137" y="449480"/>
                  <a:pt x="517123" y="451968"/>
                </a:cubicBezTo>
                <a:cubicBezTo>
                  <a:pt x="519279" y="446328"/>
                  <a:pt x="521270" y="439694"/>
                  <a:pt x="519611" y="438035"/>
                </a:cubicBezTo>
                <a:cubicBezTo>
                  <a:pt x="517952" y="436376"/>
                  <a:pt x="509161" y="438864"/>
                  <a:pt x="509825" y="417965"/>
                </a:cubicBezTo>
                <a:cubicBezTo>
                  <a:pt x="510488" y="397065"/>
                  <a:pt x="518118" y="401378"/>
                  <a:pt x="518782" y="374673"/>
                </a:cubicBezTo>
                <a:cubicBezTo>
                  <a:pt x="519445" y="347968"/>
                  <a:pt x="530061" y="332045"/>
                  <a:pt x="530061" y="317946"/>
                </a:cubicBezTo>
                <a:cubicBezTo>
                  <a:pt x="530061" y="303847"/>
                  <a:pt x="555438" y="287261"/>
                  <a:pt x="569537" y="264039"/>
                </a:cubicBezTo>
                <a:cubicBezTo>
                  <a:pt x="585262" y="240867"/>
                  <a:pt x="604701" y="220482"/>
                  <a:pt x="627094" y="203663"/>
                </a:cubicBezTo>
                <a:cubicBezTo>
                  <a:pt x="639865" y="195369"/>
                  <a:pt x="664414" y="188735"/>
                  <a:pt x="667400" y="181270"/>
                </a:cubicBezTo>
                <a:cubicBezTo>
                  <a:pt x="670385" y="173807"/>
                  <a:pt x="666902" y="133335"/>
                  <a:pt x="660931" y="13034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499" name="Freeform: Shape 498">
            <a:extLst>
              <a:ext uri="{FF2B5EF4-FFF2-40B4-BE49-F238E27FC236}">
                <a16:creationId xmlns:a16="http://schemas.microsoft.com/office/drawing/2014/main" id="{D51197DA-5870-43F2-BE51-F34A5A742A2B}"/>
              </a:ext>
            </a:extLst>
          </p:cNvPr>
          <p:cNvSpPr/>
          <p:nvPr/>
        </p:nvSpPr>
        <p:spPr>
          <a:xfrm>
            <a:off x="3316453" y="5134169"/>
            <a:ext cx="228463" cy="1162722"/>
          </a:xfrm>
          <a:custGeom>
            <a:avLst/>
            <a:gdLst>
              <a:gd name="connsiteX0" fmla="*/ 130559 w 288148"/>
              <a:gd name="connsiteY0" fmla="*/ 1329208 h 1495174"/>
              <a:gd name="connsiteX1" fmla="*/ 113972 w 288148"/>
              <a:gd name="connsiteY1" fmla="*/ 1315275 h 1495174"/>
              <a:gd name="connsiteX2" fmla="*/ 111816 w 288148"/>
              <a:gd name="connsiteY2" fmla="*/ 1277291 h 1495174"/>
              <a:gd name="connsiteX3" fmla="*/ 80965 w 288148"/>
              <a:gd name="connsiteY3" fmla="*/ 1267339 h 1495174"/>
              <a:gd name="connsiteX4" fmla="*/ 74993 w 288148"/>
              <a:gd name="connsiteY4" fmla="*/ 1245444 h 1495174"/>
              <a:gd name="connsiteX5" fmla="*/ 73998 w 288148"/>
              <a:gd name="connsiteY5" fmla="*/ 1214427 h 1495174"/>
              <a:gd name="connsiteX6" fmla="*/ 91912 w 288148"/>
              <a:gd name="connsiteY6" fmla="*/ 1192532 h 1495174"/>
              <a:gd name="connsiteX7" fmla="*/ 105845 w 288148"/>
              <a:gd name="connsiteY7" fmla="*/ 1169642 h 1495174"/>
              <a:gd name="connsiteX8" fmla="*/ 104849 w 288148"/>
              <a:gd name="connsiteY8" fmla="*/ 1143602 h 1495174"/>
              <a:gd name="connsiteX9" fmla="*/ 118948 w 288148"/>
              <a:gd name="connsiteY9" fmla="*/ 1121707 h 1495174"/>
              <a:gd name="connsiteX10" fmla="*/ 128901 w 288148"/>
              <a:gd name="connsiteY10" fmla="*/ 1098651 h 1495174"/>
              <a:gd name="connsiteX11" fmla="*/ 129896 w 288148"/>
              <a:gd name="connsiteY11" fmla="*/ 1072775 h 1495174"/>
              <a:gd name="connsiteX12" fmla="*/ 134872 w 288148"/>
              <a:gd name="connsiteY12" fmla="*/ 1046900 h 1495174"/>
              <a:gd name="connsiteX13" fmla="*/ 129896 w 288148"/>
              <a:gd name="connsiteY13" fmla="*/ 1024840 h 1495174"/>
              <a:gd name="connsiteX14" fmla="*/ 142833 w 288148"/>
              <a:gd name="connsiteY14" fmla="*/ 1017873 h 1495174"/>
              <a:gd name="connsiteX15" fmla="*/ 137857 w 288148"/>
              <a:gd name="connsiteY15" fmla="*/ 1002945 h 1495174"/>
              <a:gd name="connsiteX16" fmla="*/ 127905 w 288148"/>
              <a:gd name="connsiteY16" fmla="*/ 986358 h 1495174"/>
              <a:gd name="connsiteX17" fmla="*/ 122929 w 288148"/>
              <a:gd name="connsiteY17" fmla="*/ 965459 h 1495174"/>
              <a:gd name="connsiteX18" fmla="*/ 119944 w 288148"/>
              <a:gd name="connsiteY18" fmla="*/ 947379 h 1495174"/>
              <a:gd name="connsiteX19" fmla="*/ 124920 w 288148"/>
              <a:gd name="connsiteY19" fmla="*/ 912547 h 1495174"/>
              <a:gd name="connsiteX20" fmla="*/ 126910 w 288148"/>
              <a:gd name="connsiteY20" fmla="*/ 876553 h 1495174"/>
              <a:gd name="connsiteX21" fmla="*/ 119944 w 288148"/>
              <a:gd name="connsiteY21" fmla="*/ 853664 h 1495174"/>
              <a:gd name="connsiteX22" fmla="*/ 128901 w 288148"/>
              <a:gd name="connsiteY22" fmla="*/ 830774 h 1495174"/>
              <a:gd name="connsiteX23" fmla="*/ 137857 w 288148"/>
              <a:gd name="connsiteY23" fmla="*/ 809709 h 1495174"/>
              <a:gd name="connsiteX24" fmla="*/ 139848 w 288148"/>
              <a:gd name="connsiteY24" fmla="*/ 784828 h 1495174"/>
              <a:gd name="connsiteX25" fmla="*/ 158757 w 288148"/>
              <a:gd name="connsiteY25" fmla="*/ 771891 h 1495174"/>
              <a:gd name="connsiteX26" fmla="*/ 150795 w 288148"/>
              <a:gd name="connsiteY26" fmla="*/ 752981 h 1495174"/>
              <a:gd name="connsiteX27" fmla="*/ 149800 w 288148"/>
              <a:gd name="connsiteY27" fmla="*/ 709026 h 1495174"/>
              <a:gd name="connsiteX28" fmla="*/ 174680 w 288148"/>
              <a:gd name="connsiteY28" fmla="*/ 675853 h 1495174"/>
              <a:gd name="connsiteX29" fmla="*/ 174680 w 288148"/>
              <a:gd name="connsiteY29" fmla="*/ 634054 h 1495174"/>
              <a:gd name="connsiteX30" fmla="*/ 184632 w 288148"/>
              <a:gd name="connsiteY30" fmla="*/ 610003 h 1495174"/>
              <a:gd name="connsiteX31" fmla="*/ 193755 w 288148"/>
              <a:gd name="connsiteY31" fmla="*/ 582137 h 1495174"/>
              <a:gd name="connsiteX32" fmla="*/ 185793 w 288148"/>
              <a:gd name="connsiteY32" fmla="*/ 553276 h 1495174"/>
              <a:gd name="connsiteX33" fmla="*/ 174680 w 288148"/>
              <a:gd name="connsiteY33" fmla="*/ 520102 h 1495174"/>
              <a:gd name="connsiteX34" fmla="*/ 174680 w 288148"/>
              <a:gd name="connsiteY34" fmla="*/ 484109 h 1495174"/>
              <a:gd name="connsiteX35" fmla="*/ 188779 w 288148"/>
              <a:gd name="connsiteY35" fmla="*/ 458233 h 1495174"/>
              <a:gd name="connsiteX36" fmla="*/ 188779 w 288148"/>
              <a:gd name="connsiteY36" fmla="*/ 424230 h 1495174"/>
              <a:gd name="connsiteX37" fmla="*/ 197736 w 288148"/>
              <a:gd name="connsiteY37" fmla="*/ 406317 h 1495174"/>
              <a:gd name="connsiteX38" fmla="*/ 212664 w 288148"/>
              <a:gd name="connsiteY38" fmla="*/ 376461 h 1495174"/>
              <a:gd name="connsiteX39" fmla="*/ 222616 w 288148"/>
              <a:gd name="connsiteY39" fmla="*/ 348594 h 1495174"/>
              <a:gd name="connsiteX40" fmla="*/ 242520 w 288148"/>
              <a:gd name="connsiteY40" fmla="*/ 332007 h 1495174"/>
              <a:gd name="connsiteX41" fmla="*/ 241525 w 288148"/>
              <a:gd name="connsiteY41" fmla="*/ 310113 h 1495174"/>
              <a:gd name="connsiteX42" fmla="*/ 238539 w 288148"/>
              <a:gd name="connsiteY42" fmla="*/ 274120 h 1495174"/>
              <a:gd name="connsiteX43" fmla="*/ 240530 w 288148"/>
              <a:gd name="connsiteY43" fmla="*/ 250234 h 1495174"/>
              <a:gd name="connsiteX44" fmla="*/ 278514 w 288148"/>
              <a:gd name="connsiteY44" fmla="*/ 220378 h 1495174"/>
              <a:gd name="connsiteX45" fmla="*/ 285314 w 288148"/>
              <a:gd name="connsiteY45" fmla="*/ 181399 h 1495174"/>
              <a:gd name="connsiteX46" fmla="*/ 264415 w 288148"/>
              <a:gd name="connsiteY46" fmla="*/ 187868 h 1495174"/>
              <a:gd name="connsiteX47" fmla="*/ 256619 w 288148"/>
              <a:gd name="connsiteY47" fmla="*/ 151543 h 1495174"/>
              <a:gd name="connsiteX48" fmla="*/ 244842 w 288148"/>
              <a:gd name="connsiteY48" fmla="*/ 121023 h 1495174"/>
              <a:gd name="connsiteX49" fmla="*/ 232900 w 288148"/>
              <a:gd name="connsiteY49" fmla="*/ 93489 h 1495174"/>
              <a:gd name="connsiteX50" fmla="*/ 239866 w 288148"/>
              <a:gd name="connsiteY50" fmla="*/ 69936 h 1495174"/>
              <a:gd name="connsiteX51" fmla="*/ 226099 w 288148"/>
              <a:gd name="connsiteY51" fmla="*/ 51359 h 1495174"/>
              <a:gd name="connsiteX52" fmla="*/ 218304 w 288148"/>
              <a:gd name="connsiteY52" fmla="*/ 15862 h 1495174"/>
              <a:gd name="connsiteX53" fmla="*/ 203541 w 288148"/>
              <a:gd name="connsiteY53" fmla="*/ 1100 h 1495174"/>
              <a:gd name="connsiteX54" fmla="*/ 189774 w 288148"/>
              <a:gd name="connsiteY54" fmla="*/ 27639 h 1495174"/>
              <a:gd name="connsiteX55" fmla="*/ 182476 w 288148"/>
              <a:gd name="connsiteY55" fmla="*/ 32947 h 1495174"/>
              <a:gd name="connsiteX56" fmla="*/ 182476 w 288148"/>
              <a:gd name="connsiteY56" fmla="*/ 62803 h 1495174"/>
              <a:gd name="connsiteX57" fmla="*/ 184798 w 288148"/>
              <a:gd name="connsiteY57" fmla="*/ 148392 h 1495174"/>
              <a:gd name="connsiteX58" fmla="*/ 171529 w 288148"/>
              <a:gd name="connsiteY58" fmla="*/ 198152 h 1495174"/>
              <a:gd name="connsiteX59" fmla="*/ 175841 w 288148"/>
              <a:gd name="connsiteY59" fmla="*/ 217227 h 1495174"/>
              <a:gd name="connsiteX60" fmla="*/ 172856 w 288148"/>
              <a:gd name="connsiteY60" fmla="*/ 261679 h 1495174"/>
              <a:gd name="connsiteX61" fmla="*/ 158093 w 288148"/>
              <a:gd name="connsiteY61" fmla="*/ 337647 h 1495174"/>
              <a:gd name="connsiteX62" fmla="*/ 149302 w 288148"/>
              <a:gd name="connsiteY62" fmla="*/ 372148 h 1495174"/>
              <a:gd name="connsiteX63" fmla="*/ 134540 w 288148"/>
              <a:gd name="connsiteY63" fmla="*/ 401009 h 1495174"/>
              <a:gd name="connsiteX64" fmla="*/ 147146 w 288148"/>
              <a:gd name="connsiteY64" fmla="*/ 440651 h 1495174"/>
              <a:gd name="connsiteX65" fmla="*/ 134540 w 288148"/>
              <a:gd name="connsiteY65" fmla="*/ 476811 h 1495174"/>
              <a:gd name="connsiteX66" fmla="*/ 134540 w 288148"/>
              <a:gd name="connsiteY66" fmla="*/ 549793 h 1495174"/>
              <a:gd name="connsiteX67" fmla="*/ 127242 w 288148"/>
              <a:gd name="connsiteY67" fmla="*/ 572683 h 1495174"/>
              <a:gd name="connsiteX68" fmla="*/ 115465 w 288148"/>
              <a:gd name="connsiteY68" fmla="*/ 613984 h 1495174"/>
              <a:gd name="connsiteX69" fmla="*/ 89590 w 288148"/>
              <a:gd name="connsiteY69" fmla="*/ 684644 h 1495174"/>
              <a:gd name="connsiteX70" fmla="*/ 74164 w 288148"/>
              <a:gd name="connsiteY70" fmla="*/ 711183 h 1495174"/>
              <a:gd name="connsiteX71" fmla="*/ 69685 w 288148"/>
              <a:gd name="connsiteY71" fmla="*/ 735565 h 1495174"/>
              <a:gd name="connsiteX72" fmla="*/ 74164 w 288148"/>
              <a:gd name="connsiteY72" fmla="*/ 777530 h 1495174"/>
              <a:gd name="connsiteX73" fmla="*/ 75657 w 288148"/>
              <a:gd name="connsiteY73" fmla="*/ 810704 h 1495174"/>
              <a:gd name="connsiteX74" fmla="*/ 65207 w 288148"/>
              <a:gd name="connsiteY74" fmla="*/ 838735 h 1495174"/>
              <a:gd name="connsiteX75" fmla="*/ 60894 w 288148"/>
              <a:gd name="connsiteY75" fmla="*/ 877880 h 1495174"/>
              <a:gd name="connsiteX76" fmla="*/ 57909 w 288148"/>
              <a:gd name="connsiteY76" fmla="*/ 897785 h 1495174"/>
              <a:gd name="connsiteX77" fmla="*/ 43976 w 288148"/>
              <a:gd name="connsiteY77" fmla="*/ 933778 h 1495174"/>
              <a:gd name="connsiteX78" fmla="*/ 59402 w 288148"/>
              <a:gd name="connsiteY78" fmla="*/ 956004 h 1495174"/>
              <a:gd name="connsiteX79" fmla="*/ 74164 w 288148"/>
              <a:gd name="connsiteY79" fmla="*/ 896292 h 1495174"/>
              <a:gd name="connsiteX80" fmla="*/ 86604 w 288148"/>
              <a:gd name="connsiteY80" fmla="*/ 883686 h 1495174"/>
              <a:gd name="connsiteX81" fmla="*/ 95561 w 288148"/>
              <a:gd name="connsiteY81" fmla="*/ 896292 h 1495174"/>
              <a:gd name="connsiteX82" fmla="*/ 97717 w 288148"/>
              <a:gd name="connsiteY82" fmla="*/ 911054 h 1495174"/>
              <a:gd name="connsiteX83" fmla="*/ 94731 w 288148"/>
              <a:gd name="connsiteY83" fmla="*/ 938920 h 1495174"/>
              <a:gd name="connsiteX84" fmla="*/ 86604 w 288148"/>
              <a:gd name="connsiteY84" fmla="*/ 965459 h 1495174"/>
              <a:gd name="connsiteX85" fmla="*/ 80799 w 288148"/>
              <a:gd name="connsiteY85" fmla="*/ 986856 h 1495174"/>
              <a:gd name="connsiteX86" fmla="*/ 82291 w 288148"/>
              <a:gd name="connsiteY86" fmla="*/ 1003443 h 1495174"/>
              <a:gd name="connsiteX87" fmla="*/ 81462 w 288148"/>
              <a:gd name="connsiteY87" fmla="*/ 1017375 h 1495174"/>
              <a:gd name="connsiteX88" fmla="*/ 82955 w 288148"/>
              <a:gd name="connsiteY88" fmla="*/ 1037445 h 1495174"/>
              <a:gd name="connsiteX89" fmla="*/ 66368 w 288148"/>
              <a:gd name="connsiteY89" fmla="*/ 1046900 h 1495174"/>
              <a:gd name="connsiteX90" fmla="*/ 69354 w 288148"/>
              <a:gd name="connsiteY90" fmla="*/ 1068961 h 1495174"/>
              <a:gd name="connsiteX91" fmla="*/ 47957 w 288148"/>
              <a:gd name="connsiteY91" fmla="*/ 1060170 h 1495174"/>
              <a:gd name="connsiteX92" fmla="*/ 62719 w 288148"/>
              <a:gd name="connsiteY92" fmla="*/ 1038109 h 1495174"/>
              <a:gd name="connsiteX93" fmla="*/ 44971 w 288148"/>
              <a:gd name="connsiteY93" fmla="*/ 1013726 h 1495174"/>
              <a:gd name="connsiteX94" fmla="*/ 56084 w 288148"/>
              <a:gd name="connsiteY94" fmla="*/ 1040265 h 1495174"/>
              <a:gd name="connsiteX95" fmla="*/ 38336 w 288148"/>
              <a:gd name="connsiteY95" fmla="*/ 1048393 h 1495174"/>
              <a:gd name="connsiteX96" fmla="*/ 19262 w 288148"/>
              <a:gd name="connsiteY96" fmla="*/ 1062326 h 1495174"/>
              <a:gd name="connsiteX97" fmla="*/ 20589 w 288148"/>
              <a:gd name="connsiteY97" fmla="*/ 1078912 h 1495174"/>
              <a:gd name="connsiteX98" fmla="*/ 21 w 288148"/>
              <a:gd name="connsiteY98" fmla="*/ 1098817 h 1495174"/>
              <a:gd name="connsiteX99" fmla="*/ 8148 w 288148"/>
              <a:gd name="connsiteY99" fmla="*/ 1100310 h 1495174"/>
              <a:gd name="connsiteX100" fmla="*/ 23574 w 288148"/>
              <a:gd name="connsiteY100" fmla="*/ 1100310 h 1495174"/>
              <a:gd name="connsiteX101" fmla="*/ 42815 w 288148"/>
              <a:gd name="connsiteY101" fmla="*/ 1102466 h 1495174"/>
              <a:gd name="connsiteX102" fmla="*/ 45635 w 288148"/>
              <a:gd name="connsiteY102" fmla="*/ 1119053 h 1495174"/>
              <a:gd name="connsiteX103" fmla="*/ 35351 w 288148"/>
              <a:gd name="connsiteY103" fmla="*/ 1139620 h 1495174"/>
              <a:gd name="connsiteX104" fmla="*/ 66368 w 288148"/>
              <a:gd name="connsiteY104" fmla="*/ 1142606 h 1495174"/>
              <a:gd name="connsiteX105" fmla="*/ 66368 w 288148"/>
              <a:gd name="connsiteY105" fmla="*/ 1155876 h 1495174"/>
              <a:gd name="connsiteX106" fmla="*/ 44308 w 288148"/>
              <a:gd name="connsiteY106" fmla="*/ 1150734 h 1495174"/>
              <a:gd name="connsiteX107" fmla="*/ 24403 w 288148"/>
              <a:gd name="connsiteY107" fmla="*/ 1152227 h 1495174"/>
              <a:gd name="connsiteX108" fmla="*/ 2343 w 288148"/>
              <a:gd name="connsiteY108" fmla="*/ 1170638 h 1495174"/>
              <a:gd name="connsiteX109" fmla="*/ 14783 w 288148"/>
              <a:gd name="connsiteY109" fmla="*/ 1185400 h 1495174"/>
              <a:gd name="connsiteX110" fmla="*/ 31370 w 288148"/>
              <a:gd name="connsiteY110" fmla="*/ 1174950 h 1495174"/>
              <a:gd name="connsiteX111" fmla="*/ 45303 w 288148"/>
              <a:gd name="connsiteY111" fmla="*/ 1176443 h 1495174"/>
              <a:gd name="connsiteX112" fmla="*/ 28716 w 288148"/>
              <a:gd name="connsiteY112" fmla="*/ 1190542 h 1495174"/>
              <a:gd name="connsiteX113" fmla="*/ 11134 w 288148"/>
              <a:gd name="connsiteY113" fmla="*/ 1210280 h 1495174"/>
              <a:gd name="connsiteX114" fmla="*/ 8563 w 288148"/>
              <a:gd name="connsiteY114" fmla="*/ 1221244 h 1495174"/>
              <a:gd name="connsiteX115" fmla="*/ 18432 w 288148"/>
              <a:gd name="connsiteY115" fmla="*/ 1224379 h 1495174"/>
              <a:gd name="connsiteX116" fmla="*/ 26560 w 288148"/>
              <a:gd name="connsiteY116" fmla="*/ 1234663 h 1495174"/>
              <a:gd name="connsiteX117" fmla="*/ 36844 w 288148"/>
              <a:gd name="connsiteY117" fmla="*/ 1221393 h 1495174"/>
              <a:gd name="connsiteX118" fmla="*/ 50942 w 288148"/>
              <a:gd name="connsiteY118" fmla="*/ 1205968 h 1495174"/>
              <a:gd name="connsiteX119" fmla="*/ 46464 w 288148"/>
              <a:gd name="connsiteY119" fmla="*/ 1229521 h 1495174"/>
              <a:gd name="connsiteX120" fmla="*/ 41322 w 288148"/>
              <a:gd name="connsiteY120" fmla="*/ 1254567 h 1495174"/>
              <a:gd name="connsiteX121" fmla="*/ 32531 w 288148"/>
              <a:gd name="connsiteY121" fmla="*/ 1267173 h 1495174"/>
              <a:gd name="connsiteX122" fmla="*/ 21418 w 288148"/>
              <a:gd name="connsiteY122" fmla="*/ 1275964 h 1495174"/>
              <a:gd name="connsiteX123" fmla="*/ 20589 w 288148"/>
              <a:gd name="connsiteY123" fmla="*/ 1295869 h 1495174"/>
              <a:gd name="connsiteX124" fmla="*/ 38336 w 288148"/>
              <a:gd name="connsiteY124" fmla="*/ 1290727 h 1495174"/>
              <a:gd name="connsiteX125" fmla="*/ 54923 w 288148"/>
              <a:gd name="connsiteY125" fmla="*/ 1290727 h 1495174"/>
              <a:gd name="connsiteX126" fmla="*/ 61558 w 288148"/>
              <a:gd name="connsiteY126" fmla="*/ 1301840 h 1495174"/>
              <a:gd name="connsiteX127" fmla="*/ 46132 w 288148"/>
              <a:gd name="connsiteY127" fmla="*/ 1317266 h 1495174"/>
              <a:gd name="connsiteX128" fmla="*/ 66036 w 288148"/>
              <a:gd name="connsiteY128" fmla="*/ 1319422 h 1495174"/>
              <a:gd name="connsiteX129" fmla="*/ 77149 w 288148"/>
              <a:gd name="connsiteY129" fmla="*/ 1315772 h 1495174"/>
              <a:gd name="connsiteX130" fmla="*/ 98381 w 288148"/>
              <a:gd name="connsiteY130" fmla="*/ 1323237 h 1495174"/>
              <a:gd name="connsiteX131" fmla="*/ 69022 w 288148"/>
              <a:gd name="connsiteY131" fmla="*/ 1335013 h 1495174"/>
              <a:gd name="connsiteX132" fmla="*/ 59402 w 288148"/>
              <a:gd name="connsiteY132" fmla="*/ 1354918 h 1495174"/>
              <a:gd name="connsiteX133" fmla="*/ 83618 w 288148"/>
              <a:gd name="connsiteY133" fmla="*/ 1346790 h 1495174"/>
              <a:gd name="connsiteX134" fmla="*/ 134540 w 288148"/>
              <a:gd name="connsiteY134" fmla="*/ 1349776 h 1495174"/>
              <a:gd name="connsiteX135" fmla="*/ 113972 w 288148"/>
              <a:gd name="connsiteY135" fmla="*/ 1356410 h 1495174"/>
              <a:gd name="connsiteX136" fmla="*/ 93239 w 288148"/>
              <a:gd name="connsiteY136" fmla="*/ 1360059 h 1495174"/>
              <a:gd name="connsiteX137" fmla="*/ 74827 w 288148"/>
              <a:gd name="connsiteY137" fmla="*/ 1371836 h 1495174"/>
              <a:gd name="connsiteX138" fmla="*/ 74827 w 288148"/>
              <a:gd name="connsiteY138" fmla="*/ 1385106 h 1495174"/>
              <a:gd name="connsiteX139" fmla="*/ 105015 w 288148"/>
              <a:gd name="connsiteY139" fmla="*/ 1372500 h 1495174"/>
              <a:gd name="connsiteX140" fmla="*/ 142502 w 288148"/>
              <a:gd name="connsiteY140" fmla="*/ 1365201 h 1495174"/>
              <a:gd name="connsiteX141" fmla="*/ 117456 w 288148"/>
              <a:gd name="connsiteY141" fmla="*/ 1379134 h 1495174"/>
              <a:gd name="connsiteX142" fmla="*/ 100869 w 288148"/>
              <a:gd name="connsiteY142" fmla="*/ 1395721 h 1495174"/>
              <a:gd name="connsiteX143" fmla="*/ 65539 w 288148"/>
              <a:gd name="connsiteY143" fmla="*/ 1391243 h 1495174"/>
              <a:gd name="connsiteX144" fmla="*/ 69188 w 288148"/>
              <a:gd name="connsiteY144" fmla="*/ 1413469 h 1495174"/>
              <a:gd name="connsiteX145" fmla="*/ 97883 w 288148"/>
              <a:gd name="connsiteY145" fmla="*/ 1420104 h 1495174"/>
              <a:gd name="connsiteX146" fmla="*/ 119280 w 288148"/>
              <a:gd name="connsiteY146" fmla="*/ 1428895 h 1495174"/>
              <a:gd name="connsiteX147" fmla="*/ 113475 w 288148"/>
              <a:gd name="connsiteY147" fmla="*/ 1417782 h 1495174"/>
              <a:gd name="connsiteX148" fmla="*/ 126744 w 288148"/>
              <a:gd name="connsiteY148" fmla="*/ 1408327 h 1495174"/>
              <a:gd name="connsiteX149" fmla="*/ 151857 w 288148"/>
              <a:gd name="connsiteY149" fmla="*/ 1398475 h 1495174"/>
              <a:gd name="connsiteX150" fmla="*/ 152454 w 288148"/>
              <a:gd name="connsiteY150" fmla="*/ 1384774 h 1495174"/>
              <a:gd name="connsiteX151" fmla="*/ 181978 w 288148"/>
              <a:gd name="connsiteY151" fmla="*/ 1352927 h 1495174"/>
              <a:gd name="connsiteX152" fmla="*/ 177500 w 288148"/>
              <a:gd name="connsiteY152" fmla="*/ 1369514 h 1495174"/>
              <a:gd name="connsiteX153" fmla="*/ 172358 w 288148"/>
              <a:gd name="connsiteY153" fmla="*/ 1388755 h 1495174"/>
              <a:gd name="connsiteX154" fmla="*/ 202546 w 288148"/>
              <a:gd name="connsiteY154" fmla="*/ 1390248 h 1495174"/>
              <a:gd name="connsiteX155" fmla="*/ 184134 w 288148"/>
              <a:gd name="connsiteY155" fmla="*/ 1404844 h 1495174"/>
              <a:gd name="connsiteX156" fmla="*/ 185627 w 288148"/>
              <a:gd name="connsiteY156" fmla="*/ 1428563 h 1495174"/>
              <a:gd name="connsiteX157" fmla="*/ 171694 w 288148"/>
              <a:gd name="connsiteY157" fmla="*/ 1401195 h 1495174"/>
              <a:gd name="connsiteX158" fmla="*/ 165060 w 288148"/>
              <a:gd name="connsiteY158" fmla="*/ 1421929 h 1495174"/>
              <a:gd name="connsiteX159" fmla="*/ 148473 w 288148"/>
              <a:gd name="connsiteY159" fmla="*/ 1415957 h 1495174"/>
              <a:gd name="connsiteX160" fmla="*/ 139682 w 288148"/>
              <a:gd name="connsiteY160" fmla="*/ 1428563 h 1495174"/>
              <a:gd name="connsiteX161" fmla="*/ 123095 w 288148"/>
              <a:gd name="connsiteY161" fmla="*/ 1441832 h 1495174"/>
              <a:gd name="connsiteX162" fmla="*/ 147312 w 288148"/>
              <a:gd name="connsiteY162" fmla="*/ 1446974 h 1495174"/>
              <a:gd name="connsiteX163" fmla="*/ 163899 w 288148"/>
              <a:gd name="connsiteY163" fmla="*/ 1476333 h 1495174"/>
              <a:gd name="connsiteX164" fmla="*/ 175675 w 288148"/>
              <a:gd name="connsiteY164" fmla="*/ 1450623 h 1495174"/>
              <a:gd name="connsiteX165" fmla="*/ 199395 w 288148"/>
              <a:gd name="connsiteY165" fmla="*/ 1481641 h 1495174"/>
              <a:gd name="connsiteX166" fmla="*/ 211171 w 288148"/>
              <a:gd name="connsiteY166" fmla="*/ 1469864 h 1495174"/>
              <a:gd name="connsiteX167" fmla="*/ 245837 w 288148"/>
              <a:gd name="connsiteY167" fmla="*/ 1494744 h 1495174"/>
              <a:gd name="connsiteX168" fmla="*/ 241359 w 288148"/>
              <a:gd name="connsiteY168" fmla="*/ 1472684 h 1495174"/>
              <a:gd name="connsiteX169" fmla="*/ 260434 w 288148"/>
              <a:gd name="connsiteY169" fmla="*/ 1472684 h 1495174"/>
              <a:gd name="connsiteX170" fmla="*/ 282660 w 288148"/>
              <a:gd name="connsiteY170" fmla="*/ 1469864 h 1495174"/>
              <a:gd name="connsiteX171" fmla="*/ 288134 w 288148"/>
              <a:gd name="connsiteY171" fmla="*/ 1467708 h 1495174"/>
              <a:gd name="connsiteX172" fmla="*/ 232071 w 288148"/>
              <a:gd name="connsiteY172" fmla="*/ 1464722 h 1495174"/>
              <a:gd name="connsiteX173" fmla="*/ 232071 w 288148"/>
              <a:gd name="connsiteY173" fmla="*/ 1355249 h 1495174"/>
              <a:gd name="connsiteX174" fmla="*/ 229748 w 288148"/>
              <a:gd name="connsiteY174" fmla="*/ 1355249 h 1495174"/>
              <a:gd name="connsiteX175" fmla="*/ 202380 w 288148"/>
              <a:gd name="connsiteY175" fmla="*/ 1342809 h 1495174"/>
              <a:gd name="connsiteX176" fmla="*/ 206361 w 288148"/>
              <a:gd name="connsiteY176" fmla="*/ 1337833 h 1495174"/>
              <a:gd name="connsiteX177" fmla="*/ 188447 w 288148"/>
              <a:gd name="connsiteY177" fmla="*/ 1327549 h 1495174"/>
              <a:gd name="connsiteX178" fmla="*/ 130559 w 288148"/>
              <a:gd name="connsiteY178" fmla="*/ 1329208 h 149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288148" h="1495174">
                <a:moveTo>
                  <a:pt x="130559" y="1329208"/>
                </a:moveTo>
                <a:cubicBezTo>
                  <a:pt x="122597" y="1330203"/>
                  <a:pt x="119612" y="1315275"/>
                  <a:pt x="113972" y="1315275"/>
                </a:cubicBezTo>
                <a:cubicBezTo>
                  <a:pt x="108333" y="1315275"/>
                  <a:pt x="107835" y="1289234"/>
                  <a:pt x="111816" y="1277291"/>
                </a:cubicBezTo>
                <a:cubicBezTo>
                  <a:pt x="115797" y="1265349"/>
                  <a:pt x="88926" y="1271320"/>
                  <a:pt x="80965" y="1267339"/>
                </a:cubicBezTo>
                <a:cubicBezTo>
                  <a:pt x="73003" y="1263358"/>
                  <a:pt x="83950" y="1255397"/>
                  <a:pt x="74993" y="1245444"/>
                </a:cubicBezTo>
                <a:cubicBezTo>
                  <a:pt x="66036" y="1235492"/>
                  <a:pt x="73003" y="1221393"/>
                  <a:pt x="73998" y="1214427"/>
                </a:cubicBezTo>
                <a:cubicBezTo>
                  <a:pt x="74993" y="1207460"/>
                  <a:pt x="80965" y="1192532"/>
                  <a:pt x="91912" y="1192532"/>
                </a:cubicBezTo>
                <a:cubicBezTo>
                  <a:pt x="102859" y="1192532"/>
                  <a:pt x="94897" y="1175946"/>
                  <a:pt x="105845" y="1169642"/>
                </a:cubicBezTo>
                <a:cubicBezTo>
                  <a:pt x="116792" y="1163339"/>
                  <a:pt x="95893" y="1150568"/>
                  <a:pt x="104849" y="1143602"/>
                </a:cubicBezTo>
                <a:cubicBezTo>
                  <a:pt x="113806" y="1136635"/>
                  <a:pt x="104849" y="1123697"/>
                  <a:pt x="118948" y="1121707"/>
                </a:cubicBezTo>
                <a:cubicBezTo>
                  <a:pt x="133047" y="1119716"/>
                  <a:pt x="118948" y="1101637"/>
                  <a:pt x="128901" y="1098651"/>
                </a:cubicBezTo>
                <a:cubicBezTo>
                  <a:pt x="138852" y="1095665"/>
                  <a:pt x="126910" y="1084718"/>
                  <a:pt x="129896" y="1072775"/>
                </a:cubicBezTo>
                <a:cubicBezTo>
                  <a:pt x="132881" y="1060833"/>
                  <a:pt x="121934" y="1051876"/>
                  <a:pt x="134872" y="1046900"/>
                </a:cubicBezTo>
                <a:cubicBezTo>
                  <a:pt x="147810" y="1041924"/>
                  <a:pt x="138852" y="1031972"/>
                  <a:pt x="129896" y="1024840"/>
                </a:cubicBezTo>
                <a:cubicBezTo>
                  <a:pt x="120939" y="1017707"/>
                  <a:pt x="131886" y="1017873"/>
                  <a:pt x="142833" y="1017873"/>
                </a:cubicBezTo>
                <a:cubicBezTo>
                  <a:pt x="153781" y="1017873"/>
                  <a:pt x="147810" y="999959"/>
                  <a:pt x="137857" y="1002945"/>
                </a:cubicBezTo>
                <a:cubicBezTo>
                  <a:pt x="127905" y="1005931"/>
                  <a:pt x="118948" y="994983"/>
                  <a:pt x="127905" y="986358"/>
                </a:cubicBezTo>
                <a:cubicBezTo>
                  <a:pt x="136862" y="977733"/>
                  <a:pt x="119944" y="971430"/>
                  <a:pt x="122929" y="965459"/>
                </a:cubicBezTo>
                <a:cubicBezTo>
                  <a:pt x="126595" y="959537"/>
                  <a:pt x="125318" y="951808"/>
                  <a:pt x="119944" y="947379"/>
                </a:cubicBezTo>
                <a:cubicBezTo>
                  <a:pt x="113972" y="943398"/>
                  <a:pt x="117953" y="914205"/>
                  <a:pt x="124920" y="912547"/>
                </a:cubicBezTo>
                <a:cubicBezTo>
                  <a:pt x="131886" y="910888"/>
                  <a:pt x="126910" y="884515"/>
                  <a:pt x="126910" y="876553"/>
                </a:cubicBezTo>
                <a:cubicBezTo>
                  <a:pt x="126910" y="868592"/>
                  <a:pt x="118948" y="859967"/>
                  <a:pt x="119944" y="853664"/>
                </a:cubicBezTo>
                <a:cubicBezTo>
                  <a:pt x="120939" y="847360"/>
                  <a:pt x="128901" y="844706"/>
                  <a:pt x="128901" y="830774"/>
                </a:cubicBezTo>
                <a:cubicBezTo>
                  <a:pt x="128901" y="816841"/>
                  <a:pt x="131886" y="810704"/>
                  <a:pt x="137857" y="809709"/>
                </a:cubicBezTo>
                <a:cubicBezTo>
                  <a:pt x="143829" y="808713"/>
                  <a:pt x="138852" y="793122"/>
                  <a:pt x="139848" y="784828"/>
                </a:cubicBezTo>
                <a:cubicBezTo>
                  <a:pt x="140843" y="776535"/>
                  <a:pt x="156434" y="784828"/>
                  <a:pt x="158757" y="771891"/>
                </a:cubicBezTo>
                <a:cubicBezTo>
                  <a:pt x="161079" y="758953"/>
                  <a:pt x="148805" y="760943"/>
                  <a:pt x="150795" y="752981"/>
                </a:cubicBezTo>
                <a:cubicBezTo>
                  <a:pt x="151525" y="738319"/>
                  <a:pt x="151193" y="723640"/>
                  <a:pt x="149800" y="709026"/>
                </a:cubicBezTo>
                <a:cubicBezTo>
                  <a:pt x="149800" y="687132"/>
                  <a:pt x="167714" y="681990"/>
                  <a:pt x="174680" y="675853"/>
                </a:cubicBezTo>
                <a:cubicBezTo>
                  <a:pt x="181647" y="669716"/>
                  <a:pt x="165723" y="638035"/>
                  <a:pt x="174680" y="634054"/>
                </a:cubicBezTo>
                <a:cubicBezTo>
                  <a:pt x="183637" y="630073"/>
                  <a:pt x="177666" y="615145"/>
                  <a:pt x="184632" y="610003"/>
                </a:cubicBezTo>
                <a:cubicBezTo>
                  <a:pt x="191599" y="604861"/>
                  <a:pt x="189774" y="593416"/>
                  <a:pt x="193755" y="582137"/>
                </a:cubicBezTo>
                <a:cubicBezTo>
                  <a:pt x="197736" y="570858"/>
                  <a:pt x="185793" y="564223"/>
                  <a:pt x="185793" y="553276"/>
                </a:cubicBezTo>
                <a:cubicBezTo>
                  <a:pt x="186225" y="541234"/>
                  <a:pt x="182277" y="529457"/>
                  <a:pt x="174680" y="520102"/>
                </a:cubicBezTo>
                <a:cubicBezTo>
                  <a:pt x="165723" y="508160"/>
                  <a:pt x="168709" y="484109"/>
                  <a:pt x="174680" y="484109"/>
                </a:cubicBezTo>
                <a:cubicBezTo>
                  <a:pt x="180651" y="484109"/>
                  <a:pt x="177666" y="461219"/>
                  <a:pt x="188779" y="458233"/>
                </a:cubicBezTo>
                <a:cubicBezTo>
                  <a:pt x="199892" y="455248"/>
                  <a:pt x="193755" y="438329"/>
                  <a:pt x="188779" y="424230"/>
                </a:cubicBezTo>
                <a:cubicBezTo>
                  <a:pt x="183803" y="410132"/>
                  <a:pt x="197736" y="417264"/>
                  <a:pt x="197736" y="406317"/>
                </a:cubicBezTo>
                <a:cubicBezTo>
                  <a:pt x="197404" y="394490"/>
                  <a:pt x="203010" y="383294"/>
                  <a:pt x="212664" y="376461"/>
                </a:cubicBezTo>
                <a:cubicBezTo>
                  <a:pt x="221621" y="372479"/>
                  <a:pt x="222616" y="355561"/>
                  <a:pt x="222616" y="348594"/>
                </a:cubicBezTo>
                <a:cubicBezTo>
                  <a:pt x="222616" y="341628"/>
                  <a:pt x="235554" y="338477"/>
                  <a:pt x="242520" y="332007"/>
                </a:cubicBezTo>
                <a:cubicBezTo>
                  <a:pt x="249487" y="325539"/>
                  <a:pt x="230578" y="315421"/>
                  <a:pt x="241525" y="310113"/>
                </a:cubicBezTo>
                <a:cubicBezTo>
                  <a:pt x="252472" y="304805"/>
                  <a:pt x="232568" y="279261"/>
                  <a:pt x="238539" y="274120"/>
                </a:cubicBezTo>
                <a:cubicBezTo>
                  <a:pt x="244511" y="268978"/>
                  <a:pt x="239535" y="257533"/>
                  <a:pt x="240530" y="250234"/>
                </a:cubicBezTo>
                <a:cubicBezTo>
                  <a:pt x="241525" y="242936"/>
                  <a:pt x="273703" y="227345"/>
                  <a:pt x="278514" y="220378"/>
                </a:cubicBezTo>
                <a:cubicBezTo>
                  <a:pt x="282644" y="207772"/>
                  <a:pt x="284933" y="194652"/>
                  <a:pt x="285314" y="181399"/>
                </a:cubicBezTo>
                <a:cubicBezTo>
                  <a:pt x="275030" y="188034"/>
                  <a:pt x="266073" y="191683"/>
                  <a:pt x="264415" y="187868"/>
                </a:cubicBezTo>
                <a:cubicBezTo>
                  <a:pt x="261429" y="180902"/>
                  <a:pt x="265410" y="160334"/>
                  <a:pt x="256619" y="151543"/>
                </a:cubicBezTo>
                <a:cubicBezTo>
                  <a:pt x="247828" y="142752"/>
                  <a:pt x="253633" y="125004"/>
                  <a:pt x="244842" y="121023"/>
                </a:cubicBezTo>
                <a:cubicBezTo>
                  <a:pt x="236051" y="117042"/>
                  <a:pt x="225104" y="99460"/>
                  <a:pt x="232900" y="93489"/>
                </a:cubicBezTo>
                <a:cubicBezTo>
                  <a:pt x="240696" y="87518"/>
                  <a:pt x="232900" y="75907"/>
                  <a:pt x="239866" y="69936"/>
                </a:cubicBezTo>
                <a:cubicBezTo>
                  <a:pt x="246833" y="63964"/>
                  <a:pt x="235886" y="63135"/>
                  <a:pt x="226099" y="51359"/>
                </a:cubicBezTo>
                <a:cubicBezTo>
                  <a:pt x="216313" y="39582"/>
                  <a:pt x="230080" y="24819"/>
                  <a:pt x="218304" y="15862"/>
                </a:cubicBezTo>
                <a:cubicBezTo>
                  <a:pt x="206527" y="6906"/>
                  <a:pt x="206527" y="-3710"/>
                  <a:pt x="203541" y="1100"/>
                </a:cubicBezTo>
                <a:cubicBezTo>
                  <a:pt x="200556" y="5910"/>
                  <a:pt x="199560" y="22829"/>
                  <a:pt x="189774" y="27639"/>
                </a:cubicBezTo>
                <a:cubicBezTo>
                  <a:pt x="187203" y="29215"/>
                  <a:pt x="184765" y="30990"/>
                  <a:pt x="182476" y="32947"/>
                </a:cubicBezTo>
                <a:cubicBezTo>
                  <a:pt x="180966" y="42849"/>
                  <a:pt x="180966" y="52901"/>
                  <a:pt x="182476" y="62803"/>
                </a:cubicBezTo>
                <a:cubicBezTo>
                  <a:pt x="187800" y="91034"/>
                  <a:pt x="188580" y="119929"/>
                  <a:pt x="184798" y="148392"/>
                </a:cubicBezTo>
                <a:cubicBezTo>
                  <a:pt x="181282" y="165210"/>
                  <a:pt x="176853" y="181814"/>
                  <a:pt x="171529" y="198152"/>
                </a:cubicBezTo>
                <a:cubicBezTo>
                  <a:pt x="167050" y="210592"/>
                  <a:pt x="181812" y="211421"/>
                  <a:pt x="175841" y="217227"/>
                </a:cubicBezTo>
                <a:cubicBezTo>
                  <a:pt x="169870" y="223032"/>
                  <a:pt x="172856" y="238790"/>
                  <a:pt x="172856" y="261679"/>
                </a:cubicBezTo>
                <a:cubicBezTo>
                  <a:pt x="172856" y="284569"/>
                  <a:pt x="158923" y="325041"/>
                  <a:pt x="158093" y="337647"/>
                </a:cubicBezTo>
                <a:cubicBezTo>
                  <a:pt x="157264" y="350253"/>
                  <a:pt x="147810" y="358215"/>
                  <a:pt x="149302" y="372148"/>
                </a:cubicBezTo>
                <a:cubicBezTo>
                  <a:pt x="150082" y="383758"/>
                  <a:pt x="144409" y="394855"/>
                  <a:pt x="134540" y="401009"/>
                </a:cubicBezTo>
                <a:cubicBezTo>
                  <a:pt x="126412" y="407478"/>
                  <a:pt x="147810" y="429041"/>
                  <a:pt x="147146" y="440651"/>
                </a:cubicBezTo>
                <a:cubicBezTo>
                  <a:pt x="146483" y="452262"/>
                  <a:pt x="130559" y="457238"/>
                  <a:pt x="134540" y="476811"/>
                </a:cubicBezTo>
                <a:cubicBezTo>
                  <a:pt x="136928" y="501077"/>
                  <a:pt x="136928" y="525526"/>
                  <a:pt x="134540" y="549793"/>
                </a:cubicBezTo>
                <a:cubicBezTo>
                  <a:pt x="134540" y="557920"/>
                  <a:pt x="124920" y="557091"/>
                  <a:pt x="127242" y="572683"/>
                </a:cubicBezTo>
                <a:cubicBezTo>
                  <a:pt x="129564" y="588274"/>
                  <a:pt x="117621" y="591757"/>
                  <a:pt x="115465" y="613984"/>
                </a:cubicBezTo>
                <a:cubicBezTo>
                  <a:pt x="109610" y="638466"/>
                  <a:pt x="100918" y="662168"/>
                  <a:pt x="89590" y="684644"/>
                </a:cubicBezTo>
                <a:cubicBezTo>
                  <a:pt x="82955" y="701230"/>
                  <a:pt x="82955" y="711183"/>
                  <a:pt x="74164" y="711183"/>
                </a:cubicBezTo>
                <a:cubicBezTo>
                  <a:pt x="65373" y="711183"/>
                  <a:pt x="63051" y="720803"/>
                  <a:pt x="69685" y="735565"/>
                </a:cubicBezTo>
                <a:cubicBezTo>
                  <a:pt x="76320" y="750327"/>
                  <a:pt x="65207" y="762767"/>
                  <a:pt x="74164" y="777530"/>
                </a:cubicBezTo>
                <a:cubicBezTo>
                  <a:pt x="83121" y="792292"/>
                  <a:pt x="79969" y="797434"/>
                  <a:pt x="75657" y="810704"/>
                </a:cubicBezTo>
                <a:cubicBezTo>
                  <a:pt x="71344" y="823973"/>
                  <a:pt x="65207" y="825466"/>
                  <a:pt x="65207" y="838735"/>
                </a:cubicBezTo>
                <a:cubicBezTo>
                  <a:pt x="65207" y="852005"/>
                  <a:pt x="54923" y="863118"/>
                  <a:pt x="60894" y="877880"/>
                </a:cubicBezTo>
                <a:cubicBezTo>
                  <a:pt x="66866" y="892643"/>
                  <a:pt x="65207" y="897785"/>
                  <a:pt x="57909" y="897785"/>
                </a:cubicBezTo>
                <a:cubicBezTo>
                  <a:pt x="50611" y="897785"/>
                  <a:pt x="46796" y="909561"/>
                  <a:pt x="43976" y="933778"/>
                </a:cubicBezTo>
                <a:cubicBezTo>
                  <a:pt x="41156" y="957995"/>
                  <a:pt x="41654" y="957497"/>
                  <a:pt x="59402" y="956004"/>
                </a:cubicBezTo>
                <a:cubicBezTo>
                  <a:pt x="77149" y="954511"/>
                  <a:pt x="63051" y="896292"/>
                  <a:pt x="74164" y="896292"/>
                </a:cubicBezTo>
                <a:cubicBezTo>
                  <a:pt x="85277" y="896292"/>
                  <a:pt x="75657" y="886671"/>
                  <a:pt x="86604" y="883686"/>
                </a:cubicBezTo>
                <a:cubicBezTo>
                  <a:pt x="97551" y="880700"/>
                  <a:pt x="88097" y="894135"/>
                  <a:pt x="95561" y="896292"/>
                </a:cubicBezTo>
                <a:cubicBezTo>
                  <a:pt x="103025" y="898448"/>
                  <a:pt x="108001" y="904253"/>
                  <a:pt x="97717" y="911054"/>
                </a:cubicBezTo>
                <a:cubicBezTo>
                  <a:pt x="87433" y="917854"/>
                  <a:pt x="99874" y="930792"/>
                  <a:pt x="94731" y="938920"/>
                </a:cubicBezTo>
                <a:cubicBezTo>
                  <a:pt x="89590" y="947047"/>
                  <a:pt x="82291" y="955506"/>
                  <a:pt x="86604" y="965459"/>
                </a:cubicBezTo>
                <a:cubicBezTo>
                  <a:pt x="90917" y="975411"/>
                  <a:pt x="81462" y="974416"/>
                  <a:pt x="80799" y="986856"/>
                </a:cubicBezTo>
                <a:cubicBezTo>
                  <a:pt x="80135" y="999296"/>
                  <a:pt x="87433" y="1000125"/>
                  <a:pt x="82291" y="1003443"/>
                </a:cubicBezTo>
                <a:cubicBezTo>
                  <a:pt x="77149" y="1006760"/>
                  <a:pt x="88926" y="1015883"/>
                  <a:pt x="81462" y="1017375"/>
                </a:cubicBezTo>
                <a:cubicBezTo>
                  <a:pt x="73998" y="1018868"/>
                  <a:pt x="78476" y="1028489"/>
                  <a:pt x="82955" y="1037445"/>
                </a:cubicBezTo>
                <a:cubicBezTo>
                  <a:pt x="87433" y="1046402"/>
                  <a:pt x="73335" y="1040929"/>
                  <a:pt x="66368" y="1046900"/>
                </a:cubicBezTo>
                <a:cubicBezTo>
                  <a:pt x="59402" y="1052872"/>
                  <a:pt x="73666" y="1060999"/>
                  <a:pt x="69354" y="1068961"/>
                </a:cubicBezTo>
                <a:cubicBezTo>
                  <a:pt x="65041" y="1076922"/>
                  <a:pt x="52767" y="1064648"/>
                  <a:pt x="47957" y="1060170"/>
                </a:cubicBezTo>
                <a:cubicBezTo>
                  <a:pt x="43146" y="1055691"/>
                  <a:pt x="56084" y="1046900"/>
                  <a:pt x="62719" y="1038109"/>
                </a:cubicBezTo>
                <a:cubicBezTo>
                  <a:pt x="69354" y="1029318"/>
                  <a:pt x="56084" y="1009414"/>
                  <a:pt x="44971" y="1013726"/>
                </a:cubicBezTo>
                <a:cubicBezTo>
                  <a:pt x="33858" y="1018039"/>
                  <a:pt x="56084" y="1030313"/>
                  <a:pt x="56084" y="1040265"/>
                </a:cubicBezTo>
                <a:cubicBezTo>
                  <a:pt x="56084" y="1050218"/>
                  <a:pt x="37673" y="1038109"/>
                  <a:pt x="38336" y="1048393"/>
                </a:cubicBezTo>
                <a:cubicBezTo>
                  <a:pt x="39000" y="1058677"/>
                  <a:pt x="25896" y="1055027"/>
                  <a:pt x="19262" y="1062326"/>
                </a:cubicBezTo>
                <a:cubicBezTo>
                  <a:pt x="12627" y="1069624"/>
                  <a:pt x="28053" y="1076425"/>
                  <a:pt x="20589" y="1078912"/>
                </a:cubicBezTo>
                <a:cubicBezTo>
                  <a:pt x="13124" y="1081401"/>
                  <a:pt x="684" y="1091519"/>
                  <a:pt x="21" y="1098817"/>
                </a:cubicBezTo>
                <a:cubicBezTo>
                  <a:pt x="-643" y="1106115"/>
                  <a:pt x="8148" y="1107608"/>
                  <a:pt x="8148" y="1100310"/>
                </a:cubicBezTo>
                <a:cubicBezTo>
                  <a:pt x="8148" y="1093011"/>
                  <a:pt x="19925" y="1090690"/>
                  <a:pt x="23574" y="1100310"/>
                </a:cubicBezTo>
                <a:cubicBezTo>
                  <a:pt x="27223" y="1109930"/>
                  <a:pt x="32531" y="1100310"/>
                  <a:pt x="42815" y="1102466"/>
                </a:cubicBezTo>
                <a:cubicBezTo>
                  <a:pt x="53099" y="1104622"/>
                  <a:pt x="51606" y="1120214"/>
                  <a:pt x="45635" y="1119053"/>
                </a:cubicBezTo>
                <a:cubicBezTo>
                  <a:pt x="39663" y="1117892"/>
                  <a:pt x="33858" y="1128507"/>
                  <a:pt x="35351" y="1139620"/>
                </a:cubicBezTo>
                <a:cubicBezTo>
                  <a:pt x="36844" y="1150734"/>
                  <a:pt x="57577" y="1139620"/>
                  <a:pt x="66368" y="1142606"/>
                </a:cubicBezTo>
                <a:cubicBezTo>
                  <a:pt x="75159" y="1145592"/>
                  <a:pt x="72173" y="1161018"/>
                  <a:pt x="66368" y="1155876"/>
                </a:cubicBezTo>
                <a:cubicBezTo>
                  <a:pt x="60563" y="1150734"/>
                  <a:pt x="49781" y="1141777"/>
                  <a:pt x="44308" y="1150734"/>
                </a:cubicBezTo>
                <a:cubicBezTo>
                  <a:pt x="38834" y="1159691"/>
                  <a:pt x="31038" y="1155046"/>
                  <a:pt x="24403" y="1152227"/>
                </a:cubicBezTo>
                <a:cubicBezTo>
                  <a:pt x="17769" y="1149407"/>
                  <a:pt x="-5785" y="1164667"/>
                  <a:pt x="2343" y="1170638"/>
                </a:cubicBezTo>
                <a:cubicBezTo>
                  <a:pt x="10471" y="1176609"/>
                  <a:pt x="9641" y="1186064"/>
                  <a:pt x="14783" y="1185400"/>
                </a:cubicBezTo>
                <a:cubicBezTo>
                  <a:pt x="21567" y="1184471"/>
                  <a:pt x="27605" y="1180656"/>
                  <a:pt x="31370" y="1174950"/>
                </a:cubicBezTo>
                <a:cubicBezTo>
                  <a:pt x="34355" y="1169145"/>
                  <a:pt x="44639" y="1163174"/>
                  <a:pt x="45303" y="1176443"/>
                </a:cubicBezTo>
                <a:cubicBezTo>
                  <a:pt x="45966" y="1189713"/>
                  <a:pt x="31370" y="1183078"/>
                  <a:pt x="28716" y="1190542"/>
                </a:cubicBezTo>
                <a:cubicBezTo>
                  <a:pt x="24868" y="1198669"/>
                  <a:pt x="18764" y="1205520"/>
                  <a:pt x="11134" y="1210280"/>
                </a:cubicBezTo>
                <a:cubicBezTo>
                  <a:pt x="7402" y="1212602"/>
                  <a:pt x="6241" y="1217512"/>
                  <a:pt x="8563" y="1221244"/>
                </a:cubicBezTo>
                <a:cubicBezTo>
                  <a:pt x="10636" y="1224578"/>
                  <a:pt x="14816" y="1225905"/>
                  <a:pt x="18432" y="1224379"/>
                </a:cubicBezTo>
                <a:cubicBezTo>
                  <a:pt x="25896" y="1220730"/>
                  <a:pt x="16276" y="1233170"/>
                  <a:pt x="26560" y="1234663"/>
                </a:cubicBezTo>
                <a:cubicBezTo>
                  <a:pt x="36844" y="1236156"/>
                  <a:pt x="39166" y="1228858"/>
                  <a:pt x="36844" y="1221393"/>
                </a:cubicBezTo>
                <a:cubicBezTo>
                  <a:pt x="34521" y="1213930"/>
                  <a:pt x="41985" y="1197840"/>
                  <a:pt x="50942" y="1205968"/>
                </a:cubicBezTo>
                <a:cubicBezTo>
                  <a:pt x="59899" y="1214096"/>
                  <a:pt x="46464" y="1222555"/>
                  <a:pt x="46464" y="1229521"/>
                </a:cubicBezTo>
                <a:cubicBezTo>
                  <a:pt x="46464" y="1236487"/>
                  <a:pt x="41322" y="1246108"/>
                  <a:pt x="41322" y="1254567"/>
                </a:cubicBezTo>
                <a:cubicBezTo>
                  <a:pt x="41322" y="1263026"/>
                  <a:pt x="31702" y="1258216"/>
                  <a:pt x="32531" y="1267173"/>
                </a:cubicBezTo>
                <a:cubicBezTo>
                  <a:pt x="33360" y="1276130"/>
                  <a:pt x="11797" y="1269993"/>
                  <a:pt x="21418" y="1275964"/>
                </a:cubicBezTo>
                <a:cubicBezTo>
                  <a:pt x="31038" y="1281936"/>
                  <a:pt x="15446" y="1289897"/>
                  <a:pt x="20589" y="1295869"/>
                </a:cubicBezTo>
                <a:cubicBezTo>
                  <a:pt x="25730" y="1301840"/>
                  <a:pt x="30209" y="1287741"/>
                  <a:pt x="38336" y="1290727"/>
                </a:cubicBezTo>
                <a:cubicBezTo>
                  <a:pt x="46464" y="1293712"/>
                  <a:pt x="44971" y="1295869"/>
                  <a:pt x="54923" y="1290727"/>
                </a:cubicBezTo>
                <a:cubicBezTo>
                  <a:pt x="64875" y="1285585"/>
                  <a:pt x="71510" y="1298854"/>
                  <a:pt x="61558" y="1301840"/>
                </a:cubicBezTo>
                <a:cubicBezTo>
                  <a:pt x="51606" y="1304826"/>
                  <a:pt x="41654" y="1315772"/>
                  <a:pt x="46132" y="1317266"/>
                </a:cubicBezTo>
                <a:cubicBezTo>
                  <a:pt x="50611" y="1318758"/>
                  <a:pt x="62719" y="1309967"/>
                  <a:pt x="66036" y="1319422"/>
                </a:cubicBezTo>
                <a:cubicBezTo>
                  <a:pt x="69354" y="1328876"/>
                  <a:pt x="76320" y="1326222"/>
                  <a:pt x="77149" y="1315772"/>
                </a:cubicBezTo>
                <a:cubicBezTo>
                  <a:pt x="77979" y="1305323"/>
                  <a:pt x="95561" y="1314280"/>
                  <a:pt x="98381" y="1323237"/>
                </a:cubicBezTo>
                <a:cubicBezTo>
                  <a:pt x="101200" y="1332194"/>
                  <a:pt x="79969" y="1337170"/>
                  <a:pt x="69022" y="1335013"/>
                </a:cubicBezTo>
                <a:cubicBezTo>
                  <a:pt x="58075" y="1332857"/>
                  <a:pt x="52435" y="1345297"/>
                  <a:pt x="59402" y="1354918"/>
                </a:cubicBezTo>
                <a:cubicBezTo>
                  <a:pt x="66368" y="1364538"/>
                  <a:pt x="75989" y="1354918"/>
                  <a:pt x="83618" y="1346790"/>
                </a:cubicBezTo>
                <a:cubicBezTo>
                  <a:pt x="91248" y="1338662"/>
                  <a:pt x="131554" y="1340819"/>
                  <a:pt x="134540" y="1349776"/>
                </a:cubicBezTo>
                <a:cubicBezTo>
                  <a:pt x="137526" y="1358733"/>
                  <a:pt x="116129" y="1351268"/>
                  <a:pt x="113972" y="1356410"/>
                </a:cubicBezTo>
                <a:cubicBezTo>
                  <a:pt x="111816" y="1361552"/>
                  <a:pt x="95561" y="1366031"/>
                  <a:pt x="93239" y="1360059"/>
                </a:cubicBezTo>
                <a:cubicBezTo>
                  <a:pt x="90917" y="1354088"/>
                  <a:pt x="75657" y="1362216"/>
                  <a:pt x="74827" y="1371836"/>
                </a:cubicBezTo>
                <a:cubicBezTo>
                  <a:pt x="73998" y="1381457"/>
                  <a:pt x="62387" y="1381457"/>
                  <a:pt x="74827" y="1385106"/>
                </a:cubicBezTo>
                <a:cubicBezTo>
                  <a:pt x="87267" y="1388755"/>
                  <a:pt x="84282" y="1371007"/>
                  <a:pt x="105015" y="1372500"/>
                </a:cubicBezTo>
                <a:cubicBezTo>
                  <a:pt x="125749" y="1373992"/>
                  <a:pt x="136696" y="1353425"/>
                  <a:pt x="142502" y="1365201"/>
                </a:cubicBezTo>
                <a:cubicBezTo>
                  <a:pt x="148307" y="1376978"/>
                  <a:pt x="125915" y="1386599"/>
                  <a:pt x="117456" y="1379134"/>
                </a:cubicBezTo>
                <a:cubicBezTo>
                  <a:pt x="108996" y="1371670"/>
                  <a:pt x="99874" y="1384442"/>
                  <a:pt x="100869" y="1395721"/>
                </a:cubicBezTo>
                <a:cubicBezTo>
                  <a:pt x="101864" y="1407000"/>
                  <a:pt x="77315" y="1392902"/>
                  <a:pt x="65539" y="1391243"/>
                </a:cubicBezTo>
                <a:cubicBezTo>
                  <a:pt x="53762" y="1389584"/>
                  <a:pt x="58904" y="1402356"/>
                  <a:pt x="69188" y="1413469"/>
                </a:cubicBezTo>
                <a:cubicBezTo>
                  <a:pt x="79472" y="1424582"/>
                  <a:pt x="85775" y="1411976"/>
                  <a:pt x="97883" y="1420104"/>
                </a:cubicBezTo>
                <a:cubicBezTo>
                  <a:pt x="109992" y="1428231"/>
                  <a:pt x="110489" y="1436691"/>
                  <a:pt x="119280" y="1428895"/>
                </a:cubicBezTo>
                <a:cubicBezTo>
                  <a:pt x="128071" y="1421099"/>
                  <a:pt x="119280" y="1421596"/>
                  <a:pt x="113475" y="1417782"/>
                </a:cubicBezTo>
                <a:cubicBezTo>
                  <a:pt x="107669" y="1413967"/>
                  <a:pt x="112645" y="1401195"/>
                  <a:pt x="126744" y="1408327"/>
                </a:cubicBezTo>
                <a:cubicBezTo>
                  <a:pt x="136398" y="1412540"/>
                  <a:pt x="147643" y="1408128"/>
                  <a:pt x="151857" y="1398475"/>
                </a:cubicBezTo>
                <a:cubicBezTo>
                  <a:pt x="153748" y="1394129"/>
                  <a:pt x="153963" y="1389252"/>
                  <a:pt x="152454" y="1384774"/>
                </a:cubicBezTo>
                <a:cubicBezTo>
                  <a:pt x="148141" y="1367026"/>
                  <a:pt x="165060" y="1358898"/>
                  <a:pt x="181978" y="1352927"/>
                </a:cubicBezTo>
                <a:cubicBezTo>
                  <a:pt x="198897" y="1346956"/>
                  <a:pt x="190106" y="1364040"/>
                  <a:pt x="177500" y="1369514"/>
                </a:cubicBezTo>
                <a:cubicBezTo>
                  <a:pt x="164894" y="1374988"/>
                  <a:pt x="162738" y="1378305"/>
                  <a:pt x="172358" y="1388755"/>
                </a:cubicBezTo>
                <a:cubicBezTo>
                  <a:pt x="181978" y="1399204"/>
                  <a:pt x="194418" y="1382120"/>
                  <a:pt x="202546" y="1390248"/>
                </a:cubicBezTo>
                <a:cubicBezTo>
                  <a:pt x="210673" y="1398375"/>
                  <a:pt x="187784" y="1396882"/>
                  <a:pt x="184134" y="1404844"/>
                </a:cubicBezTo>
                <a:cubicBezTo>
                  <a:pt x="180486" y="1412805"/>
                  <a:pt x="198233" y="1422592"/>
                  <a:pt x="185627" y="1428563"/>
                </a:cubicBezTo>
                <a:cubicBezTo>
                  <a:pt x="173021" y="1434534"/>
                  <a:pt x="178993" y="1404181"/>
                  <a:pt x="171694" y="1401195"/>
                </a:cubicBezTo>
                <a:cubicBezTo>
                  <a:pt x="164396" y="1398209"/>
                  <a:pt x="157596" y="1404844"/>
                  <a:pt x="165060" y="1421929"/>
                </a:cubicBezTo>
                <a:cubicBezTo>
                  <a:pt x="172524" y="1439013"/>
                  <a:pt x="156103" y="1424084"/>
                  <a:pt x="148473" y="1415957"/>
                </a:cubicBezTo>
                <a:cubicBezTo>
                  <a:pt x="140843" y="1407830"/>
                  <a:pt x="130725" y="1419606"/>
                  <a:pt x="139682" y="1428563"/>
                </a:cubicBezTo>
                <a:cubicBezTo>
                  <a:pt x="148639" y="1437520"/>
                  <a:pt x="123095" y="1427734"/>
                  <a:pt x="123095" y="1441832"/>
                </a:cubicBezTo>
                <a:cubicBezTo>
                  <a:pt x="123095" y="1455931"/>
                  <a:pt x="134042" y="1443989"/>
                  <a:pt x="147312" y="1446974"/>
                </a:cubicBezTo>
                <a:cubicBezTo>
                  <a:pt x="160581" y="1449960"/>
                  <a:pt x="154776" y="1469035"/>
                  <a:pt x="163899" y="1476333"/>
                </a:cubicBezTo>
                <a:cubicBezTo>
                  <a:pt x="173021" y="1483632"/>
                  <a:pt x="165392" y="1452780"/>
                  <a:pt x="175675" y="1450623"/>
                </a:cubicBezTo>
                <a:cubicBezTo>
                  <a:pt x="185959" y="1448467"/>
                  <a:pt x="175675" y="1474177"/>
                  <a:pt x="199395" y="1481641"/>
                </a:cubicBezTo>
                <a:cubicBezTo>
                  <a:pt x="223114" y="1489105"/>
                  <a:pt x="200721" y="1477162"/>
                  <a:pt x="211171" y="1469864"/>
                </a:cubicBezTo>
                <a:cubicBezTo>
                  <a:pt x="221621" y="1462566"/>
                  <a:pt x="234724" y="1491925"/>
                  <a:pt x="245837" y="1494744"/>
                </a:cubicBezTo>
                <a:cubicBezTo>
                  <a:pt x="256951" y="1497564"/>
                  <a:pt x="249487" y="1481641"/>
                  <a:pt x="241359" y="1472684"/>
                </a:cubicBezTo>
                <a:cubicBezTo>
                  <a:pt x="233232" y="1463727"/>
                  <a:pt x="249487" y="1469035"/>
                  <a:pt x="260434" y="1472684"/>
                </a:cubicBezTo>
                <a:cubicBezTo>
                  <a:pt x="271381" y="1476333"/>
                  <a:pt x="280338" y="1477826"/>
                  <a:pt x="282660" y="1469864"/>
                </a:cubicBezTo>
                <a:cubicBezTo>
                  <a:pt x="283490" y="1466713"/>
                  <a:pt x="285480" y="1466879"/>
                  <a:pt x="288134" y="1467708"/>
                </a:cubicBezTo>
                <a:cubicBezTo>
                  <a:pt x="276523" y="1460078"/>
                  <a:pt x="237544" y="1465551"/>
                  <a:pt x="232071" y="1464722"/>
                </a:cubicBezTo>
                <a:cubicBezTo>
                  <a:pt x="226597" y="1463893"/>
                  <a:pt x="230909" y="1375485"/>
                  <a:pt x="232071" y="1355249"/>
                </a:cubicBezTo>
                <a:lnTo>
                  <a:pt x="229748" y="1355249"/>
                </a:lnTo>
                <a:cubicBezTo>
                  <a:pt x="220128" y="1355249"/>
                  <a:pt x="198731" y="1357572"/>
                  <a:pt x="202380" y="1342809"/>
                </a:cubicBezTo>
                <a:cubicBezTo>
                  <a:pt x="202828" y="1340603"/>
                  <a:pt x="204304" y="1338745"/>
                  <a:pt x="206361" y="1337833"/>
                </a:cubicBezTo>
                <a:cubicBezTo>
                  <a:pt x="201252" y="1333089"/>
                  <a:pt x="195115" y="1329573"/>
                  <a:pt x="188447" y="1327549"/>
                </a:cubicBezTo>
                <a:cubicBezTo>
                  <a:pt x="169157" y="1325625"/>
                  <a:pt x="149700" y="1326173"/>
                  <a:pt x="130559" y="132920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0" name="Freeform: Shape 499">
            <a:extLst>
              <a:ext uri="{FF2B5EF4-FFF2-40B4-BE49-F238E27FC236}">
                <a16:creationId xmlns:a16="http://schemas.microsoft.com/office/drawing/2014/main" id="{C96BC0FB-ABE0-4AF1-B723-697B359958A4}"/>
              </a:ext>
            </a:extLst>
          </p:cNvPr>
          <p:cNvSpPr/>
          <p:nvPr/>
        </p:nvSpPr>
        <p:spPr>
          <a:xfrm>
            <a:off x="3657622" y="5183339"/>
            <a:ext cx="227510" cy="227167"/>
          </a:xfrm>
          <a:custGeom>
            <a:avLst/>
            <a:gdLst>
              <a:gd name="connsiteX0" fmla="*/ 282791 w 286947"/>
              <a:gd name="connsiteY0" fmla="*/ 159639 h 292120"/>
              <a:gd name="connsiteX1" fmla="*/ 254925 w 286947"/>
              <a:gd name="connsiteY1" fmla="*/ 165610 h 292120"/>
              <a:gd name="connsiteX2" fmla="*/ 238338 w 286947"/>
              <a:gd name="connsiteY2" fmla="*/ 128622 h 292120"/>
              <a:gd name="connsiteX3" fmla="*/ 215282 w 286947"/>
              <a:gd name="connsiteY3" fmla="*/ 100755 h 292120"/>
              <a:gd name="connsiteX4" fmla="*/ 186421 w 286947"/>
              <a:gd name="connsiteY4" fmla="*/ 97770 h 292120"/>
              <a:gd name="connsiteX5" fmla="*/ 169834 w 286947"/>
              <a:gd name="connsiteY5" fmla="*/ 70733 h 292120"/>
              <a:gd name="connsiteX6" fmla="*/ 163697 w 286947"/>
              <a:gd name="connsiteY6" fmla="*/ 29930 h 292120"/>
              <a:gd name="connsiteX7" fmla="*/ 162370 w 286947"/>
              <a:gd name="connsiteY7" fmla="*/ 12182 h 292120"/>
              <a:gd name="connsiteX8" fmla="*/ 156731 w 286947"/>
              <a:gd name="connsiteY8" fmla="*/ 14173 h 292120"/>
              <a:gd name="connsiteX9" fmla="*/ 125381 w 286947"/>
              <a:gd name="connsiteY9" fmla="*/ 405 h 292120"/>
              <a:gd name="connsiteX10" fmla="*/ 87066 w 286947"/>
              <a:gd name="connsiteY10" fmla="*/ 4220 h 292120"/>
              <a:gd name="connsiteX11" fmla="*/ 46760 w 286947"/>
              <a:gd name="connsiteY11" fmla="*/ 11187 h 292120"/>
              <a:gd name="connsiteX12" fmla="*/ 21216 w 286947"/>
              <a:gd name="connsiteY12" fmla="*/ 42536 h 292120"/>
              <a:gd name="connsiteX13" fmla="*/ 11264 w 286947"/>
              <a:gd name="connsiteY13" fmla="*/ 93789 h 292120"/>
              <a:gd name="connsiteX14" fmla="*/ -15 w 286947"/>
              <a:gd name="connsiteY14" fmla="*/ 93789 h 292120"/>
              <a:gd name="connsiteX15" fmla="*/ 46096 w 286947"/>
              <a:gd name="connsiteY15" fmla="*/ 140896 h 292120"/>
              <a:gd name="connsiteX16" fmla="*/ 82919 w 286947"/>
              <a:gd name="connsiteY16" fmla="*/ 163952 h 292120"/>
              <a:gd name="connsiteX17" fmla="*/ 119908 w 286947"/>
              <a:gd name="connsiteY17" fmla="*/ 182860 h 292120"/>
              <a:gd name="connsiteX18" fmla="*/ 181777 w 286947"/>
              <a:gd name="connsiteY18" fmla="*/ 213878 h 292120"/>
              <a:gd name="connsiteX19" fmla="*/ 155735 w 286947"/>
              <a:gd name="connsiteY19" fmla="*/ 258662 h 292120"/>
              <a:gd name="connsiteX20" fmla="*/ 144788 w 286947"/>
              <a:gd name="connsiteY20" fmla="*/ 280723 h 292120"/>
              <a:gd name="connsiteX21" fmla="*/ 175805 w 286947"/>
              <a:gd name="connsiteY21" fmla="*/ 287689 h 292120"/>
              <a:gd name="connsiteX22" fmla="*/ 207652 w 286947"/>
              <a:gd name="connsiteY22" fmla="*/ 290509 h 292120"/>
              <a:gd name="connsiteX23" fmla="*/ 236679 w 286947"/>
              <a:gd name="connsiteY23" fmla="*/ 284538 h 292120"/>
              <a:gd name="connsiteX24" fmla="*/ 262555 w 286947"/>
              <a:gd name="connsiteY24" fmla="*/ 271600 h 292120"/>
              <a:gd name="connsiteX25" fmla="*/ 279141 w 286947"/>
              <a:gd name="connsiteY25" fmla="*/ 222835 h 292120"/>
              <a:gd name="connsiteX26" fmla="*/ 282791 w 286947"/>
              <a:gd name="connsiteY26" fmla="*/ 159639 h 29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6947" h="292120">
                <a:moveTo>
                  <a:pt x="282791" y="159639"/>
                </a:moveTo>
                <a:cubicBezTo>
                  <a:pt x="270848" y="153667"/>
                  <a:pt x="258905" y="165610"/>
                  <a:pt x="254925" y="165610"/>
                </a:cubicBezTo>
                <a:cubicBezTo>
                  <a:pt x="250944" y="165610"/>
                  <a:pt x="241987" y="139569"/>
                  <a:pt x="238338" y="128622"/>
                </a:cubicBezTo>
                <a:cubicBezTo>
                  <a:pt x="234689" y="117674"/>
                  <a:pt x="223244" y="95448"/>
                  <a:pt x="215282" y="100755"/>
                </a:cubicBezTo>
                <a:cubicBezTo>
                  <a:pt x="207320" y="106063"/>
                  <a:pt x="209311" y="98765"/>
                  <a:pt x="186421" y="97770"/>
                </a:cubicBezTo>
                <a:cubicBezTo>
                  <a:pt x="163531" y="96775"/>
                  <a:pt x="164526" y="92794"/>
                  <a:pt x="169834" y="70733"/>
                </a:cubicBezTo>
                <a:cubicBezTo>
                  <a:pt x="175142" y="48673"/>
                  <a:pt x="154740" y="34906"/>
                  <a:pt x="163697" y="29930"/>
                </a:cubicBezTo>
                <a:cubicBezTo>
                  <a:pt x="172654" y="24954"/>
                  <a:pt x="170000" y="21802"/>
                  <a:pt x="162370" y="12182"/>
                </a:cubicBezTo>
                <a:cubicBezTo>
                  <a:pt x="160711" y="13343"/>
                  <a:pt x="158754" y="14040"/>
                  <a:pt x="156731" y="14173"/>
                </a:cubicBezTo>
                <a:cubicBezTo>
                  <a:pt x="148935" y="14173"/>
                  <a:pt x="139149" y="405"/>
                  <a:pt x="125381" y="405"/>
                </a:cubicBezTo>
                <a:cubicBezTo>
                  <a:pt x="112477" y="-921"/>
                  <a:pt x="99456" y="372"/>
                  <a:pt x="87066" y="4220"/>
                </a:cubicBezTo>
                <a:cubicBezTo>
                  <a:pt x="77114" y="9196"/>
                  <a:pt x="58537" y="3225"/>
                  <a:pt x="46760" y="11187"/>
                </a:cubicBezTo>
                <a:cubicBezTo>
                  <a:pt x="34983" y="19149"/>
                  <a:pt x="20221" y="35735"/>
                  <a:pt x="21216" y="42536"/>
                </a:cubicBezTo>
                <a:cubicBezTo>
                  <a:pt x="22211" y="49337"/>
                  <a:pt x="17235" y="92297"/>
                  <a:pt x="11264" y="93789"/>
                </a:cubicBezTo>
                <a:cubicBezTo>
                  <a:pt x="7515" y="94253"/>
                  <a:pt x="3734" y="94253"/>
                  <a:pt x="-15" y="93789"/>
                </a:cubicBezTo>
                <a:cubicBezTo>
                  <a:pt x="12226" y="112267"/>
                  <a:pt x="27884" y="128257"/>
                  <a:pt x="46096" y="140896"/>
                </a:cubicBezTo>
                <a:cubicBezTo>
                  <a:pt x="64010" y="152009"/>
                  <a:pt x="62683" y="161961"/>
                  <a:pt x="82919" y="163952"/>
                </a:cubicBezTo>
                <a:cubicBezTo>
                  <a:pt x="97449" y="164399"/>
                  <a:pt x="111034" y="171333"/>
                  <a:pt x="119908" y="182860"/>
                </a:cubicBezTo>
                <a:cubicBezTo>
                  <a:pt x="126874" y="191818"/>
                  <a:pt x="177796" y="206746"/>
                  <a:pt x="181777" y="213878"/>
                </a:cubicBezTo>
                <a:cubicBezTo>
                  <a:pt x="185757" y="221010"/>
                  <a:pt x="155735" y="240748"/>
                  <a:pt x="155735" y="258662"/>
                </a:cubicBezTo>
                <a:cubicBezTo>
                  <a:pt x="155735" y="276576"/>
                  <a:pt x="144788" y="275249"/>
                  <a:pt x="144788" y="280723"/>
                </a:cubicBezTo>
                <a:cubicBezTo>
                  <a:pt x="144788" y="286197"/>
                  <a:pt x="167844" y="282713"/>
                  <a:pt x="175805" y="287689"/>
                </a:cubicBezTo>
                <a:cubicBezTo>
                  <a:pt x="183767" y="292665"/>
                  <a:pt x="197700" y="284538"/>
                  <a:pt x="207652" y="290509"/>
                </a:cubicBezTo>
                <a:cubicBezTo>
                  <a:pt x="217604" y="296480"/>
                  <a:pt x="228552" y="282713"/>
                  <a:pt x="236679" y="284538"/>
                </a:cubicBezTo>
                <a:cubicBezTo>
                  <a:pt x="244807" y="286362"/>
                  <a:pt x="253266" y="270605"/>
                  <a:pt x="262555" y="271600"/>
                </a:cubicBezTo>
                <a:cubicBezTo>
                  <a:pt x="271843" y="272595"/>
                  <a:pt x="281464" y="236768"/>
                  <a:pt x="279141" y="222835"/>
                </a:cubicBezTo>
                <a:cubicBezTo>
                  <a:pt x="276819" y="208902"/>
                  <a:pt x="294733" y="165278"/>
                  <a:pt x="282791" y="15963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1" name="Freeform: Shape 500">
            <a:extLst>
              <a:ext uri="{FF2B5EF4-FFF2-40B4-BE49-F238E27FC236}">
                <a16:creationId xmlns:a16="http://schemas.microsoft.com/office/drawing/2014/main" id="{3B861CF2-9BB2-4F09-BE60-FB5F08EC0418}"/>
              </a:ext>
            </a:extLst>
          </p:cNvPr>
          <p:cNvSpPr/>
          <p:nvPr/>
        </p:nvSpPr>
        <p:spPr>
          <a:xfrm>
            <a:off x="3047175" y="4383813"/>
            <a:ext cx="85717" cy="68688"/>
          </a:xfrm>
          <a:custGeom>
            <a:avLst/>
            <a:gdLst>
              <a:gd name="connsiteX0" fmla="*/ 103120 w 108110"/>
              <a:gd name="connsiteY0" fmla="*/ 70812 h 88327"/>
              <a:gd name="connsiteX1" fmla="*/ 108096 w 108110"/>
              <a:gd name="connsiteY1" fmla="*/ 49746 h 88327"/>
              <a:gd name="connsiteX2" fmla="*/ 74922 w 108110"/>
              <a:gd name="connsiteY2" fmla="*/ 8777 h 88327"/>
              <a:gd name="connsiteX3" fmla="*/ 58335 w 108110"/>
              <a:gd name="connsiteY3" fmla="*/ 6953 h 88327"/>
              <a:gd name="connsiteX4" fmla="*/ 25161 w 108110"/>
              <a:gd name="connsiteY4" fmla="*/ 1479 h 88327"/>
              <a:gd name="connsiteX5" fmla="*/ 6750 w 108110"/>
              <a:gd name="connsiteY5" fmla="*/ 483 h 88327"/>
              <a:gd name="connsiteX6" fmla="*/ 4262 w 108110"/>
              <a:gd name="connsiteY6" fmla="*/ 13421 h 88327"/>
              <a:gd name="connsiteX7" fmla="*/ 6286 w 108110"/>
              <a:gd name="connsiteY7" fmla="*/ 38683 h 88327"/>
              <a:gd name="connsiteX8" fmla="*/ 13053 w 108110"/>
              <a:gd name="connsiteY8" fmla="*/ 42283 h 88327"/>
              <a:gd name="connsiteX9" fmla="*/ 32294 w 108110"/>
              <a:gd name="connsiteY9" fmla="*/ 38467 h 88327"/>
              <a:gd name="connsiteX10" fmla="*/ 47056 w 108110"/>
              <a:gd name="connsiteY10" fmla="*/ 51074 h 88327"/>
              <a:gd name="connsiteX11" fmla="*/ 70609 w 108110"/>
              <a:gd name="connsiteY11" fmla="*/ 71641 h 88327"/>
              <a:gd name="connsiteX12" fmla="*/ 89684 w 108110"/>
              <a:gd name="connsiteY12" fmla="*/ 88228 h 88327"/>
              <a:gd name="connsiteX13" fmla="*/ 97812 w 108110"/>
              <a:gd name="connsiteY13" fmla="*/ 88228 h 88327"/>
              <a:gd name="connsiteX14" fmla="*/ 103120 w 108110"/>
              <a:gd name="connsiteY14" fmla="*/ 70812 h 8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110" h="88327">
                <a:moveTo>
                  <a:pt x="103120" y="70812"/>
                </a:moveTo>
                <a:cubicBezTo>
                  <a:pt x="101892" y="63414"/>
                  <a:pt x="103684" y="55817"/>
                  <a:pt x="108096" y="49746"/>
                </a:cubicBezTo>
                <a:cubicBezTo>
                  <a:pt x="96186" y="36809"/>
                  <a:pt x="85106" y="23125"/>
                  <a:pt x="74922" y="8777"/>
                </a:cubicBezTo>
                <a:cubicBezTo>
                  <a:pt x="69349" y="10187"/>
                  <a:pt x="63460" y="9540"/>
                  <a:pt x="58335" y="6953"/>
                </a:cubicBezTo>
                <a:cubicBezTo>
                  <a:pt x="51037" y="1479"/>
                  <a:pt x="32791" y="5128"/>
                  <a:pt x="25161" y="1479"/>
                </a:cubicBezTo>
                <a:cubicBezTo>
                  <a:pt x="19174" y="-213"/>
                  <a:pt x="12887" y="-545"/>
                  <a:pt x="6750" y="483"/>
                </a:cubicBezTo>
                <a:cubicBezTo>
                  <a:pt x="8790" y="4879"/>
                  <a:pt x="7779" y="10087"/>
                  <a:pt x="4262" y="13421"/>
                </a:cubicBezTo>
                <a:cubicBezTo>
                  <a:pt x="-2157" y="20952"/>
                  <a:pt x="-1245" y="32264"/>
                  <a:pt x="6286" y="38683"/>
                </a:cubicBezTo>
                <a:cubicBezTo>
                  <a:pt x="8259" y="40359"/>
                  <a:pt x="10565" y="41586"/>
                  <a:pt x="13053" y="42283"/>
                </a:cubicBezTo>
                <a:cubicBezTo>
                  <a:pt x="29640" y="48751"/>
                  <a:pt x="24166" y="38467"/>
                  <a:pt x="32294" y="38467"/>
                </a:cubicBezTo>
                <a:cubicBezTo>
                  <a:pt x="40421" y="38467"/>
                  <a:pt x="39592" y="51074"/>
                  <a:pt x="47056" y="51074"/>
                </a:cubicBezTo>
                <a:cubicBezTo>
                  <a:pt x="54520" y="51074"/>
                  <a:pt x="71273" y="59865"/>
                  <a:pt x="70609" y="71641"/>
                </a:cubicBezTo>
                <a:cubicBezTo>
                  <a:pt x="69946" y="83418"/>
                  <a:pt x="76415" y="88228"/>
                  <a:pt x="89684" y="88228"/>
                </a:cubicBezTo>
                <a:cubicBezTo>
                  <a:pt x="92388" y="88079"/>
                  <a:pt x="95108" y="88079"/>
                  <a:pt x="97812" y="88228"/>
                </a:cubicBezTo>
                <a:cubicBezTo>
                  <a:pt x="100797" y="82091"/>
                  <a:pt x="104281" y="74959"/>
                  <a:pt x="103120" y="70812"/>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2" name="Freeform: Shape 501">
            <a:extLst>
              <a:ext uri="{FF2B5EF4-FFF2-40B4-BE49-F238E27FC236}">
                <a16:creationId xmlns:a16="http://schemas.microsoft.com/office/drawing/2014/main" id="{02F3272D-3413-4331-BC0F-78AF38410021}"/>
              </a:ext>
            </a:extLst>
          </p:cNvPr>
          <p:cNvSpPr/>
          <p:nvPr/>
        </p:nvSpPr>
        <p:spPr>
          <a:xfrm>
            <a:off x="3125790" y="4420392"/>
            <a:ext cx="153737" cy="64758"/>
          </a:xfrm>
          <a:custGeom>
            <a:avLst/>
            <a:gdLst>
              <a:gd name="connsiteX0" fmla="*/ 172654 w 193900"/>
              <a:gd name="connsiteY0" fmla="*/ 23939 h 83275"/>
              <a:gd name="connsiteX1" fmla="*/ 126211 w 193900"/>
              <a:gd name="connsiteY1" fmla="*/ 1713 h 83275"/>
              <a:gd name="connsiteX2" fmla="*/ 79104 w 193900"/>
              <a:gd name="connsiteY2" fmla="*/ 19461 h 83275"/>
              <a:gd name="connsiteX3" fmla="*/ 26026 w 193900"/>
              <a:gd name="connsiteY3" fmla="*/ 17968 h 83275"/>
              <a:gd name="connsiteX4" fmla="*/ 9439 w 193900"/>
              <a:gd name="connsiteY4" fmla="*/ 2708 h 83275"/>
              <a:gd name="connsiteX5" fmla="*/ 4464 w 193900"/>
              <a:gd name="connsiteY5" fmla="*/ 23774 h 83275"/>
              <a:gd name="connsiteX6" fmla="*/ -15 w 193900"/>
              <a:gd name="connsiteY6" fmla="*/ 42185 h 83275"/>
              <a:gd name="connsiteX7" fmla="*/ 42779 w 193900"/>
              <a:gd name="connsiteY7" fmla="*/ 61426 h 83275"/>
              <a:gd name="connsiteX8" fmla="*/ 66996 w 193900"/>
              <a:gd name="connsiteY8" fmla="*/ 78013 h 83275"/>
              <a:gd name="connsiteX9" fmla="*/ 92871 w 193900"/>
              <a:gd name="connsiteY9" fmla="*/ 71378 h 83275"/>
              <a:gd name="connsiteX10" fmla="*/ 83251 w 193900"/>
              <a:gd name="connsiteY10" fmla="*/ 52966 h 83275"/>
              <a:gd name="connsiteX11" fmla="*/ 100999 w 193900"/>
              <a:gd name="connsiteY11" fmla="*/ 36380 h 83275"/>
              <a:gd name="connsiteX12" fmla="*/ 137822 w 193900"/>
              <a:gd name="connsiteY12" fmla="*/ 24603 h 83275"/>
              <a:gd name="connsiteX13" fmla="*/ 147442 w 193900"/>
              <a:gd name="connsiteY13" fmla="*/ 47493 h 83275"/>
              <a:gd name="connsiteX14" fmla="*/ 167014 w 193900"/>
              <a:gd name="connsiteY14" fmla="*/ 81993 h 83275"/>
              <a:gd name="connsiteX15" fmla="*/ 189407 w 193900"/>
              <a:gd name="connsiteY15" fmla="*/ 60265 h 83275"/>
              <a:gd name="connsiteX16" fmla="*/ 193885 w 193900"/>
              <a:gd name="connsiteY16" fmla="*/ 49981 h 83275"/>
              <a:gd name="connsiteX17" fmla="*/ 172654 w 193900"/>
              <a:gd name="connsiteY17" fmla="*/ 23939 h 8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900" h="83275">
                <a:moveTo>
                  <a:pt x="172654" y="23939"/>
                </a:moveTo>
                <a:cubicBezTo>
                  <a:pt x="160877" y="6192"/>
                  <a:pt x="139480" y="7353"/>
                  <a:pt x="126211" y="1713"/>
                </a:cubicBezTo>
                <a:cubicBezTo>
                  <a:pt x="112941" y="-3926"/>
                  <a:pt x="96023" y="4036"/>
                  <a:pt x="79104" y="19461"/>
                </a:cubicBezTo>
                <a:cubicBezTo>
                  <a:pt x="62186" y="34887"/>
                  <a:pt x="40788" y="26096"/>
                  <a:pt x="26026" y="17968"/>
                </a:cubicBezTo>
                <a:cubicBezTo>
                  <a:pt x="19839" y="13656"/>
                  <a:pt x="14250" y="8514"/>
                  <a:pt x="9439" y="2708"/>
                </a:cubicBezTo>
                <a:cubicBezTo>
                  <a:pt x="5027" y="8779"/>
                  <a:pt x="3236" y="16376"/>
                  <a:pt x="4464" y="23774"/>
                </a:cubicBezTo>
                <a:cubicBezTo>
                  <a:pt x="5624" y="27921"/>
                  <a:pt x="2141" y="34224"/>
                  <a:pt x="-15" y="42185"/>
                </a:cubicBezTo>
                <a:cubicBezTo>
                  <a:pt x="16024" y="43545"/>
                  <a:pt x="31118" y="50329"/>
                  <a:pt x="42779" y="61426"/>
                </a:cubicBezTo>
                <a:cubicBezTo>
                  <a:pt x="53726" y="74696"/>
                  <a:pt x="60361" y="65904"/>
                  <a:pt x="66996" y="78013"/>
                </a:cubicBezTo>
                <a:cubicBezTo>
                  <a:pt x="73631" y="90121"/>
                  <a:pt x="89222" y="78013"/>
                  <a:pt x="92871" y="71378"/>
                </a:cubicBezTo>
                <a:cubicBezTo>
                  <a:pt x="96520" y="64743"/>
                  <a:pt x="84744" y="61094"/>
                  <a:pt x="83251" y="52966"/>
                </a:cubicBezTo>
                <a:cubicBezTo>
                  <a:pt x="81758" y="44839"/>
                  <a:pt x="98013" y="47824"/>
                  <a:pt x="100999" y="36380"/>
                </a:cubicBezTo>
                <a:cubicBezTo>
                  <a:pt x="103985" y="24935"/>
                  <a:pt x="127538" y="19793"/>
                  <a:pt x="137822" y="24603"/>
                </a:cubicBezTo>
                <a:cubicBezTo>
                  <a:pt x="148105" y="29413"/>
                  <a:pt x="157062" y="36380"/>
                  <a:pt x="147442" y="47493"/>
                </a:cubicBezTo>
                <a:cubicBezTo>
                  <a:pt x="140309" y="55620"/>
                  <a:pt x="154740" y="70549"/>
                  <a:pt x="167014" y="81993"/>
                </a:cubicBezTo>
                <a:cubicBezTo>
                  <a:pt x="174097" y="74364"/>
                  <a:pt x="181578" y="67115"/>
                  <a:pt x="189407" y="60265"/>
                </a:cubicBezTo>
                <a:cubicBezTo>
                  <a:pt x="192044" y="57462"/>
                  <a:pt x="193636" y="53829"/>
                  <a:pt x="193885" y="49981"/>
                </a:cubicBezTo>
                <a:cubicBezTo>
                  <a:pt x="185243" y="42699"/>
                  <a:pt x="178045" y="33859"/>
                  <a:pt x="172654" y="2393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3" name="Freeform: Shape 502">
            <a:extLst>
              <a:ext uri="{FF2B5EF4-FFF2-40B4-BE49-F238E27FC236}">
                <a16:creationId xmlns:a16="http://schemas.microsoft.com/office/drawing/2014/main" id="{E3BAF6A0-DD38-4120-8CFC-B0547CA1A397}"/>
              </a:ext>
            </a:extLst>
          </p:cNvPr>
          <p:cNvSpPr/>
          <p:nvPr/>
        </p:nvSpPr>
        <p:spPr>
          <a:xfrm>
            <a:off x="3230737" y="4347603"/>
            <a:ext cx="313436" cy="434977"/>
          </a:xfrm>
          <a:custGeom>
            <a:avLst/>
            <a:gdLst>
              <a:gd name="connsiteX0" fmla="*/ 60859 w 395320"/>
              <a:gd name="connsiteY0" fmla="*/ 406318 h 559348"/>
              <a:gd name="connsiteX1" fmla="*/ 86236 w 395320"/>
              <a:gd name="connsiteY1" fmla="*/ 406318 h 559348"/>
              <a:gd name="connsiteX2" fmla="*/ 109956 w 395320"/>
              <a:gd name="connsiteY2" fmla="*/ 424730 h 559348"/>
              <a:gd name="connsiteX3" fmla="*/ 111449 w 395320"/>
              <a:gd name="connsiteY3" fmla="*/ 426389 h 559348"/>
              <a:gd name="connsiteX4" fmla="*/ 140144 w 395320"/>
              <a:gd name="connsiteY4" fmla="*/ 425559 h 559348"/>
              <a:gd name="connsiteX5" fmla="*/ 159716 w 395320"/>
              <a:gd name="connsiteY5" fmla="*/ 453259 h 559348"/>
              <a:gd name="connsiteX6" fmla="*/ 180616 w 395320"/>
              <a:gd name="connsiteY6" fmla="*/ 474158 h 559348"/>
              <a:gd name="connsiteX7" fmla="*/ 193388 w 395320"/>
              <a:gd name="connsiteY7" fmla="*/ 494892 h 559348"/>
              <a:gd name="connsiteX8" fmla="*/ 231537 w 395320"/>
              <a:gd name="connsiteY8" fmla="*/ 499536 h 559348"/>
              <a:gd name="connsiteX9" fmla="*/ 251110 w 395320"/>
              <a:gd name="connsiteY9" fmla="*/ 497214 h 559348"/>
              <a:gd name="connsiteX10" fmla="*/ 273170 w 395320"/>
              <a:gd name="connsiteY10" fmla="*/ 496053 h 559348"/>
              <a:gd name="connsiteX11" fmla="*/ 297387 w 395320"/>
              <a:gd name="connsiteY11" fmla="*/ 515791 h 559348"/>
              <a:gd name="connsiteX12" fmla="*/ 280800 w 395320"/>
              <a:gd name="connsiteY12" fmla="*/ 543492 h 559348"/>
              <a:gd name="connsiteX13" fmla="*/ 300538 w 395320"/>
              <a:gd name="connsiteY13" fmla="*/ 559249 h 559348"/>
              <a:gd name="connsiteX14" fmla="*/ 302197 w 395320"/>
              <a:gd name="connsiteY14" fmla="*/ 559249 h 559348"/>
              <a:gd name="connsiteX15" fmla="*/ 314969 w 395320"/>
              <a:gd name="connsiteY15" fmla="*/ 514133 h 559348"/>
              <a:gd name="connsiteX16" fmla="*/ 321770 w 395320"/>
              <a:gd name="connsiteY16" fmla="*/ 468851 h 559348"/>
              <a:gd name="connsiteX17" fmla="*/ 300373 w 395320"/>
              <a:gd name="connsiteY17" fmla="*/ 414944 h 559348"/>
              <a:gd name="connsiteX18" fmla="*/ 323096 w 395320"/>
              <a:gd name="connsiteY18" fmla="*/ 397030 h 559348"/>
              <a:gd name="connsiteX19" fmla="*/ 316462 w 395320"/>
              <a:gd name="connsiteY19" fmla="*/ 383428 h 559348"/>
              <a:gd name="connsiteX20" fmla="*/ 307837 w 395320"/>
              <a:gd name="connsiteY20" fmla="*/ 365183 h 559348"/>
              <a:gd name="connsiteX21" fmla="*/ 357597 w 395320"/>
              <a:gd name="connsiteY21" fmla="*/ 361368 h 559348"/>
              <a:gd name="connsiteX22" fmla="*/ 394752 w 395320"/>
              <a:gd name="connsiteY22" fmla="*/ 349094 h 559348"/>
              <a:gd name="connsiteX23" fmla="*/ 388780 w 395320"/>
              <a:gd name="connsiteY23" fmla="*/ 332507 h 559348"/>
              <a:gd name="connsiteX24" fmla="*/ 390107 w 395320"/>
              <a:gd name="connsiteY24" fmla="*/ 307627 h 559348"/>
              <a:gd name="connsiteX25" fmla="*/ 377170 w 395320"/>
              <a:gd name="connsiteY25" fmla="*/ 282083 h 559348"/>
              <a:gd name="connsiteX26" fmla="*/ 385131 w 395320"/>
              <a:gd name="connsiteY26" fmla="*/ 221209 h 559348"/>
              <a:gd name="connsiteX27" fmla="*/ 346318 w 395320"/>
              <a:gd name="connsiteY27" fmla="*/ 210925 h 559348"/>
              <a:gd name="connsiteX28" fmla="*/ 299709 w 395320"/>
              <a:gd name="connsiteY28" fmla="*/ 190689 h 559348"/>
              <a:gd name="connsiteX29" fmla="*/ 242982 w 395320"/>
              <a:gd name="connsiteY29" fmla="*/ 185713 h 559348"/>
              <a:gd name="connsiteX30" fmla="*/ 221419 w 395320"/>
              <a:gd name="connsiteY30" fmla="*/ 141758 h 559348"/>
              <a:gd name="connsiteX31" fmla="*/ 206657 w 395320"/>
              <a:gd name="connsiteY31" fmla="*/ 119864 h 559348"/>
              <a:gd name="connsiteX32" fmla="*/ 191065 w 395320"/>
              <a:gd name="connsiteY32" fmla="*/ 112566 h 559348"/>
              <a:gd name="connsiteX33" fmla="*/ 196041 w 395320"/>
              <a:gd name="connsiteY33" fmla="*/ 97305 h 559348"/>
              <a:gd name="connsiteX34" fmla="*/ 201017 w 395320"/>
              <a:gd name="connsiteY34" fmla="*/ 72757 h 559348"/>
              <a:gd name="connsiteX35" fmla="*/ 230376 w 395320"/>
              <a:gd name="connsiteY35" fmla="*/ 35105 h 559348"/>
              <a:gd name="connsiteX36" fmla="*/ 240494 w 395320"/>
              <a:gd name="connsiteY36" fmla="*/ 28636 h 559348"/>
              <a:gd name="connsiteX37" fmla="*/ 248456 w 395320"/>
              <a:gd name="connsiteY37" fmla="*/ 22167 h 559348"/>
              <a:gd name="connsiteX38" fmla="*/ 256583 w 395320"/>
              <a:gd name="connsiteY38" fmla="*/ 1600 h 559348"/>
              <a:gd name="connsiteX39" fmla="*/ 219097 w 395320"/>
              <a:gd name="connsiteY39" fmla="*/ 19182 h 559348"/>
              <a:gd name="connsiteX40" fmla="*/ 190236 w 395320"/>
              <a:gd name="connsiteY40" fmla="*/ 35768 h 559348"/>
              <a:gd name="connsiteX41" fmla="*/ 160048 w 395320"/>
              <a:gd name="connsiteY41" fmla="*/ 45223 h 559348"/>
              <a:gd name="connsiteX42" fmla="*/ 144622 w 395320"/>
              <a:gd name="connsiteY42" fmla="*/ 43067 h 559348"/>
              <a:gd name="connsiteX43" fmla="*/ 113605 w 395320"/>
              <a:gd name="connsiteY43" fmla="*/ 71762 h 559348"/>
              <a:gd name="connsiteX44" fmla="*/ 101828 w 395320"/>
              <a:gd name="connsiteY44" fmla="*/ 103443 h 559348"/>
              <a:gd name="connsiteX45" fmla="*/ 68654 w 395320"/>
              <a:gd name="connsiteY45" fmla="*/ 141758 h 559348"/>
              <a:gd name="connsiteX46" fmla="*/ 61356 w 395320"/>
              <a:gd name="connsiteY46" fmla="*/ 143583 h 559348"/>
              <a:gd name="connsiteX47" fmla="*/ 56878 w 395320"/>
              <a:gd name="connsiteY47" fmla="*/ 153867 h 559348"/>
              <a:gd name="connsiteX48" fmla="*/ 34486 w 395320"/>
              <a:gd name="connsiteY48" fmla="*/ 175595 h 559348"/>
              <a:gd name="connsiteX49" fmla="*/ 45101 w 395320"/>
              <a:gd name="connsiteY49" fmla="*/ 186045 h 559348"/>
              <a:gd name="connsiteX50" fmla="*/ 51736 w 395320"/>
              <a:gd name="connsiteY50" fmla="*/ 211920 h 559348"/>
              <a:gd name="connsiteX51" fmla="*/ 51736 w 395320"/>
              <a:gd name="connsiteY51" fmla="*/ 230332 h 559348"/>
              <a:gd name="connsiteX52" fmla="*/ 57541 w 395320"/>
              <a:gd name="connsiteY52" fmla="*/ 281917 h 559348"/>
              <a:gd name="connsiteX53" fmla="*/ 50243 w 395320"/>
              <a:gd name="connsiteY53" fmla="*/ 310612 h 559348"/>
              <a:gd name="connsiteX54" fmla="*/ 23041 w 395320"/>
              <a:gd name="connsiteY54" fmla="*/ 332673 h 559348"/>
              <a:gd name="connsiteX55" fmla="*/ 6454 w 395320"/>
              <a:gd name="connsiteY55" fmla="*/ 354070 h 559348"/>
              <a:gd name="connsiteX56" fmla="*/ -15 w 395320"/>
              <a:gd name="connsiteY56" fmla="*/ 367837 h 559348"/>
              <a:gd name="connsiteX57" fmla="*/ 40955 w 395320"/>
              <a:gd name="connsiteY57" fmla="*/ 390893 h 559348"/>
              <a:gd name="connsiteX58" fmla="*/ 60859 w 395320"/>
              <a:gd name="connsiteY58" fmla="*/ 406318 h 55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95320" h="559348">
                <a:moveTo>
                  <a:pt x="60859" y="406318"/>
                </a:moveTo>
                <a:cubicBezTo>
                  <a:pt x="68654" y="411029"/>
                  <a:pt x="78441" y="411029"/>
                  <a:pt x="86236" y="406318"/>
                </a:cubicBezTo>
                <a:cubicBezTo>
                  <a:pt x="89222" y="402504"/>
                  <a:pt x="97681" y="410962"/>
                  <a:pt x="109956" y="424730"/>
                </a:cubicBezTo>
                <a:lnTo>
                  <a:pt x="111449" y="426389"/>
                </a:lnTo>
                <a:cubicBezTo>
                  <a:pt x="120737" y="423403"/>
                  <a:pt x="130689" y="423121"/>
                  <a:pt x="140144" y="425559"/>
                </a:cubicBezTo>
                <a:cubicBezTo>
                  <a:pt x="149433" y="431364"/>
                  <a:pt x="147110" y="452098"/>
                  <a:pt x="159716" y="453259"/>
                </a:cubicBezTo>
                <a:cubicBezTo>
                  <a:pt x="172322" y="454420"/>
                  <a:pt x="181777" y="467192"/>
                  <a:pt x="180616" y="474158"/>
                </a:cubicBezTo>
                <a:cubicBezTo>
                  <a:pt x="179455" y="481125"/>
                  <a:pt x="194548" y="484443"/>
                  <a:pt x="193388" y="494892"/>
                </a:cubicBezTo>
                <a:cubicBezTo>
                  <a:pt x="192226" y="505342"/>
                  <a:pt x="226561" y="503020"/>
                  <a:pt x="231537" y="499536"/>
                </a:cubicBezTo>
                <a:cubicBezTo>
                  <a:pt x="237177" y="495323"/>
                  <a:pt x="244641" y="494444"/>
                  <a:pt x="251110" y="497214"/>
                </a:cubicBezTo>
                <a:cubicBezTo>
                  <a:pt x="256915" y="500697"/>
                  <a:pt x="267696" y="493731"/>
                  <a:pt x="273170" y="496053"/>
                </a:cubicBezTo>
                <a:cubicBezTo>
                  <a:pt x="278644" y="498375"/>
                  <a:pt x="302031" y="507664"/>
                  <a:pt x="297387" y="515791"/>
                </a:cubicBezTo>
                <a:cubicBezTo>
                  <a:pt x="292743" y="523919"/>
                  <a:pt x="276653" y="536525"/>
                  <a:pt x="280800" y="543492"/>
                </a:cubicBezTo>
                <a:cubicBezTo>
                  <a:pt x="284947" y="550458"/>
                  <a:pt x="295562" y="552448"/>
                  <a:pt x="300538" y="559249"/>
                </a:cubicBezTo>
                <a:lnTo>
                  <a:pt x="302197" y="559249"/>
                </a:lnTo>
                <a:cubicBezTo>
                  <a:pt x="310988" y="557424"/>
                  <a:pt x="314969" y="523919"/>
                  <a:pt x="314969" y="514133"/>
                </a:cubicBezTo>
                <a:cubicBezTo>
                  <a:pt x="315782" y="498856"/>
                  <a:pt x="318054" y="483696"/>
                  <a:pt x="321770" y="468851"/>
                </a:cubicBezTo>
                <a:cubicBezTo>
                  <a:pt x="327243" y="449444"/>
                  <a:pt x="300373" y="435677"/>
                  <a:pt x="300373" y="414944"/>
                </a:cubicBezTo>
                <a:cubicBezTo>
                  <a:pt x="300373" y="394210"/>
                  <a:pt x="310988" y="405655"/>
                  <a:pt x="323096" y="397030"/>
                </a:cubicBezTo>
                <a:cubicBezTo>
                  <a:pt x="335205" y="388405"/>
                  <a:pt x="323096" y="384755"/>
                  <a:pt x="316462" y="383428"/>
                </a:cubicBezTo>
                <a:cubicBezTo>
                  <a:pt x="309794" y="379995"/>
                  <a:pt x="306261" y="372514"/>
                  <a:pt x="307837" y="365183"/>
                </a:cubicBezTo>
                <a:cubicBezTo>
                  <a:pt x="309661" y="358714"/>
                  <a:pt x="346318" y="361368"/>
                  <a:pt x="357597" y="361368"/>
                </a:cubicBezTo>
                <a:cubicBezTo>
                  <a:pt x="370684" y="359842"/>
                  <a:pt x="383323" y="355662"/>
                  <a:pt x="394752" y="349094"/>
                </a:cubicBezTo>
                <a:cubicBezTo>
                  <a:pt x="396477" y="342857"/>
                  <a:pt x="394088" y="336206"/>
                  <a:pt x="388780" y="332507"/>
                </a:cubicBezTo>
                <a:cubicBezTo>
                  <a:pt x="379824" y="325540"/>
                  <a:pt x="383141" y="315920"/>
                  <a:pt x="390107" y="307627"/>
                </a:cubicBezTo>
                <a:cubicBezTo>
                  <a:pt x="397074" y="299333"/>
                  <a:pt x="385795" y="291040"/>
                  <a:pt x="377170" y="282083"/>
                </a:cubicBezTo>
                <a:cubicBezTo>
                  <a:pt x="368544" y="273126"/>
                  <a:pt x="375179" y="237464"/>
                  <a:pt x="385131" y="221209"/>
                </a:cubicBezTo>
                <a:cubicBezTo>
                  <a:pt x="395083" y="204954"/>
                  <a:pt x="364895" y="208603"/>
                  <a:pt x="346318" y="210925"/>
                </a:cubicBezTo>
                <a:cubicBezTo>
                  <a:pt x="328255" y="213214"/>
                  <a:pt x="310374" y="205452"/>
                  <a:pt x="299709" y="190689"/>
                </a:cubicBezTo>
                <a:cubicBezTo>
                  <a:pt x="287767" y="175430"/>
                  <a:pt x="271511" y="185050"/>
                  <a:pt x="242982" y="185713"/>
                </a:cubicBezTo>
                <a:cubicBezTo>
                  <a:pt x="214453" y="186377"/>
                  <a:pt x="220092" y="154033"/>
                  <a:pt x="221419" y="141758"/>
                </a:cubicBezTo>
                <a:cubicBezTo>
                  <a:pt x="222746" y="129484"/>
                  <a:pt x="206657" y="127826"/>
                  <a:pt x="206657" y="119864"/>
                </a:cubicBezTo>
                <a:cubicBezTo>
                  <a:pt x="206657" y="111902"/>
                  <a:pt x="198364" y="111902"/>
                  <a:pt x="191065" y="112566"/>
                </a:cubicBezTo>
                <a:cubicBezTo>
                  <a:pt x="183767" y="113229"/>
                  <a:pt x="191065" y="103608"/>
                  <a:pt x="196041" y="97305"/>
                </a:cubicBezTo>
                <a:cubicBezTo>
                  <a:pt x="201017" y="91003"/>
                  <a:pt x="200686" y="86026"/>
                  <a:pt x="201017" y="72757"/>
                </a:cubicBezTo>
                <a:cubicBezTo>
                  <a:pt x="201349" y="59487"/>
                  <a:pt x="220756" y="48043"/>
                  <a:pt x="230376" y="35105"/>
                </a:cubicBezTo>
                <a:cubicBezTo>
                  <a:pt x="232980" y="31937"/>
                  <a:pt x="236530" y="29681"/>
                  <a:pt x="240494" y="28636"/>
                </a:cubicBezTo>
                <a:cubicBezTo>
                  <a:pt x="241755" y="25169"/>
                  <a:pt x="244807" y="22681"/>
                  <a:pt x="248456" y="22167"/>
                </a:cubicBezTo>
                <a:cubicBezTo>
                  <a:pt x="263218" y="19182"/>
                  <a:pt x="270682" y="9727"/>
                  <a:pt x="256583" y="1600"/>
                </a:cubicBezTo>
                <a:cubicBezTo>
                  <a:pt x="242484" y="-6528"/>
                  <a:pt x="234523" y="17025"/>
                  <a:pt x="219097" y="19182"/>
                </a:cubicBezTo>
                <a:cubicBezTo>
                  <a:pt x="203671" y="21338"/>
                  <a:pt x="200520" y="31124"/>
                  <a:pt x="190236" y="35768"/>
                </a:cubicBezTo>
                <a:cubicBezTo>
                  <a:pt x="179952" y="40413"/>
                  <a:pt x="160711" y="35768"/>
                  <a:pt x="160048" y="45223"/>
                </a:cubicBezTo>
                <a:cubicBezTo>
                  <a:pt x="159384" y="54678"/>
                  <a:pt x="153413" y="45223"/>
                  <a:pt x="144622" y="43067"/>
                </a:cubicBezTo>
                <a:cubicBezTo>
                  <a:pt x="135831" y="40910"/>
                  <a:pt x="112941" y="60815"/>
                  <a:pt x="113605" y="71762"/>
                </a:cubicBezTo>
                <a:cubicBezTo>
                  <a:pt x="114268" y="82709"/>
                  <a:pt x="118083" y="93159"/>
                  <a:pt x="101828" y="103443"/>
                </a:cubicBezTo>
                <a:cubicBezTo>
                  <a:pt x="88725" y="114291"/>
                  <a:pt x="77512" y="127228"/>
                  <a:pt x="68654" y="141758"/>
                </a:cubicBezTo>
                <a:cubicBezTo>
                  <a:pt x="67095" y="144213"/>
                  <a:pt x="63894" y="145009"/>
                  <a:pt x="61356" y="143583"/>
                </a:cubicBezTo>
                <a:cubicBezTo>
                  <a:pt x="61107" y="147431"/>
                  <a:pt x="59515" y="151064"/>
                  <a:pt x="56878" y="153867"/>
                </a:cubicBezTo>
                <a:cubicBezTo>
                  <a:pt x="49049" y="160717"/>
                  <a:pt x="41568" y="167965"/>
                  <a:pt x="34486" y="175595"/>
                </a:cubicBezTo>
                <a:cubicBezTo>
                  <a:pt x="38632" y="179576"/>
                  <a:pt x="42447" y="183226"/>
                  <a:pt x="45101" y="186045"/>
                </a:cubicBezTo>
                <a:cubicBezTo>
                  <a:pt x="55385" y="197158"/>
                  <a:pt x="48750" y="205949"/>
                  <a:pt x="51736" y="211920"/>
                </a:cubicBezTo>
                <a:cubicBezTo>
                  <a:pt x="54722" y="217892"/>
                  <a:pt x="57541" y="226517"/>
                  <a:pt x="51736" y="230332"/>
                </a:cubicBezTo>
                <a:cubicBezTo>
                  <a:pt x="45931" y="234147"/>
                  <a:pt x="51736" y="274453"/>
                  <a:pt x="57541" y="281917"/>
                </a:cubicBezTo>
                <a:cubicBezTo>
                  <a:pt x="63347" y="289381"/>
                  <a:pt x="57541" y="295850"/>
                  <a:pt x="50243" y="310612"/>
                </a:cubicBezTo>
                <a:cubicBezTo>
                  <a:pt x="42945" y="325374"/>
                  <a:pt x="36310" y="332009"/>
                  <a:pt x="23041" y="332673"/>
                </a:cubicBezTo>
                <a:cubicBezTo>
                  <a:pt x="9771" y="333336"/>
                  <a:pt x="10435" y="354070"/>
                  <a:pt x="6454" y="354070"/>
                </a:cubicBezTo>
                <a:cubicBezTo>
                  <a:pt x="2473" y="354070"/>
                  <a:pt x="483" y="361534"/>
                  <a:pt x="-15" y="367837"/>
                </a:cubicBezTo>
                <a:cubicBezTo>
                  <a:pt x="11928" y="378237"/>
                  <a:pt x="25860" y="386082"/>
                  <a:pt x="40955" y="390893"/>
                </a:cubicBezTo>
                <a:cubicBezTo>
                  <a:pt x="47092" y="390893"/>
                  <a:pt x="51570" y="401011"/>
                  <a:pt x="60859" y="40631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4" name="Freeform: Shape 503">
            <a:extLst>
              <a:ext uri="{FF2B5EF4-FFF2-40B4-BE49-F238E27FC236}">
                <a16:creationId xmlns:a16="http://schemas.microsoft.com/office/drawing/2014/main" id="{A6D9AD79-E1EC-4EF6-882B-3803D76C92AE}"/>
              </a:ext>
            </a:extLst>
          </p:cNvPr>
          <p:cNvSpPr/>
          <p:nvPr/>
        </p:nvSpPr>
        <p:spPr>
          <a:xfrm>
            <a:off x="3479005" y="4929701"/>
            <a:ext cx="319809" cy="352029"/>
          </a:xfrm>
          <a:custGeom>
            <a:avLst/>
            <a:gdLst>
              <a:gd name="connsiteX0" fmla="*/ 402080 w 403359"/>
              <a:gd name="connsiteY0" fmla="*/ 272490 h 452683"/>
              <a:gd name="connsiteX1" fmla="*/ 382342 w 403359"/>
              <a:gd name="connsiteY1" fmla="*/ 239317 h 452683"/>
              <a:gd name="connsiteX2" fmla="*/ 354808 w 403359"/>
              <a:gd name="connsiteY2" fmla="*/ 222730 h 452683"/>
              <a:gd name="connsiteX3" fmla="*/ 318483 w 403359"/>
              <a:gd name="connsiteY3" fmla="*/ 206143 h 452683"/>
              <a:gd name="connsiteX4" fmla="*/ 314502 w 403359"/>
              <a:gd name="connsiteY4" fmla="*/ 178609 h 452683"/>
              <a:gd name="connsiteX5" fmla="*/ 309692 w 403359"/>
              <a:gd name="connsiteY5" fmla="*/ 153066 h 452683"/>
              <a:gd name="connsiteX6" fmla="*/ 296920 w 403359"/>
              <a:gd name="connsiteY6" fmla="*/ 130507 h 452683"/>
              <a:gd name="connsiteX7" fmla="*/ 260595 w 403359"/>
              <a:gd name="connsiteY7" fmla="*/ 122546 h 452683"/>
              <a:gd name="connsiteX8" fmla="*/ 233227 w 403359"/>
              <a:gd name="connsiteY8" fmla="*/ 109940 h 452683"/>
              <a:gd name="connsiteX9" fmla="*/ 219460 w 403359"/>
              <a:gd name="connsiteY9" fmla="*/ 98163 h 452683"/>
              <a:gd name="connsiteX10" fmla="*/ 195906 w 403359"/>
              <a:gd name="connsiteY10" fmla="*/ 93353 h 452683"/>
              <a:gd name="connsiteX11" fmla="*/ 156596 w 403359"/>
              <a:gd name="connsiteY11" fmla="*/ 69634 h 452683"/>
              <a:gd name="connsiteX12" fmla="*/ 145648 w 403359"/>
              <a:gd name="connsiteY12" fmla="*/ 4779 h 452683"/>
              <a:gd name="connsiteX13" fmla="*/ 114299 w 403359"/>
              <a:gd name="connsiteY13" fmla="*/ 2954 h 452683"/>
              <a:gd name="connsiteX14" fmla="*/ 74988 w 403359"/>
              <a:gd name="connsiteY14" fmla="*/ 20536 h 452683"/>
              <a:gd name="connsiteX15" fmla="*/ 46459 w 403359"/>
              <a:gd name="connsiteY15" fmla="*/ 35299 h 452683"/>
              <a:gd name="connsiteX16" fmla="*/ 17930 w 403359"/>
              <a:gd name="connsiteY16" fmla="*/ 42266 h 452683"/>
              <a:gd name="connsiteX17" fmla="*/ 6817 w 403359"/>
              <a:gd name="connsiteY17" fmla="*/ 39777 h 452683"/>
              <a:gd name="connsiteX18" fmla="*/ 29706 w 403359"/>
              <a:gd name="connsiteY18" fmla="*/ 86386 h 452683"/>
              <a:gd name="connsiteX19" fmla="*/ 20915 w 403359"/>
              <a:gd name="connsiteY19" fmla="*/ 104134 h 452683"/>
              <a:gd name="connsiteX20" fmla="*/ 23901 w 403359"/>
              <a:gd name="connsiteY20" fmla="*/ 151241 h 452683"/>
              <a:gd name="connsiteX21" fmla="*/ 15939 w 403359"/>
              <a:gd name="connsiteY21" fmla="*/ 178775 h 452683"/>
              <a:gd name="connsiteX22" fmla="*/ 8143 w 403359"/>
              <a:gd name="connsiteY22" fmla="*/ 207304 h 452683"/>
              <a:gd name="connsiteX23" fmla="*/ 20915 w 403359"/>
              <a:gd name="connsiteY23" fmla="*/ 223062 h 452683"/>
              <a:gd name="connsiteX24" fmla="*/ 3167 w 403359"/>
              <a:gd name="connsiteY24" fmla="*/ 249601 h 452683"/>
              <a:gd name="connsiteX25" fmla="*/ 513 w 403359"/>
              <a:gd name="connsiteY25" fmla="*/ 263202 h 452683"/>
              <a:gd name="connsiteX26" fmla="*/ 14115 w 403359"/>
              <a:gd name="connsiteY26" fmla="*/ 278960 h 452683"/>
              <a:gd name="connsiteX27" fmla="*/ 21910 w 403359"/>
              <a:gd name="connsiteY27" fmla="*/ 314455 h 452683"/>
              <a:gd name="connsiteX28" fmla="*/ 35677 w 403359"/>
              <a:gd name="connsiteY28" fmla="*/ 333033 h 452683"/>
              <a:gd name="connsiteX29" fmla="*/ 28711 w 403359"/>
              <a:gd name="connsiteY29" fmla="*/ 356586 h 452683"/>
              <a:gd name="connsiteX30" fmla="*/ 40654 w 403359"/>
              <a:gd name="connsiteY30" fmla="*/ 384120 h 452683"/>
              <a:gd name="connsiteX31" fmla="*/ 52430 w 403359"/>
              <a:gd name="connsiteY31" fmla="*/ 414640 h 452683"/>
              <a:gd name="connsiteX32" fmla="*/ 60226 w 403359"/>
              <a:gd name="connsiteY32" fmla="*/ 450965 h 452683"/>
              <a:gd name="connsiteX33" fmla="*/ 105508 w 403359"/>
              <a:gd name="connsiteY33" fmla="*/ 424426 h 452683"/>
              <a:gd name="connsiteX34" fmla="*/ 134867 w 403359"/>
              <a:gd name="connsiteY34" fmla="*/ 423431 h 452683"/>
              <a:gd name="connsiteX35" fmla="*/ 173182 w 403359"/>
              <a:gd name="connsiteY35" fmla="*/ 439188 h 452683"/>
              <a:gd name="connsiteX36" fmla="*/ 192921 w 403359"/>
              <a:gd name="connsiteY36" fmla="*/ 419616 h 452683"/>
              <a:gd name="connsiteX37" fmla="*/ 237042 w 403359"/>
              <a:gd name="connsiteY37" fmla="*/ 419616 h 452683"/>
              <a:gd name="connsiteX38" fmla="*/ 246994 w 403359"/>
              <a:gd name="connsiteY38" fmla="*/ 368362 h 452683"/>
              <a:gd name="connsiteX39" fmla="*/ 272537 w 403359"/>
              <a:gd name="connsiteY39" fmla="*/ 337013 h 452683"/>
              <a:gd name="connsiteX40" fmla="*/ 312844 w 403359"/>
              <a:gd name="connsiteY40" fmla="*/ 330047 h 452683"/>
              <a:gd name="connsiteX41" fmla="*/ 351159 w 403359"/>
              <a:gd name="connsiteY41" fmla="*/ 326232 h 452683"/>
              <a:gd name="connsiteX42" fmla="*/ 382508 w 403359"/>
              <a:gd name="connsiteY42" fmla="*/ 339999 h 452683"/>
              <a:gd name="connsiteX43" fmla="*/ 398266 w 403359"/>
              <a:gd name="connsiteY43" fmla="*/ 315285 h 452683"/>
              <a:gd name="connsiteX44" fmla="*/ 402080 w 403359"/>
              <a:gd name="connsiteY44" fmla="*/ 272490 h 452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03359" h="452683">
                <a:moveTo>
                  <a:pt x="402080" y="272490"/>
                </a:moveTo>
                <a:cubicBezTo>
                  <a:pt x="397105" y="257728"/>
                  <a:pt x="382342" y="255904"/>
                  <a:pt x="382342" y="239317"/>
                </a:cubicBezTo>
                <a:cubicBezTo>
                  <a:pt x="382342" y="222730"/>
                  <a:pt x="376537" y="221735"/>
                  <a:pt x="354808" y="222730"/>
                </a:cubicBezTo>
                <a:cubicBezTo>
                  <a:pt x="333079" y="223725"/>
                  <a:pt x="319478" y="218749"/>
                  <a:pt x="318483" y="206143"/>
                </a:cubicBezTo>
                <a:cubicBezTo>
                  <a:pt x="317488" y="193537"/>
                  <a:pt x="304716" y="183585"/>
                  <a:pt x="314502" y="178609"/>
                </a:cubicBezTo>
                <a:cubicBezTo>
                  <a:pt x="324288" y="173633"/>
                  <a:pt x="307702" y="164842"/>
                  <a:pt x="309692" y="153066"/>
                </a:cubicBezTo>
                <a:cubicBezTo>
                  <a:pt x="311682" y="141289"/>
                  <a:pt x="303721" y="136479"/>
                  <a:pt x="296920" y="130507"/>
                </a:cubicBezTo>
                <a:cubicBezTo>
                  <a:pt x="290119" y="124536"/>
                  <a:pt x="260595" y="133493"/>
                  <a:pt x="260595" y="122546"/>
                </a:cubicBezTo>
                <a:cubicBezTo>
                  <a:pt x="260595" y="111598"/>
                  <a:pt x="242847" y="109940"/>
                  <a:pt x="233227" y="109940"/>
                </a:cubicBezTo>
                <a:cubicBezTo>
                  <a:pt x="223606" y="109940"/>
                  <a:pt x="230241" y="97168"/>
                  <a:pt x="219460" y="98163"/>
                </a:cubicBezTo>
                <a:cubicBezTo>
                  <a:pt x="208678" y="99158"/>
                  <a:pt x="210503" y="91362"/>
                  <a:pt x="195906" y="93353"/>
                </a:cubicBezTo>
                <a:cubicBezTo>
                  <a:pt x="181310" y="95343"/>
                  <a:pt x="172187" y="88377"/>
                  <a:pt x="156596" y="69634"/>
                </a:cubicBezTo>
                <a:cubicBezTo>
                  <a:pt x="144620" y="50277"/>
                  <a:pt x="140705" y="27005"/>
                  <a:pt x="145648" y="4779"/>
                </a:cubicBezTo>
                <a:cubicBezTo>
                  <a:pt x="148634" y="-5007"/>
                  <a:pt x="127071" y="2954"/>
                  <a:pt x="114299" y="2954"/>
                </a:cubicBezTo>
                <a:cubicBezTo>
                  <a:pt x="100001" y="5658"/>
                  <a:pt x="86533" y="11679"/>
                  <a:pt x="74988" y="20536"/>
                </a:cubicBezTo>
                <a:cubicBezTo>
                  <a:pt x="61221" y="28498"/>
                  <a:pt x="53426" y="28498"/>
                  <a:pt x="46459" y="35299"/>
                </a:cubicBezTo>
                <a:cubicBezTo>
                  <a:pt x="39111" y="42962"/>
                  <a:pt x="27981" y="45682"/>
                  <a:pt x="17930" y="42266"/>
                </a:cubicBezTo>
                <a:cubicBezTo>
                  <a:pt x="14347" y="40988"/>
                  <a:pt x="10615" y="40142"/>
                  <a:pt x="6817" y="39777"/>
                </a:cubicBezTo>
                <a:cubicBezTo>
                  <a:pt x="12622" y="54208"/>
                  <a:pt x="26721" y="77927"/>
                  <a:pt x="29706" y="86386"/>
                </a:cubicBezTo>
                <a:cubicBezTo>
                  <a:pt x="32692" y="94846"/>
                  <a:pt x="24896" y="100153"/>
                  <a:pt x="20915" y="104134"/>
                </a:cubicBezTo>
                <a:cubicBezTo>
                  <a:pt x="16935" y="108115"/>
                  <a:pt x="22906" y="143445"/>
                  <a:pt x="23901" y="151241"/>
                </a:cubicBezTo>
                <a:cubicBezTo>
                  <a:pt x="24896" y="159037"/>
                  <a:pt x="10134" y="173799"/>
                  <a:pt x="15939" y="178775"/>
                </a:cubicBezTo>
                <a:cubicBezTo>
                  <a:pt x="21745" y="183751"/>
                  <a:pt x="8143" y="198347"/>
                  <a:pt x="8143" y="207304"/>
                </a:cubicBezTo>
                <a:cubicBezTo>
                  <a:pt x="8143" y="216261"/>
                  <a:pt x="20915" y="216095"/>
                  <a:pt x="20915" y="223062"/>
                </a:cubicBezTo>
                <a:cubicBezTo>
                  <a:pt x="18245" y="233694"/>
                  <a:pt x="11975" y="243066"/>
                  <a:pt x="3167" y="249601"/>
                </a:cubicBezTo>
                <a:cubicBezTo>
                  <a:pt x="-316" y="251591"/>
                  <a:pt x="-482" y="257231"/>
                  <a:pt x="513" y="263202"/>
                </a:cubicBezTo>
                <a:cubicBezTo>
                  <a:pt x="2504" y="263202"/>
                  <a:pt x="3997" y="271495"/>
                  <a:pt x="14115" y="278960"/>
                </a:cubicBezTo>
                <a:cubicBezTo>
                  <a:pt x="24233" y="286424"/>
                  <a:pt x="12124" y="302513"/>
                  <a:pt x="21910" y="314455"/>
                </a:cubicBezTo>
                <a:cubicBezTo>
                  <a:pt x="31697" y="326398"/>
                  <a:pt x="42478" y="327227"/>
                  <a:pt x="35677" y="333033"/>
                </a:cubicBezTo>
                <a:cubicBezTo>
                  <a:pt x="28877" y="338838"/>
                  <a:pt x="36673" y="350780"/>
                  <a:pt x="28711" y="356586"/>
                </a:cubicBezTo>
                <a:cubicBezTo>
                  <a:pt x="20749" y="362391"/>
                  <a:pt x="31697" y="380305"/>
                  <a:pt x="40654" y="384120"/>
                </a:cubicBezTo>
                <a:cubicBezTo>
                  <a:pt x="49610" y="387935"/>
                  <a:pt x="43473" y="405683"/>
                  <a:pt x="52430" y="414640"/>
                </a:cubicBezTo>
                <a:cubicBezTo>
                  <a:pt x="61387" y="423597"/>
                  <a:pt x="57240" y="443999"/>
                  <a:pt x="60226" y="450965"/>
                </a:cubicBezTo>
                <a:cubicBezTo>
                  <a:pt x="63212" y="457932"/>
                  <a:pt x="89751" y="441179"/>
                  <a:pt x="105508" y="424426"/>
                </a:cubicBezTo>
                <a:cubicBezTo>
                  <a:pt x="121266" y="407673"/>
                  <a:pt x="120104" y="421440"/>
                  <a:pt x="134867" y="423431"/>
                </a:cubicBezTo>
                <a:cubicBezTo>
                  <a:pt x="149629" y="425421"/>
                  <a:pt x="166382" y="425421"/>
                  <a:pt x="173182" y="439188"/>
                </a:cubicBezTo>
                <a:cubicBezTo>
                  <a:pt x="179983" y="452955"/>
                  <a:pt x="187945" y="425421"/>
                  <a:pt x="192921" y="419616"/>
                </a:cubicBezTo>
                <a:cubicBezTo>
                  <a:pt x="197897" y="413811"/>
                  <a:pt x="231236" y="421440"/>
                  <a:pt x="237042" y="419616"/>
                </a:cubicBezTo>
                <a:cubicBezTo>
                  <a:pt x="242847" y="417791"/>
                  <a:pt x="247989" y="375329"/>
                  <a:pt x="246994" y="368362"/>
                </a:cubicBezTo>
                <a:cubicBezTo>
                  <a:pt x="245999" y="361396"/>
                  <a:pt x="260761" y="344809"/>
                  <a:pt x="272537" y="337013"/>
                </a:cubicBezTo>
                <a:cubicBezTo>
                  <a:pt x="284314" y="329218"/>
                  <a:pt x="302891" y="335023"/>
                  <a:pt x="312844" y="330047"/>
                </a:cubicBezTo>
                <a:cubicBezTo>
                  <a:pt x="325234" y="326199"/>
                  <a:pt x="338255" y="324905"/>
                  <a:pt x="351159" y="326232"/>
                </a:cubicBezTo>
                <a:cubicBezTo>
                  <a:pt x="364926" y="326232"/>
                  <a:pt x="374712" y="339999"/>
                  <a:pt x="382508" y="339999"/>
                </a:cubicBezTo>
                <a:cubicBezTo>
                  <a:pt x="390304" y="339999"/>
                  <a:pt x="400256" y="327227"/>
                  <a:pt x="398266" y="315285"/>
                </a:cubicBezTo>
                <a:cubicBezTo>
                  <a:pt x="396275" y="303342"/>
                  <a:pt x="406891" y="287253"/>
                  <a:pt x="402080" y="27249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5" name="Freeform: Shape 504">
            <a:extLst>
              <a:ext uri="{FF2B5EF4-FFF2-40B4-BE49-F238E27FC236}">
                <a16:creationId xmlns:a16="http://schemas.microsoft.com/office/drawing/2014/main" id="{8F89194C-4D4B-4CD1-BE17-34A347DAE037}"/>
              </a:ext>
            </a:extLst>
          </p:cNvPr>
          <p:cNvSpPr/>
          <p:nvPr/>
        </p:nvSpPr>
        <p:spPr>
          <a:xfrm>
            <a:off x="3167759" y="4677340"/>
            <a:ext cx="335480" cy="483044"/>
          </a:xfrm>
          <a:custGeom>
            <a:avLst/>
            <a:gdLst>
              <a:gd name="connsiteX0" fmla="*/ 391744 w 423123"/>
              <a:gd name="connsiteY0" fmla="*/ 589047 h 621158"/>
              <a:gd name="connsiteX1" fmla="*/ 392905 w 423123"/>
              <a:gd name="connsiteY1" fmla="*/ 588052 h 621158"/>
              <a:gd name="connsiteX2" fmla="*/ 395558 w 423123"/>
              <a:gd name="connsiteY2" fmla="*/ 574450 h 621158"/>
              <a:gd name="connsiteX3" fmla="*/ 413306 w 423123"/>
              <a:gd name="connsiteY3" fmla="*/ 547911 h 621158"/>
              <a:gd name="connsiteX4" fmla="*/ 400535 w 423123"/>
              <a:gd name="connsiteY4" fmla="*/ 532154 h 621158"/>
              <a:gd name="connsiteX5" fmla="*/ 408330 w 423123"/>
              <a:gd name="connsiteY5" fmla="*/ 503625 h 621158"/>
              <a:gd name="connsiteX6" fmla="*/ 416292 w 423123"/>
              <a:gd name="connsiteY6" fmla="*/ 476091 h 621158"/>
              <a:gd name="connsiteX7" fmla="*/ 413306 w 423123"/>
              <a:gd name="connsiteY7" fmla="*/ 428984 h 621158"/>
              <a:gd name="connsiteX8" fmla="*/ 422097 w 423123"/>
              <a:gd name="connsiteY8" fmla="*/ 411236 h 621158"/>
              <a:gd name="connsiteX9" fmla="*/ 399208 w 423123"/>
              <a:gd name="connsiteY9" fmla="*/ 364627 h 621158"/>
              <a:gd name="connsiteX10" fmla="*/ 367195 w 423123"/>
              <a:gd name="connsiteY10" fmla="*/ 366120 h 621158"/>
              <a:gd name="connsiteX11" fmla="*/ 359233 w 423123"/>
              <a:gd name="connsiteY11" fmla="*/ 322828 h 621158"/>
              <a:gd name="connsiteX12" fmla="*/ 344471 w 423123"/>
              <a:gd name="connsiteY12" fmla="*/ 325814 h 621158"/>
              <a:gd name="connsiteX13" fmla="*/ 309141 w 423123"/>
              <a:gd name="connsiteY13" fmla="*/ 330624 h 621158"/>
              <a:gd name="connsiteX14" fmla="*/ 291393 w 423123"/>
              <a:gd name="connsiteY14" fmla="*/ 312047 h 621158"/>
              <a:gd name="connsiteX15" fmla="*/ 274806 w 423123"/>
              <a:gd name="connsiteY15" fmla="*/ 299275 h 621158"/>
              <a:gd name="connsiteX16" fmla="*/ 261039 w 423123"/>
              <a:gd name="connsiteY16" fmla="*/ 270746 h 621158"/>
              <a:gd name="connsiteX17" fmla="*/ 252082 w 423123"/>
              <a:gd name="connsiteY17" fmla="*/ 242216 h 621158"/>
              <a:gd name="connsiteX18" fmla="*/ 257059 w 423123"/>
              <a:gd name="connsiteY18" fmla="*/ 220653 h 621158"/>
              <a:gd name="connsiteX19" fmla="*/ 271821 w 423123"/>
              <a:gd name="connsiteY19" fmla="*/ 202906 h 621158"/>
              <a:gd name="connsiteX20" fmla="*/ 282602 w 423123"/>
              <a:gd name="connsiteY20" fmla="*/ 171556 h 621158"/>
              <a:gd name="connsiteX21" fmla="*/ 312127 w 423123"/>
              <a:gd name="connsiteY21" fmla="*/ 151818 h 621158"/>
              <a:gd name="connsiteX22" fmla="*/ 352433 w 423123"/>
              <a:gd name="connsiteY22" fmla="*/ 137221 h 621158"/>
              <a:gd name="connsiteX23" fmla="*/ 379303 w 423123"/>
              <a:gd name="connsiteY23" fmla="*/ 135231 h 621158"/>
              <a:gd name="connsiteX24" fmla="*/ 359565 w 423123"/>
              <a:gd name="connsiteY24" fmla="*/ 119474 h 621158"/>
              <a:gd name="connsiteX25" fmla="*/ 376152 w 423123"/>
              <a:gd name="connsiteY25" fmla="*/ 91774 h 621158"/>
              <a:gd name="connsiteX26" fmla="*/ 351935 w 423123"/>
              <a:gd name="connsiteY26" fmla="*/ 72035 h 621158"/>
              <a:gd name="connsiteX27" fmla="*/ 329875 w 423123"/>
              <a:gd name="connsiteY27" fmla="*/ 73196 h 621158"/>
              <a:gd name="connsiteX28" fmla="*/ 310302 w 423123"/>
              <a:gd name="connsiteY28" fmla="*/ 75518 h 621158"/>
              <a:gd name="connsiteX29" fmla="*/ 272152 w 423123"/>
              <a:gd name="connsiteY29" fmla="*/ 70874 h 621158"/>
              <a:gd name="connsiteX30" fmla="*/ 259381 w 423123"/>
              <a:gd name="connsiteY30" fmla="*/ 50140 h 621158"/>
              <a:gd name="connsiteX31" fmla="*/ 238481 w 423123"/>
              <a:gd name="connsiteY31" fmla="*/ 29241 h 621158"/>
              <a:gd name="connsiteX32" fmla="*/ 218909 w 423123"/>
              <a:gd name="connsiteY32" fmla="*/ 1541 h 621158"/>
              <a:gd name="connsiteX33" fmla="*/ 190214 w 423123"/>
              <a:gd name="connsiteY33" fmla="*/ 2371 h 621158"/>
              <a:gd name="connsiteX34" fmla="*/ 198010 w 423123"/>
              <a:gd name="connsiteY34" fmla="*/ 26090 h 621158"/>
              <a:gd name="connsiteX35" fmla="*/ 179598 w 423123"/>
              <a:gd name="connsiteY35" fmla="*/ 59263 h 621158"/>
              <a:gd name="connsiteX36" fmla="*/ 114246 w 423123"/>
              <a:gd name="connsiteY36" fmla="*/ 94594 h 621158"/>
              <a:gd name="connsiteX37" fmla="*/ 84224 w 423123"/>
              <a:gd name="connsiteY37" fmla="*/ 147506 h 621158"/>
              <a:gd name="connsiteX38" fmla="*/ 60505 w 423123"/>
              <a:gd name="connsiteY38" fmla="*/ 149164 h 621158"/>
              <a:gd name="connsiteX39" fmla="*/ 35127 w 423123"/>
              <a:gd name="connsiteY39" fmla="*/ 142198 h 621158"/>
              <a:gd name="connsiteX40" fmla="*/ 35127 w 423123"/>
              <a:gd name="connsiteY40" fmla="*/ 125611 h 621158"/>
              <a:gd name="connsiteX41" fmla="*/ 28658 w 423123"/>
              <a:gd name="connsiteY41" fmla="*/ 109024 h 621158"/>
              <a:gd name="connsiteX42" fmla="*/ 1124 w 423123"/>
              <a:gd name="connsiteY42" fmla="*/ 138051 h 621158"/>
              <a:gd name="connsiteX43" fmla="*/ 13730 w 423123"/>
              <a:gd name="connsiteY43" fmla="*/ 183665 h 621158"/>
              <a:gd name="connsiteX44" fmla="*/ 3446 w 423123"/>
              <a:gd name="connsiteY44" fmla="*/ 192622 h 621158"/>
              <a:gd name="connsiteX45" fmla="*/ 39439 w 423123"/>
              <a:gd name="connsiteY45" fmla="*/ 221317 h 621158"/>
              <a:gd name="connsiteX46" fmla="*/ 72613 w 423123"/>
              <a:gd name="connsiteY46" fmla="*/ 266930 h 621158"/>
              <a:gd name="connsiteX47" fmla="*/ 96332 w 423123"/>
              <a:gd name="connsiteY47" fmla="*/ 317852 h 621158"/>
              <a:gd name="connsiteX48" fmla="*/ 147917 w 423123"/>
              <a:gd name="connsiteY48" fmla="*/ 415880 h 621158"/>
              <a:gd name="connsiteX49" fmla="*/ 167821 w 423123"/>
              <a:gd name="connsiteY49" fmla="*/ 458674 h 621158"/>
              <a:gd name="connsiteX50" fmla="*/ 180261 w 423123"/>
              <a:gd name="connsiteY50" fmla="*/ 488862 h 621158"/>
              <a:gd name="connsiteX51" fmla="*/ 232510 w 423123"/>
              <a:gd name="connsiteY51" fmla="*/ 525685 h 621158"/>
              <a:gd name="connsiteX52" fmla="*/ 328382 w 423123"/>
              <a:gd name="connsiteY52" fmla="*/ 584568 h 621158"/>
              <a:gd name="connsiteX53" fmla="*/ 368190 w 423123"/>
              <a:gd name="connsiteY53" fmla="*/ 614922 h 621158"/>
              <a:gd name="connsiteX54" fmla="*/ 370015 w 423123"/>
              <a:gd name="connsiteY54" fmla="*/ 621059 h 621158"/>
              <a:gd name="connsiteX55" fmla="*/ 377313 w 423123"/>
              <a:gd name="connsiteY55" fmla="*/ 615752 h 621158"/>
              <a:gd name="connsiteX56" fmla="*/ 391744 w 423123"/>
              <a:gd name="connsiteY56" fmla="*/ 589047 h 62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23123" h="621158">
                <a:moveTo>
                  <a:pt x="391744" y="589047"/>
                </a:moveTo>
                <a:cubicBezTo>
                  <a:pt x="391942" y="588549"/>
                  <a:pt x="392374" y="588168"/>
                  <a:pt x="392905" y="588052"/>
                </a:cubicBezTo>
                <a:cubicBezTo>
                  <a:pt x="391909" y="582080"/>
                  <a:pt x="392075" y="576441"/>
                  <a:pt x="395558" y="574450"/>
                </a:cubicBezTo>
                <a:cubicBezTo>
                  <a:pt x="404366" y="567915"/>
                  <a:pt x="410636" y="558543"/>
                  <a:pt x="413306" y="547911"/>
                </a:cubicBezTo>
                <a:cubicBezTo>
                  <a:pt x="413306" y="540945"/>
                  <a:pt x="400535" y="540945"/>
                  <a:pt x="400535" y="532154"/>
                </a:cubicBezTo>
                <a:cubicBezTo>
                  <a:pt x="400535" y="523363"/>
                  <a:pt x="414302" y="508601"/>
                  <a:pt x="408330" y="503625"/>
                </a:cubicBezTo>
                <a:cubicBezTo>
                  <a:pt x="402359" y="498649"/>
                  <a:pt x="417287" y="484052"/>
                  <a:pt x="416292" y="476091"/>
                </a:cubicBezTo>
                <a:cubicBezTo>
                  <a:pt x="415297" y="468129"/>
                  <a:pt x="409326" y="432965"/>
                  <a:pt x="413306" y="428984"/>
                </a:cubicBezTo>
                <a:cubicBezTo>
                  <a:pt x="417287" y="425003"/>
                  <a:pt x="426078" y="422017"/>
                  <a:pt x="422097" y="411236"/>
                </a:cubicBezTo>
                <a:cubicBezTo>
                  <a:pt x="418117" y="400455"/>
                  <a:pt x="405511" y="379058"/>
                  <a:pt x="399208" y="364627"/>
                </a:cubicBezTo>
                <a:cubicBezTo>
                  <a:pt x="388559" y="362802"/>
                  <a:pt x="377628" y="363317"/>
                  <a:pt x="367195" y="366120"/>
                </a:cubicBezTo>
                <a:cubicBezTo>
                  <a:pt x="356414" y="369935"/>
                  <a:pt x="359233" y="335600"/>
                  <a:pt x="359233" y="322828"/>
                </a:cubicBezTo>
                <a:cubicBezTo>
                  <a:pt x="359233" y="310056"/>
                  <a:pt x="348452" y="316857"/>
                  <a:pt x="344471" y="325814"/>
                </a:cubicBezTo>
                <a:cubicBezTo>
                  <a:pt x="340490" y="334771"/>
                  <a:pt x="324899" y="330624"/>
                  <a:pt x="309141" y="330624"/>
                </a:cubicBezTo>
                <a:cubicBezTo>
                  <a:pt x="293384" y="330624"/>
                  <a:pt x="301345" y="311051"/>
                  <a:pt x="291393" y="312047"/>
                </a:cubicBezTo>
                <a:cubicBezTo>
                  <a:pt x="281441" y="313042"/>
                  <a:pt x="273811" y="309061"/>
                  <a:pt x="274806" y="299275"/>
                </a:cubicBezTo>
                <a:cubicBezTo>
                  <a:pt x="275802" y="289489"/>
                  <a:pt x="267840" y="281527"/>
                  <a:pt x="261039" y="270746"/>
                </a:cubicBezTo>
                <a:cubicBezTo>
                  <a:pt x="254239" y="259964"/>
                  <a:pt x="246277" y="249182"/>
                  <a:pt x="252082" y="242216"/>
                </a:cubicBezTo>
                <a:cubicBezTo>
                  <a:pt x="257888" y="235250"/>
                  <a:pt x="248268" y="229445"/>
                  <a:pt x="257059" y="220653"/>
                </a:cubicBezTo>
                <a:cubicBezTo>
                  <a:pt x="265850" y="211862"/>
                  <a:pt x="274806" y="214682"/>
                  <a:pt x="271821" y="202906"/>
                </a:cubicBezTo>
                <a:cubicBezTo>
                  <a:pt x="268835" y="191129"/>
                  <a:pt x="281607" y="184328"/>
                  <a:pt x="282602" y="171556"/>
                </a:cubicBezTo>
                <a:cubicBezTo>
                  <a:pt x="283597" y="158784"/>
                  <a:pt x="298360" y="162765"/>
                  <a:pt x="312127" y="151818"/>
                </a:cubicBezTo>
                <a:cubicBezTo>
                  <a:pt x="325894" y="140870"/>
                  <a:pt x="340656" y="147008"/>
                  <a:pt x="352433" y="137221"/>
                </a:cubicBezTo>
                <a:cubicBezTo>
                  <a:pt x="364209" y="127435"/>
                  <a:pt x="371010" y="135895"/>
                  <a:pt x="379303" y="135231"/>
                </a:cubicBezTo>
                <a:cubicBezTo>
                  <a:pt x="374327" y="128430"/>
                  <a:pt x="362717" y="124947"/>
                  <a:pt x="359565" y="119474"/>
                </a:cubicBezTo>
                <a:cubicBezTo>
                  <a:pt x="356414" y="114000"/>
                  <a:pt x="372171" y="99901"/>
                  <a:pt x="376152" y="91774"/>
                </a:cubicBezTo>
                <a:cubicBezTo>
                  <a:pt x="380133" y="83646"/>
                  <a:pt x="357741" y="75187"/>
                  <a:pt x="351935" y="72035"/>
                </a:cubicBezTo>
                <a:cubicBezTo>
                  <a:pt x="346130" y="68884"/>
                  <a:pt x="335348" y="76679"/>
                  <a:pt x="329875" y="73196"/>
                </a:cubicBezTo>
                <a:cubicBezTo>
                  <a:pt x="323406" y="70427"/>
                  <a:pt x="315942" y="71305"/>
                  <a:pt x="310302" y="75518"/>
                </a:cubicBezTo>
                <a:cubicBezTo>
                  <a:pt x="305658" y="79002"/>
                  <a:pt x="270991" y="81324"/>
                  <a:pt x="272152" y="70874"/>
                </a:cubicBezTo>
                <a:cubicBezTo>
                  <a:pt x="273314" y="60425"/>
                  <a:pt x="258220" y="56941"/>
                  <a:pt x="259381" y="50140"/>
                </a:cubicBezTo>
                <a:cubicBezTo>
                  <a:pt x="260542" y="43340"/>
                  <a:pt x="251253" y="30403"/>
                  <a:pt x="238481" y="29241"/>
                </a:cubicBezTo>
                <a:cubicBezTo>
                  <a:pt x="225709" y="28080"/>
                  <a:pt x="228197" y="7347"/>
                  <a:pt x="218909" y="1541"/>
                </a:cubicBezTo>
                <a:cubicBezTo>
                  <a:pt x="209454" y="-897"/>
                  <a:pt x="199502" y="-615"/>
                  <a:pt x="190214" y="2371"/>
                </a:cubicBezTo>
                <a:cubicBezTo>
                  <a:pt x="201327" y="14976"/>
                  <a:pt x="205308" y="20118"/>
                  <a:pt x="198010" y="26090"/>
                </a:cubicBezTo>
                <a:cubicBezTo>
                  <a:pt x="188223" y="33886"/>
                  <a:pt x="198010" y="35378"/>
                  <a:pt x="179598" y="59263"/>
                </a:cubicBezTo>
                <a:cubicBezTo>
                  <a:pt x="161187" y="83149"/>
                  <a:pt x="129838" y="89949"/>
                  <a:pt x="114246" y="94594"/>
                </a:cubicBezTo>
                <a:cubicBezTo>
                  <a:pt x="98654" y="99238"/>
                  <a:pt x="92683" y="127767"/>
                  <a:pt x="84224" y="147506"/>
                </a:cubicBezTo>
                <a:cubicBezTo>
                  <a:pt x="75764" y="167244"/>
                  <a:pt x="68964" y="160609"/>
                  <a:pt x="60505" y="149164"/>
                </a:cubicBezTo>
                <a:cubicBezTo>
                  <a:pt x="52045" y="137719"/>
                  <a:pt x="45079" y="151320"/>
                  <a:pt x="35127" y="142198"/>
                </a:cubicBezTo>
                <a:cubicBezTo>
                  <a:pt x="25175" y="133075"/>
                  <a:pt x="29819" y="132909"/>
                  <a:pt x="35127" y="125611"/>
                </a:cubicBezTo>
                <a:cubicBezTo>
                  <a:pt x="38112" y="121464"/>
                  <a:pt x="35127" y="114829"/>
                  <a:pt x="28658" y="109024"/>
                </a:cubicBezTo>
                <a:cubicBezTo>
                  <a:pt x="17710" y="111180"/>
                  <a:pt x="6597" y="126440"/>
                  <a:pt x="1124" y="138051"/>
                </a:cubicBezTo>
                <a:cubicBezTo>
                  <a:pt x="-4350" y="149661"/>
                  <a:pt x="11573" y="174874"/>
                  <a:pt x="13730" y="183665"/>
                </a:cubicBezTo>
                <a:cubicBezTo>
                  <a:pt x="15886" y="192456"/>
                  <a:pt x="4939" y="184494"/>
                  <a:pt x="3446" y="192622"/>
                </a:cubicBezTo>
                <a:cubicBezTo>
                  <a:pt x="1953" y="200749"/>
                  <a:pt x="27663" y="212526"/>
                  <a:pt x="39439" y="221317"/>
                </a:cubicBezTo>
                <a:cubicBezTo>
                  <a:pt x="51216" y="230108"/>
                  <a:pt x="61666" y="254490"/>
                  <a:pt x="72613" y="266930"/>
                </a:cubicBezTo>
                <a:cubicBezTo>
                  <a:pt x="83560" y="279371"/>
                  <a:pt x="84390" y="289157"/>
                  <a:pt x="96332" y="317852"/>
                </a:cubicBezTo>
                <a:cubicBezTo>
                  <a:pt x="110049" y="352237"/>
                  <a:pt x="127333" y="385095"/>
                  <a:pt x="147917" y="415880"/>
                </a:cubicBezTo>
                <a:cubicBezTo>
                  <a:pt x="164504" y="436448"/>
                  <a:pt x="171470" y="452703"/>
                  <a:pt x="167821" y="458674"/>
                </a:cubicBezTo>
                <a:cubicBezTo>
                  <a:pt x="164172" y="464646"/>
                  <a:pt x="167821" y="480735"/>
                  <a:pt x="180261" y="488862"/>
                </a:cubicBezTo>
                <a:cubicBezTo>
                  <a:pt x="196135" y="503194"/>
                  <a:pt x="213667" y="515567"/>
                  <a:pt x="232510" y="525685"/>
                </a:cubicBezTo>
                <a:cubicBezTo>
                  <a:pt x="263527" y="541111"/>
                  <a:pt x="320254" y="570635"/>
                  <a:pt x="328382" y="584568"/>
                </a:cubicBezTo>
                <a:cubicBezTo>
                  <a:pt x="339329" y="597407"/>
                  <a:pt x="352897" y="607757"/>
                  <a:pt x="368190" y="614922"/>
                </a:cubicBezTo>
                <a:cubicBezTo>
                  <a:pt x="369683" y="614922"/>
                  <a:pt x="370015" y="617908"/>
                  <a:pt x="370015" y="621059"/>
                </a:cubicBezTo>
                <a:cubicBezTo>
                  <a:pt x="372304" y="619102"/>
                  <a:pt x="374742" y="617327"/>
                  <a:pt x="377313" y="615752"/>
                </a:cubicBezTo>
                <a:cubicBezTo>
                  <a:pt x="387763" y="610776"/>
                  <a:pt x="388758" y="594023"/>
                  <a:pt x="391744" y="58904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6" name="Freeform: Shape 505">
            <a:extLst>
              <a:ext uri="{FF2B5EF4-FFF2-40B4-BE49-F238E27FC236}">
                <a16:creationId xmlns:a16="http://schemas.microsoft.com/office/drawing/2014/main" id="{0E419E89-3369-4EED-8499-9471D830DF71}"/>
              </a:ext>
            </a:extLst>
          </p:cNvPr>
          <p:cNvSpPr/>
          <p:nvPr/>
        </p:nvSpPr>
        <p:spPr>
          <a:xfrm>
            <a:off x="3379529" y="4354600"/>
            <a:ext cx="362786" cy="299562"/>
          </a:xfrm>
          <a:custGeom>
            <a:avLst/>
            <a:gdLst>
              <a:gd name="connsiteX0" fmla="*/ 42380 w 457563"/>
              <a:gd name="connsiteY0" fmla="*/ 25610 h 385215"/>
              <a:gd name="connsiteX1" fmla="*/ 13022 w 457563"/>
              <a:gd name="connsiteY1" fmla="*/ 63262 h 385215"/>
              <a:gd name="connsiteX2" fmla="*/ 8046 w 457563"/>
              <a:gd name="connsiteY2" fmla="*/ 87810 h 385215"/>
              <a:gd name="connsiteX3" fmla="*/ 3070 w 457563"/>
              <a:gd name="connsiteY3" fmla="*/ 103071 h 385215"/>
              <a:gd name="connsiteX4" fmla="*/ 18661 w 457563"/>
              <a:gd name="connsiteY4" fmla="*/ 110369 h 385215"/>
              <a:gd name="connsiteX5" fmla="*/ 33423 w 457563"/>
              <a:gd name="connsiteY5" fmla="*/ 132264 h 385215"/>
              <a:gd name="connsiteX6" fmla="*/ 54986 w 457563"/>
              <a:gd name="connsiteY6" fmla="*/ 176219 h 385215"/>
              <a:gd name="connsiteX7" fmla="*/ 111713 w 457563"/>
              <a:gd name="connsiteY7" fmla="*/ 181194 h 385215"/>
              <a:gd name="connsiteX8" fmla="*/ 158322 w 457563"/>
              <a:gd name="connsiteY8" fmla="*/ 201430 h 385215"/>
              <a:gd name="connsiteX9" fmla="*/ 197135 w 457563"/>
              <a:gd name="connsiteY9" fmla="*/ 211714 h 385215"/>
              <a:gd name="connsiteX10" fmla="*/ 189174 w 457563"/>
              <a:gd name="connsiteY10" fmla="*/ 272588 h 385215"/>
              <a:gd name="connsiteX11" fmla="*/ 202111 w 457563"/>
              <a:gd name="connsiteY11" fmla="*/ 298132 h 385215"/>
              <a:gd name="connsiteX12" fmla="*/ 200785 w 457563"/>
              <a:gd name="connsiteY12" fmla="*/ 323012 h 385215"/>
              <a:gd name="connsiteX13" fmla="*/ 206756 w 457563"/>
              <a:gd name="connsiteY13" fmla="*/ 339599 h 385215"/>
              <a:gd name="connsiteX14" fmla="*/ 202111 w 457563"/>
              <a:gd name="connsiteY14" fmla="*/ 342418 h 385215"/>
              <a:gd name="connsiteX15" fmla="*/ 227489 w 457563"/>
              <a:gd name="connsiteY15" fmla="*/ 375592 h 385215"/>
              <a:gd name="connsiteX16" fmla="*/ 247559 w 457563"/>
              <a:gd name="connsiteY16" fmla="*/ 383554 h 385215"/>
              <a:gd name="connsiteX17" fmla="*/ 265473 w 457563"/>
              <a:gd name="connsiteY17" fmla="*/ 380568 h 385215"/>
              <a:gd name="connsiteX18" fmla="*/ 288363 w 457563"/>
              <a:gd name="connsiteY18" fmla="*/ 368626 h 385215"/>
              <a:gd name="connsiteX19" fmla="*/ 310423 w 457563"/>
              <a:gd name="connsiteY19" fmla="*/ 357679 h 385215"/>
              <a:gd name="connsiteX20" fmla="*/ 329332 w 457563"/>
              <a:gd name="connsiteY20" fmla="*/ 339765 h 385215"/>
              <a:gd name="connsiteX21" fmla="*/ 333313 w 457563"/>
              <a:gd name="connsiteY21" fmla="*/ 325832 h 385215"/>
              <a:gd name="connsiteX22" fmla="*/ 316727 w 457563"/>
              <a:gd name="connsiteY22" fmla="*/ 321685 h 385215"/>
              <a:gd name="connsiteX23" fmla="*/ 307604 w 457563"/>
              <a:gd name="connsiteY23" fmla="*/ 300786 h 385215"/>
              <a:gd name="connsiteX24" fmla="*/ 294666 w 457563"/>
              <a:gd name="connsiteY24" fmla="*/ 275906 h 385215"/>
              <a:gd name="connsiteX25" fmla="*/ 316727 w 457563"/>
              <a:gd name="connsiteY25" fmla="*/ 271924 h 385215"/>
              <a:gd name="connsiteX26" fmla="*/ 345588 w 457563"/>
              <a:gd name="connsiteY26" fmla="*/ 281877 h 385215"/>
              <a:gd name="connsiteX27" fmla="*/ 358525 w 457563"/>
              <a:gd name="connsiteY27" fmla="*/ 282872 h 385215"/>
              <a:gd name="connsiteX28" fmla="*/ 381581 w 457563"/>
              <a:gd name="connsiteY28" fmla="*/ 269934 h 385215"/>
              <a:gd name="connsiteX29" fmla="*/ 422385 w 457563"/>
              <a:gd name="connsiteY29" fmla="*/ 253347 h 385215"/>
              <a:gd name="connsiteX30" fmla="*/ 431342 w 457563"/>
              <a:gd name="connsiteY30" fmla="*/ 241405 h 385215"/>
              <a:gd name="connsiteX31" fmla="*/ 409613 w 457563"/>
              <a:gd name="connsiteY31" fmla="*/ 214700 h 385215"/>
              <a:gd name="connsiteX32" fmla="*/ 413096 w 457563"/>
              <a:gd name="connsiteY32" fmla="*/ 196786 h 385215"/>
              <a:gd name="connsiteX33" fmla="*/ 428688 w 457563"/>
              <a:gd name="connsiteY33" fmla="*/ 181360 h 385215"/>
              <a:gd name="connsiteX34" fmla="*/ 433498 w 457563"/>
              <a:gd name="connsiteY34" fmla="*/ 163447 h 385215"/>
              <a:gd name="connsiteX35" fmla="*/ 445440 w 457563"/>
              <a:gd name="connsiteY35" fmla="*/ 140723 h 385215"/>
              <a:gd name="connsiteX36" fmla="*/ 457549 w 457563"/>
              <a:gd name="connsiteY36" fmla="*/ 124136 h 385215"/>
              <a:gd name="connsiteX37" fmla="*/ 409447 w 457563"/>
              <a:gd name="connsiteY37" fmla="*/ 119160 h 385215"/>
              <a:gd name="connsiteX38" fmla="*/ 418238 w 457563"/>
              <a:gd name="connsiteY38" fmla="*/ 91957 h 385215"/>
              <a:gd name="connsiteX39" fmla="*/ 368477 w 457563"/>
              <a:gd name="connsiteY39" fmla="*/ 73546 h 385215"/>
              <a:gd name="connsiteX40" fmla="*/ 372956 w 457563"/>
              <a:gd name="connsiteY40" fmla="*/ 55134 h 385215"/>
              <a:gd name="connsiteX41" fmla="*/ 344924 w 457563"/>
              <a:gd name="connsiteY41" fmla="*/ 47007 h 385215"/>
              <a:gd name="connsiteX42" fmla="*/ 280899 w 457563"/>
              <a:gd name="connsiteY42" fmla="*/ 69897 h 385215"/>
              <a:gd name="connsiteX43" fmla="*/ 218201 w 457563"/>
              <a:gd name="connsiteY43" fmla="*/ 51486 h 385215"/>
              <a:gd name="connsiteX44" fmla="*/ 174743 w 457563"/>
              <a:gd name="connsiteY44" fmla="*/ 44022 h 385215"/>
              <a:gd name="connsiteX45" fmla="*/ 156282 w 457563"/>
              <a:gd name="connsiteY45" fmla="*/ 18295 h 385215"/>
              <a:gd name="connsiteX46" fmla="*/ 148868 w 457563"/>
              <a:gd name="connsiteY46" fmla="*/ 18312 h 385215"/>
              <a:gd name="connsiteX47" fmla="*/ 121002 w 457563"/>
              <a:gd name="connsiteY47" fmla="*/ -100 h 385215"/>
              <a:gd name="connsiteX48" fmla="*/ 111381 w 457563"/>
              <a:gd name="connsiteY48" fmla="*/ 21132 h 385215"/>
              <a:gd name="connsiteX49" fmla="*/ 66431 w 457563"/>
              <a:gd name="connsiteY49" fmla="*/ 47007 h 385215"/>
              <a:gd name="connsiteX50" fmla="*/ 77378 w 457563"/>
              <a:gd name="connsiteY50" fmla="*/ 95606 h 385215"/>
              <a:gd name="connsiteX51" fmla="*/ 42049 w 457563"/>
              <a:gd name="connsiteY51" fmla="*/ 83830 h 385215"/>
              <a:gd name="connsiteX52" fmla="*/ 56811 w 457563"/>
              <a:gd name="connsiteY52" fmla="*/ 40372 h 385215"/>
              <a:gd name="connsiteX53" fmla="*/ 52498 w 457563"/>
              <a:gd name="connsiteY53" fmla="*/ 17316 h 385215"/>
              <a:gd name="connsiteX54" fmla="*/ 42380 w 457563"/>
              <a:gd name="connsiteY54" fmla="*/ 25610 h 3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7563" h="385215">
                <a:moveTo>
                  <a:pt x="42380" y="25610"/>
                </a:moveTo>
                <a:cubicBezTo>
                  <a:pt x="32760" y="38548"/>
                  <a:pt x="13353" y="49827"/>
                  <a:pt x="13022" y="63262"/>
                </a:cubicBezTo>
                <a:cubicBezTo>
                  <a:pt x="12690" y="76698"/>
                  <a:pt x="13022" y="81508"/>
                  <a:pt x="8046" y="87810"/>
                </a:cubicBezTo>
                <a:cubicBezTo>
                  <a:pt x="3070" y="94114"/>
                  <a:pt x="-4229" y="104397"/>
                  <a:pt x="3070" y="103071"/>
                </a:cubicBezTo>
                <a:cubicBezTo>
                  <a:pt x="10368" y="101744"/>
                  <a:pt x="18661" y="103071"/>
                  <a:pt x="18661" y="110369"/>
                </a:cubicBezTo>
                <a:cubicBezTo>
                  <a:pt x="18661" y="117667"/>
                  <a:pt x="35248" y="119989"/>
                  <a:pt x="33423" y="132264"/>
                </a:cubicBezTo>
                <a:cubicBezTo>
                  <a:pt x="31599" y="144538"/>
                  <a:pt x="26457" y="176882"/>
                  <a:pt x="54986" y="176219"/>
                </a:cubicBezTo>
                <a:cubicBezTo>
                  <a:pt x="83516" y="175555"/>
                  <a:pt x="99771" y="165935"/>
                  <a:pt x="111713" y="181194"/>
                </a:cubicBezTo>
                <a:cubicBezTo>
                  <a:pt x="122379" y="195957"/>
                  <a:pt x="140259" y="203719"/>
                  <a:pt x="158322" y="201430"/>
                </a:cubicBezTo>
                <a:cubicBezTo>
                  <a:pt x="176899" y="199108"/>
                  <a:pt x="207088" y="195459"/>
                  <a:pt x="197135" y="211714"/>
                </a:cubicBezTo>
                <a:cubicBezTo>
                  <a:pt x="187183" y="227969"/>
                  <a:pt x="180549" y="262802"/>
                  <a:pt x="189174" y="272588"/>
                </a:cubicBezTo>
                <a:cubicBezTo>
                  <a:pt x="197799" y="282374"/>
                  <a:pt x="209078" y="290170"/>
                  <a:pt x="202111" y="298132"/>
                </a:cubicBezTo>
                <a:cubicBezTo>
                  <a:pt x="195145" y="306093"/>
                  <a:pt x="191828" y="316045"/>
                  <a:pt x="200785" y="323012"/>
                </a:cubicBezTo>
                <a:cubicBezTo>
                  <a:pt x="206092" y="326711"/>
                  <a:pt x="208481" y="333362"/>
                  <a:pt x="206756" y="339599"/>
                </a:cubicBezTo>
                <a:cubicBezTo>
                  <a:pt x="206756" y="339599"/>
                  <a:pt x="204931" y="341092"/>
                  <a:pt x="202111" y="342418"/>
                </a:cubicBezTo>
                <a:cubicBezTo>
                  <a:pt x="215381" y="355522"/>
                  <a:pt x="220025" y="369953"/>
                  <a:pt x="227489" y="375592"/>
                </a:cubicBezTo>
                <a:cubicBezTo>
                  <a:pt x="237607" y="383554"/>
                  <a:pt x="240593" y="387535"/>
                  <a:pt x="247559" y="383554"/>
                </a:cubicBezTo>
                <a:cubicBezTo>
                  <a:pt x="254526" y="379573"/>
                  <a:pt x="259502" y="376587"/>
                  <a:pt x="265473" y="380568"/>
                </a:cubicBezTo>
                <a:cubicBezTo>
                  <a:pt x="271445" y="384549"/>
                  <a:pt x="279406" y="376587"/>
                  <a:pt x="288363" y="368626"/>
                </a:cubicBezTo>
                <a:cubicBezTo>
                  <a:pt x="297320" y="360664"/>
                  <a:pt x="307272" y="367631"/>
                  <a:pt x="310423" y="357679"/>
                </a:cubicBezTo>
                <a:cubicBezTo>
                  <a:pt x="312198" y="348257"/>
                  <a:pt x="319828" y="341025"/>
                  <a:pt x="329332" y="339765"/>
                </a:cubicBezTo>
                <a:cubicBezTo>
                  <a:pt x="340280" y="337774"/>
                  <a:pt x="340280" y="325832"/>
                  <a:pt x="333313" y="325832"/>
                </a:cubicBezTo>
                <a:cubicBezTo>
                  <a:pt x="326347" y="325832"/>
                  <a:pt x="316727" y="334789"/>
                  <a:pt x="316727" y="321685"/>
                </a:cubicBezTo>
                <a:cubicBezTo>
                  <a:pt x="316727" y="308582"/>
                  <a:pt x="307604" y="311733"/>
                  <a:pt x="307604" y="300786"/>
                </a:cubicBezTo>
                <a:cubicBezTo>
                  <a:pt x="309296" y="290535"/>
                  <a:pt x="304021" y="280401"/>
                  <a:pt x="294666" y="275906"/>
                </a:cubicBezTo>
                <a:cubicBezTo>
                  <a:pt x="282723" y="268939"/>
                  <a:pt x="311253" y="265953"/>
                  <a:pt x="316727" y="271924"/>
                </a:cubicBezTo>
                <a:cubicBezTo>
                  <a:pt x="322200" y="277896"/>
                  <a:pt x="343597" y="272920"/>
                  <a:pt x="345588" y="281877"/>
                </a:cubicBezTo>
                <a:cubicBezTo>
                  <a:pt x="347578" y="290834"/>
                  <a:pt x="358525" y="293819"/>
                  <a:pt x="358525" y="282872"/>
                </a:cubicBezTo>
                <a:cubicBezTo>
                  <a:pt x="358525" y="271924"/>
                  <a:pt x="371463" y="267944"/>
                  <a:pt x="381581" y="269934"/>
                </a:cubicBezTo>
                <a:cubicBezTo>
                  <a:pt x="391699" y="271924"/>
                  <a:pt x="413428" y="256996"/>
                  <a:pt x="422385" y="253347"/>
                </a:cubicBezTo>
                <a:cubicBezTo>
                  <a:pt x="427195" y="251854"/>
                  <a:pt x="428853" y="246215"/>
                  <a:pt x="431342" y="241405"/>
                </a:cubicBezTo>
                <a:cubicBezTo>
                  <a:pt x="424790" y="231967"/>
                  <a:pt x="417525" y="223043"/>
                  <a:pt x="409613" y="214700"/>
                </a:cubicBezTo>
                <a:cubicBezTo>
                  <a:pt x="402480" y="208729"/>
                  <a:pt x="414423" y="205246"/>
                  <a:pt x="413096" y="196786"/>
                </a:cubicBezTo>
                <a:cubicBezTo>
                  <a:pt x="411769" y="188327"/>
                  <a:pt x="413096" y="182522"/>
                  <a:pt x="428688" y="181360"/>
                </a:cubicBezTo>
                <a:cubicBezTo>
                  <a:pt x="444279" y="180199"/>
                  <a:pt x="441791" y="168091"/>
                  <a:pt x="433498" y="163447"/>
                </a:cubicBezTo>
                <a:cubicBezTo>
                  <a:pt x="425204" y="158802"/>
                  <a:pt x="436981" y="145367"/>
                  <a:pt x="445440" y="140723"/>
                </a:cubicBezTo>
                <a:cubicBezTo>
                  <a:pt x="450765" y="136261"/>
                  <a:pt x="454928" y="130571"/>
                  <a:pt x="457549" y="124136"/>
                </a:cubicBezTo>
                <a:cubicBezTo>
                  <a:pt x="441940" y="119574"/>
                  <a:pt x="425652" y="117899"/>
                  <a:pt x="409447" y="119160"/>
                </a:cubicBezTo>
                <a:cubicBezTo>
                  <a:pt x="396841" y="119989"/>
                  <a:pt x="417574" y="105227"/>
                  <a:pt x="418238" y="91957"/>
                </a:cubicBezTo>
                <a:cubicBezTo>
                  <a:pt x="418901" y="78688"/>
                  <a:pt x="382908" y="76532"/>
                  <a:pt x="368477" y="73546"/>
                </a:cubicBezTo>
                <a:cubicBezTo>
                  <a:pt x="354047" y="70561"/>
                  <a:pt x="358194" y="55798"/>
                  <a:pt x="372956" y="55134"/>
                </a:cubicBezTo>
                <a:cubicBezTo>
                  <a:pt x="387718" y="54471"/>
                  <a:pt x="364828" y="44022"/>
                  <a:pt x="344924" y="47007"/>
                </a:cubicBezTo>
                <a:cubicBezTo>
                  <a:pt x="322548" y="51336"/>
                  <a:pt x="300952" y="59065"/>
                  <a:pt x="280899" y="69897"/>
                </a:cubicBezTo>
                <a:cubicBezTo>
                  <a:pt x="264312" y="78688"/>
                  <a:pt x="236612" y="44022"/>
                  <a:pt x="218201" y="51486"/>
                </a:cubicBezTo>
                <a:cubicBezTo>
                  <a:pt x="199789" y="58950"/>
                  <a:pt x="173914" y="58784"/>
                  <a:pt x="174743" y="44022"/>
                </a:cubicBezTo>
                <a:cubicBezTo>
                  <a:pt x="176750" y="31814"/>
                  <a:pt x="168490" y="20302"/>
                  <a:pt x="156282" y="18295"/>
                </a:cubicBezTo>
                <a:cubicBezTo>
                  <a:pt x="153827" y="17881"/>
                  <a:pt x="151323" y="17897"/>
                  <a:pt x="148868" y="18312"/>
                </a:cubicBezTo>
                <a:cubicBezTo>
                  <a:pt x="130457" y="19805"/>
                  <a:pt x="134935" y="-100"/>
                  <a:pt x="121002" y="-100"/>
                </a:cubicBezTo>
                <a:cubicBezTo>
                  <a:pt x="107069" y="-100"/>
                  <a:pt x="121002" y="16487"/>
                  <a:pt x="111381" y="21132"/>
                </a:cubicBezTo>
                <a:cubicBezTo>
                  <a:pt x="101761" y="25776"/>
                  <a:pt x="68587" y="33738"/>
                  <a:pt x="66431" y="47007"/>
                </a:cubicBezTo>
                <a:cubicBezTo>
                  <a:pt x="64275" y="60277"/>
                  <a:pt x="84013" y="82337"/>
                  <a:pt x="77378" y="95606"/>
                </a:cubicBezTo>
                <a:cubicBezTo>
                  <a:pt x="70744" y="108876"/>
                  <a:pt x="48683" y="97763"/>
                  <a:pt x="42049" y="83830"/>
                </a:cubicBezTo>
                <a:cubicBezTo>
                  <a:pt x="35414" y="69897"/>
                  <a:pt x="61289" y="48500"/>
                  <a:pt x="56811" y="40372"/>
                </a:cubicBezTo>
                <a:cubicBezTo>
                  <a:pt x="52614" y="33472"/>
                  <a:pt x="51088" y="25278"/>
                  <a:pt x="52498" y="17316"/>
                </a:cubicBezTo>
                <a:cubicBezTo>
                  <a:pt x="48269" y="18843"/>
                  <a:pt x="44703" y="21762"/>
                  <a:pt x="42380" y="2561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7" name="Freeform: Shape 506">
            <a:extLst>
              <a:ext uri="{FF2B5EF4-FFF2-40B4-BE49-F238E27FC236}">
                <a16:creationId xmlns:a16="http://schemas.microsoft.com/office/drawing/2014/main" id="{271CF8D1-3CFA-474E-9159-AA347912CAC6}"/>
              </a:ext>
            </a:extLst>
          </p:cNvPr>
          <p:cNvSpPr/>
          <p:nvPr/>
        </p:nvSpPr>
        <p:spPr>
          <a:xfrm>
            <a:off x="3789541" y="4511478"/>
            <a:ext cx="108879" cy="114038"/>
          </a:xfrm>
          <a:custGeom>
            <a:avLst/>
            <a:gdLst>
              <a:gd name="connsiteX0" fmla="*/ 29494 w 137323"/>
              <a:gd name="connsiteY0" fmla="*/ 28557 h 146645"/>
              <a:gd name="connsiteX1" fmla="*/ 13902 w 137323"/>
              <a:gd name="connsiteY1" fmla="*/ 43983 h 146645"/>
              <a:gd name="connsiteX2" fmla="*/ 799 w 137323"/>
              <a:gd name="connsiteY2" fmla="*/ 72678 h 146645"/>
              <a:gd name="connsiteX3" fmla="*/ 28167 w 137323"/>
              <a:gd name="connsiteY3" fmla="*/ 107179 h 146645"/>
              <a:gd name="connsiteX4" fmla="*/ 47905 w 137323"/>
              <a:gd name="connsiteY4" fmla="*/ 144499 h 146645"/>
              <a:gd name="connsiteX5" fmla="*/ 64492 w 137323"/>
              <a:gd name="connsiteY5" fmla="*/ 145660 h 146645"/>
              <a:gd name="connsiteX6" fmla="*/ 78425 w 137323"/>
              <a:gd name="connsiteY6" fmla="*/ 124761 h 146645"/>
              <a:gd name="connsiteX7" fmla="*/ 115248 w 137323"/>
              <a:gd name="connsiteY7" fmla="*/ 125756 h 146645"/>
              <a:gd name="connsiteX8" fmla="*/ 118565 w 137323"/>
              <a:gd name="connsiteY8" fmla="*/ 129903 h 146645"/>
              <a:gd name="connsiteX9" fmla="*/ 128351 w 137323"/>
              <a:gd name="connsiteY9" fmla="*/ 114477 h 146645"/>
              <a:gd name="connsiteX10" fmla="*/ 124702 w 137323"/>
              <a:gd name="connsiteY10" fmla="*/ 70190 h 146645"/>
              <a:gd name="connsiteX11" fmla="*/ 130839 w 137323"/>
              <a:gd name="connsiteY11" fmla="*/ 30879 h 146645"/>
              <a:gd name="connsiteX12" fmla="*/ 137308 w 137323"/>
              <a:gd name="connsiteY12" fmla="*/ 14292 h 146645"/>
              <a:gd name="connsiteX13" fmla="*/ 104135 w 137323"/>
              <a:gd name="connsiteY13" fmla="*/ 6828 h 146645"/>
              <a:gd name="connsiteX14" fmla="*/ 61506 w 137323"/>
              <a:gd name="connsiteY14" fmla="*/ 6828 h 146645"/>
              <a:gd name="connsiteX15" fmla="*/ 36460 w 137323"/>
              <a:gd name="connsiteY15" fmla="*/ 6828 h 146645"/>
              <a:gd name="connsiteX16" fmla="*/ 33143 w 137323"/>
              <a:gd name="connsiteY16" fmla="*/ 7658 h 146645"/>
              <a:gd name="connsiteX17" fmla="*/ 29494 w 137323"/>
              <a:gd name="connsiteY17" fmla="*/ 28557 h 14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323" h="146645">
                <a:moveTo>
                  <a:pt x="29494" y="28557"/>
                </a:moveTo>
                <a:cubicBezTo>
                  <a:pt x="34138" y="38012"/>
                  <a:pt x="23523" y="42822"/>
                  <a:pt x="13902" y="43983"/>
                </a:cubicBezTo>
                <a:cubicBezTo>
                  <a:pt x="4282" y="45144"/>
                  <a:pt x="6770" y="66707"/>
                  <a:pt x="799" y="72678"/>
                </a:cubicBezTo>
                <a:cubicBezTo>
                  <a:pt x="-5172" y="78649"/>
                  <a:pt x="23523" y="94075"/>
                  <a:pt x="28167" y="107179"/>
                </a:cubicBezTo>
                <a:cubicBezTo>
                  <a:pt x="33939" y="120034"/>
                  <a:pt x="40541" y="132490"/>
                  <a:pt x="47905" y="144499"/>
                </a:cubicBezTo>
                <a:cubicBezTo>
                  <a:pt x="53147" y="146755"/>
                  <a:pt x="58985" y="147153"/>
                  <a:pt x="64492" y="145660"/>
                </a:cubicBezTo>
                <a:cubicBezTo>
                  <a:pt x="73449" y="140684"/>
                  <a:pt x="65487" y="123600"/>
                  <a:pt x="78425" y="124761"/>
                </a:cubicBezTo>
                <a:cubicBezTo>
                  <a:pt x="91363" y="125922"/>
                  <a:pt x="110272" y="117629"/>
                  <a:pt x="115248" y="125756"/>
                </a:cubicBezTo>
                <a:lnTo>
                  <a:pt x="118565" y="129903"/>
                </a:lnTo>
                <a:cubicBezTo>
                  <a:pt x="122712" y="123600"/>
                  <a:pt x="127190" y="116799"/>
                  <a:pt x="128351" y="114477"/>
                </a:cubicBezTo>
                <a:cubicBezTo>
                  <a:pt x="131188" y="99665"/>
                  <a:pt x="129927" y="84339"/>
                  <a:pt x="124702" y="70190"/>
                </a:cubicBezTo>
                <a:cubicBezTo>
                  <a:pt x="119395" y="56954"/>
                  <a:pt x="121750" y="41876"/>
                  <a:pt x="130839" y="30879"/>
                </a:cubicBezTo>
                <a:cubicBezTo>
                  <a:pt x="133842" y="25721"/>
                  <a:pt x="136015" y="20115"/>
                  <a:pt x="137308" y="14292"/>
                </a:cubicBezTo>
                <a:cubicBezTo>
                  <a:pt x="126991" y="9217"/>
                  <a:pt x="115629" y="6663"/>
                  <a:pt x="104135" y="6828"/>
                </a:cubicBezTo>
                <a:cubicBezTo>
                  <a:pt x="86553" y="8985"/>
                  <a:pt x="68141" y="17112"/>
                  <a:pt x="61506" y="6828"/>
                </a:cubicBezTo>
                <a:cubicBezTo>
                  <a:pt x="54872" y="-3456"/>
                  <a:pt x="44920" y="-1299"/>
                  <a:pt x="36460" y="6828"/>
                </a:cubicBezTo>
                <a:cubicBezTo>
                  <a:pt x="35498" y="7508"/>
                  <a:pt x="34321" y="7790"/>
                  <a:pt x="33143" y="7658"/>
                </a:cubicBezTo>
                <a:cubicBezTo>
                  <a:pt x="30157" y="15785"/>
                  <a:pt x="27006" y="23581"/>
                  <a:pt x="29494" y="2855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8" name="Freeform: Shape 507">
            <a:extLst>
              <a:ext uri="{FF2B5EF4-FFF2-40B4-BE49-F238E27FC236}">
                <a16:creationId xmlns:a16="http://schemas.microsoft.com/office/drawing/2014/main" id="{0DF74E25-3517-4121-8AA6-090561B29B6C}"/>
              </a:ext>
            </a:extLst>
          </p:cNvPr>
          <p:cNvSpPr/>
          <p:nvPr/>
        </p:nvSpPr>
        <p:spPr>
          <a:xfrm>
            <a:off x="3702199" y="4452760"/>
            <a:ext cx="125074" cy="186426"/>
          </a:xfrm>
          <a:custGeom>
            <a:avLst/>
            <a:gdLst>
              <a:gd name="connsiteX0" fmla="*/ 38143 w 157748"/>
              <a:gd name="connsiteY0" fmla="*/ 15658 h 239731"/>
              <a:gd name="connsiteX1" fmla="*/ 26200 w 157748"/>
              <a:gd name="connsiteY1" fmla="*/ 38382 h 239731"/>
              <a:gd name="connsiteX2" fmla="*/ 21390 w 157748"/>
              <a:gd name="connsiteY2" fmla="*/ 56296 h 239731"/>
              <a:gd name="connsiteX3" fmla="*/ 5798 w 157748"/>
              <a:gd name="connsiteY3" fmla="*/ 71721 h 239731"/>
              <a:gd name="connsiteX4" fmla="*/ 2315 w 157748"/>
              <a:gd name="connsiteY4" fmla="*/ 89635 h 239731"/>
              <a:gd name="connsiteX5" fmla="*/ 24044 w 157748"/>
              <a:gd name="connsiteY5" fmla="*/ 116340 h 239731"/>
              <a:gd name="connsiteX6" fmla="*/ 35986 w 157748"/>
              <a:gd name="connsiteY6" fmla="*/ 109373 h 239731"/>
              <a:gd name="connsiteX7" fmla="*/ 50085 w 157748"/>
              <a:gd name="connsiteY7" fmla="*/ 137405 h 239731"/>
              <a:gd name="connsiteX8" fmla="*/ 57632 w 157748"/>
              <a:gd name="connsiteY8" fmla="*/ 159615 h 239731"/>
              <a:gd name="connsiteX9" fmla="*/ 53071 w 157748"/>
              <a:gd name="connsiteY9" fmla="*/ 165271 h 239731"/>
              <a:gd name="connsiteX10" fmla="*/ 60037 w 157748"/>
              <a:gd name="connsiteY10" fmla="*/ 224154 h 239731"/>
              <a:gd name="connsiteX11" fmla="*/ 95865 w 157748"/>
              <a:gd name="connsiteY11" fmla="*/ 236097 h 239731"/>
              <a:gd name="connsiteX12" fmla="*/ 117925 w 157748"/>
              <a:gd name="connsiteY12" fmla="*/ 228135 h 239731"/>
              <a:gd name="connsiteX13" fmla="*/ 134512 w 157748"/>
              <a:gd name="connsiteY13" fmla="*/ 220174 h 239731"/>
              <a:gd name="connsiteX14" fmla="*/ 157734 w 157748"/>
              <a:gd name="connsiteY14" fmla="*/ 220174 h 239731"/>
              <a:gd name="connsiteX15" fmla="*/ 137995 w 157748"/>
              <a:gd name="connsiteY15" fmla="*/ 182853 h 239731"/>
              <a:gd name="connsiteX16" fmla="*/ 110627 w 157748"/>
              <a:gd name="connsiteY16" fmla="*/ 148352 h 239731"/>
              <a:gd name="connsiteX17" fmla="*/ 123731 w 157748"/>
              <a:gd name="connsiteY17" fmla="*/ 119657 h 239731"/>
              <a:gd name="connsiteX18" fmla="*/ 139322 w 157748"/>
              <a:gd name="connsiteY18" fmla="*/ 104231 h 239731"/>
              <a:gd name="connsiteX19" fmla="*/ 142971 w 157748"/>
              <a:gd name="connsiteY19" fmla="*/ 82835 h 239731"/>
              <a:gd name="connsiteX20" fmla="*/ 112286 w 157748"/>
              <a:gd name="connsiteY20" fmla="*/ 55466 h 239731"/>
              <a:gd name="connsiteX21" fmla="*/ 95367 w 157748"/>
              <a:gd name="connsiteY21" fmla="*/ 39211 h 239731"/>
              <a:gd name="connsiteX22" fmla="*/ 95699 w 157748"/>
              <a:gd name="connsiteY22" fmla="*/ 35562 h 239731"/>
              <a:gd name="connsiteX23" fmla="*/ 62525 w 157748"/>
              <a:gd name="connsiteY23" fmla="*/ 7530 h 239731"/>
              <a:gd name="connsiteX24" fmla="*/ 50251 w 157748"/>
              <a:gd name="connsiteY24" fmla="*/ -100 h 239731"/>
              <a:gd name="connsiteX25" fmla="*/ 38143 w 157748"/>
              <a:gd name="connsiteY25" fmla="*/ 15658 h 23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7748" h="239731">
                <a:moveTo>
                  <a:pt x="38143" y="15658"/>
                </a:moveTo>
                <a:cubicBezTo>
                  <a:pt x="29683" y="20302"/>
                  <a:pt x="17741" y="33572"/>
                  <a:pt x="26200" y="38382"/>
                </a:cubicBezTo>
                <a:cubicBezTo>
                  <a:pt x="34659" y="43192"/>
                  <a:pt x="36982" y="54968"/>
                  <a:pt x="21390" y="56296"/>
                </a:cubicBezTo>
                <a:cubicBezTo>
                  <a:pt x="5798" y="57622"/>
                  <a:pt x="4803" y="63428"/>
                  <a:pt x="5798" y="71721"/>
                </a:cubicBezTo>
                <a:cubicBezTo>
                  <a:pt x="6794" y="80015"/>
                  <a:pt x="-4817" y="83664"/>
                  <a:pt x="2315" y="89635"/>
                </a:cubicBezTo>
                <a:cubicBezTo>
                  <a:pt x="10227" y="97978"/>
                  <a:pt x="17492" y="106902"/>
                  <a:pt x="24044" y="116340"/>
                </a:cubicBezTo>
                <a:cubicBezTo>
                  <a:pt x="25752" y="111380"/>
                  <a:pt x="30828" y="108428"/>
                  <a:pt x="35986" y="109373"/>
                </a:cubicBezTo>
                <a:cubicBezTo>
                  <a:pt x="50085" y="111364"/>
                  <a:pt x="38972" y="132429"/>
                  <a:pt x="50085" y="137405"/>
                </a:cubicBezTo>
                <a:cubicBezTo>
                  <a:pt x="58296" y="141452"/>
                  <a:pt x="61679" y="151404"/>
                  <a:pt x="57632" y="159615"/>
                </a:cubicBezTo>
                <a:cubicBezTo>
                  <a:pt x="56554" y="161821"/>
                  <a:pt x="54995" y="163745"/>
                  <a:pt x="53071" y="165271"/>
                </a:cubicBezTo>
                <a:cubicBezTo>
                  <a:pt x="45109" y="171242"/>
                  <a:pt x="41958" y="204250"/>
                  <a:pt x="60037" y="224154"/>
                </a:cubicBezTo>
                <a:cubicBezTo>
                  <a:pt x="78117" y="244058"/>
                  <a:pt x="91884" y="240741"/>
                  <a:pt x="95865" y="236097"/>
                </a:cubicBezTo>
                <a:cubicBezTo>
                  <a:pt x="99846" y="231453"/>
                  <a:pt x="113944" y="236097"/>
                  <a:pt x="117925" y="228135"/>
                </a:cubicBezTo>
                <a:cubicBezTo>
                  <a:pt x="121906" y="220174"/>
                  <a:pt x="126882" y="229130"/>
                  <a:pt x="134512" y="220174"/>
                </a:cubicBezTo>
                <a:cubicBezTo>
                  <a:pt x="139157" y="215031"/>
                  <a:pt x="148777" y="217685"/>
                  <a:pt x="157734" y="220174"/>
                </a:cubicBezTo>
                <a:cubicBezTo>
                  <a:pt x="150369" y="208165"/>
                  <a:pt x="143768" y="195708"/>
                  <a:pt x="137995" y="182853"/>
                </a:cubicBezTo>
                <a:cubicBezTo>
                  <a:pt x="133351" y="169749"/>
                  <a:pt x="104822" y="154324"/>
                  <a:pt x="110627" y="148352"/>
                </a:cubicBezTo>
                <a:cubicBezTo>
                  <a:pt x="116432" y="142381"/>
                  <a:pt x="114110" y="120818"/>
                  <a:pt x="123731" y="119657"/>
                </a:cubicBezTo>
                <a:cubicBezTo>
                  <a:pt x="133351" y="118496"/>
                  <a:pt x="143967" y="113686"/>
                  <a:pt x="139322" y="104231"/>
                </a:cubicBezTo>
                <a:cubicBezTo>
                  <a:pt x="136834" y="99255"/>
                  <a:pt x="139322" y="91460"/>
                  <a:pt x="142971" y="82835"/>
                </a:cubicBezTo>
                <a:cubicBezTo>
                  <a:pt x="133683" y="82005"/>
                  <a:pt x="120248" y="55466"/>
                  <a:pt x="112286" y="55466"/>
                </a:cubicBezTo>
                <a:cubicBezTo>
                  <a:pt x="103130" y="55649"/>
                  <a:pt x="95550" y="48383"/>
                  <a:pt x="95367" y="39211"/>
                </a:cubicBezTo>
                <a:cubicBezTo>
                  <a:pt x="95334" y="37984"/>
                  <a:pt x="95450" y="36756"/>
                  <a:pt x="95699" y="35562"/>
                </a:cubicBezTo>
                <a:cubicBezTo>
                  <a:pt x="97855" y="22956"/>
                  <a:pt x="75131" y="21463"/>
                  <a:pt x="62525" y="7530"/>
                </a:cubicBezTo>
                <a:cubicBezTo>
                  <a:pt x="59108" y="4030"/>
                  <a:pt x="54895" y="1426"/>
                  <a:pt x="50251" y="-100"/>
                </a:cubicBezTo>
                <a:cubicBezTo>
                  <a:pt x="47514" y="6038"/>
                  <a:pt x="43367" y="11445"/>
                  <a:pt x="38143" y="1565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09" name="Freeform: Shape 508">
            <a:extLst>
              <a:ext uri="{FF2B5EF4-FFF2-40B4-BE49-F238E27FC236}">
                <a16:creationId xmlns:a16="http://schemas.microsoft.com/office/drawing/2014/main" id="{454AD3BF-A306-4428-81E7-16F4C18A13E4}"/>
              </a:ext>
            </a:extLst>
          </p:cNvPr>
          <p:cNvSpPr/>
          <p:nvPr/>
        </p:nvSpPr>
        <p:spPr>
          <a:xfrm>
            <a:off x="3883690" y="4522154"/>
            <a:ext cx="82721" cy="96807"/>
          </a:xfrm>
          <a:custGeom>
            <a:avLst/>
            <a:gdLst>
              <a:gd name="connsiteX0" fmla="*/ 6122 w 104331"/>
              <a:gd name="connsiteY0" fmla="*/ 56462 h 124487"/>
              <a:gd name="connsiteX1" fmla="*/ 9771 w 104331"/>
              <a:gd name="connsiteY1" fmla="*/ 100749 h 124487"/>
              <a:gd name="connsiteX2" fmla="*/ -15 w 104331"/>
              <a:gd name="connsiteY2" fmla="*/ 116174 h 124487"/>
              <a:gd name="connsiteX3" fmla="*/ 29675 w 104331"/>
              <a:gd name="connsiteY3" fmla="*/ 121980 h 124487"/>
              <a:gd name="connsiteX4" fmla="*/ 64508 w 104331"/>
              <a:gd name="connsiteY4" fmla="*/ 106886 h 124487"/>
              <a:gd name="connsiteX5" fmla="*/ 104316 w 104331"/>
              <a:gd name="connsiteY5" fmla="*/ 53476 h 124487"/>
              <a:gd name="connsiteX6" fmla="*/ 104316 w 104331"/>
              <a:gd name="connsiteY6" fmla="*/ 53476 h 124487"/>
              <a:gd name="connsiteX7" fmla="*/ 47589 w 104331"/>
              <a:gd name="connsiteY7" fmla="*/ 9355 h 124487"/>
              <a:gd name="connsiteX8" fmla="*/ 19723 w 104331"/>
              <a:gd name="connsiteY8" fmla="*/ -100 h 124487"/>
              <a:gd name="connsiteX9" fmla="*/ 13254 w 104331"/>
              <a:gd name="connsiteY9" fmla="*/ 16487 h 124487"/>
              <a:gd name="connsiteX10" fmla="*/ 6122 w 104331"/>
              <a:gd name="connsiteY10" fmla="*/ 56462 h 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331" h="124487">
                <a:moveTo>
                  <a:pt x="6122" y="56462"/>
                </a:moveTo>
                <a:cubicBezTo>
                  <a:pt x="11347" y="70610"/>
                  <a:pt x="12607" y="85937"/>
                  <a:pt x="9771" y="100749"/>
                </a:cubicBezTo>
                <a:cubicBezTo>
                  <a:pt x="8610" y="103071"/>
                  <a:pt x="4132" y="109871"/>
                  <a:pt x="-15" y="116174"/>
                </a:cubicBezTo>
                <a:cubicBezTo>
                  <a:pt x="7582" y="124352"/>
                  <a:pt x="19574" y="126690"/>
                  <a:pt x="29675" y="121980"/>
                </a:cubicBezTo>
                <a:cubicBezTo>
                  <a:pt x="48584" y="116008"/>
                  <a:pt x="57541" y="127951"/>
                  <a:pt x="64508" y="106886"/>
                </a:cubicBezTo>
                <a:cubicBezTo>
                  <a:pt x="74211" y="86683"/>
                  <a:pt x="87729" y="68554"/>
                  <a:pt x="104316" y="53476"/>
                </a:cubicBezTo>
                <a:lnTo>
                  <a:pt x="104316" y="53476"/>
                </a:lnTo>
                <a:cubicBezTo>
                  <a:pt x="90383" y="47671"/>
                  <a:pt x="68986" y="13833"/>
                  <a:pt x="47589" y="9355"/>
                </a:cubicBezTo>
                <a:cubicBezTo>
                  <a:pt x="38052" y="6983"/>
                  <a:pt x="28730" y="3815"/>
                  <a:pt x="19723" y="-100"/>
                </a:cubicBezTo>
                <a:cubicBezTo>
                  <a:pt x="18430" y="5723"/>
                  <a:pt x="16257" y="11329"/>
                  <a:pt x="13254" y="16487"/>
                </a:cubicBezTo>
                <a:cubicBezTo>
                  <a:pt x="3584" y="27418"/>
                  <a:pt x="831" y="42860"/>
                  <a:pt x="6122" y="56462"/>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10" name="Freeform: Shape 509">
            <a:extLst>
              <a:ext uri="{FF2B5EF4-FFF2-40B4-BE49-F238E27FC236}">
                <a16:creationId xmlns:a16="http://schemas.microsoft.com/office/drawing/2014/main" id="{F8147C56-3FAB-4FE2-AD32-EC8EA11467D8}"/>
              </a:ext>
            </a:extLst>
          </p:cNvPr>
          <p:cNvSpPr/>
          <p:nvPr/>
        </p:nvSpPr>
        <p:spPr>
          <a:xfrm>
            <a:off x="3084122" y="4058509"/>
            <a:ext cx="271699" cy="86469"/>
          </a:xfrm>
          <a:custGeom>
            <a:avLst/>
            <a:gdLst>
              <a:gd name="connsiteX0" fmla="*/ 279115 w 342679"/>
              <a:gd name="connsiteY0" fmla="*/ 67659 h 111192"/>
              <a:gd name="connsiteX1" fmla="*/ 118388 w 342679"/>
              <a:gd name="connsiteY1" fmla="*/ 2804 h 111192"/>
              <a:gd name="connsiteX2" fmla="*/ 456 w 342679"/>
              <a:gd name="connsiteY2" fmla="*/ 44105 h 111192"/>
              <a:gd name="connsiteX3" fmla="*/ 58012 w 342679"/>
              <a:gd name="connsiteY3" fmla="*/ 17567 h 111192"/>
              <a:gd name="connsiteX4" fmla="*/ 91186 w 342679"/>
              <a:gd name="connsiteY4" fmla="*/ 30836 h 111192"/>
              <a:gd name="connsiteX5" fmla="*/ 147249 w 342679"/>
              <a:gd name="connsiteY5" fmla="*/ 44105 h 111192"/>
              <a:gd name="connsiteX6" fmla="*/ 217909 w 342679"/>
              <a:gd name="connsiteY6" fmla="*/ 80928 h 111192"/>
              <a:gd name="connsiteX7" fmla="*/ 234496 w 342679"/>
              <a:gd name="connsiteY7" fmla="*/ 107467 h 111192"/>
              <a:gd name="connsiteX8" fmla="*/ 342145 w 342679"/>
              <a:gd name="connsiteY8" fmla="*/ 104648 h 111192"/>
              <a:gd name="connsiteX9" fmla="*/ 279115 w 342679"/>
              <a:gd name="connsiteY9" fmla="*/ 67659 h 11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679" h="111192">
                <a:moveTo>
                  <a:pt x="279115" y="67659"/>
                </a:moveTo>
                <a:cubicBezTo>
                  <a:pt x="256888" y="67659"/>
                  <a:pt x="184736" y="17898"/>
                  <a:pt x="118388" y="2804"/>
                </a:cubicBezTo>
                <a:cubicBezTo>
                  <a:pt x="52041" y="-12290"/>
                  <a:pt x="-5847" y="35978"/>
                  <a:pt x="456" y="44105"/>
                </a:cubicBezTo>
                <a:cubicBezTo>
                  <a:pt x="9247" y="55882"/>
                  <a:pt x="41757" y="29343"/>
                  <a:pt x="58012" y="17567"/>
                </a:cubicBezTo>
                <a:cubicBezTo>
                  <a:pt x="74267" y="5790"/>
                  <a:pt x="88864" y="23538"/>
                  <a:pt x="91186" y="30836"/>
                </a:cubicBezTo>
                <a:cubicBezTo>
                  <a:pt x="93508" y="38134"/>
                  <a:pt x="113247" y="42612"/>
                  <a:pt x="147249" y="44105"/>
                </a:cubicBezTo>
                <a:cubicBezTo>
                  <a:pt x="181252" y="45598"/>
                  <a:pt x="185565" y="73630"/>
                  <a:pt x="217909" y="80928"/>
                </a:cubicBezTo>
                <a:cubicBezTo>
                  <a:pt x="250254" y="88226"/>
                  <a:pt x="217909" y="101662"/>
                  <a:pt x="234496" y="107467"/>
                </a:cubicBezTo>
                <a:cubicBezTo>
                  <a:pt x="251083" y="113273"/>
                  <a:pt x="336173" y="111945"/>
                  <a:pt x="342145" y="104648"/>
                </a:cubicBezTo>
                <a:cubicBezTo>
                  <a:pt x="348116" y="97349"/>
                  <a:pt x="301175" y="67659"/>
                  <a:pt x="279115" y="6765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11" name="Freeform: Shape 510">
            <a:extLst>
              <a:ext uri="{FF2B5EF4-FFF2-40B4-BE49-F238E27FC236}">
                <a16:creationId xmlns:a16="http://schemas.microsoft.com/office/drawing/2014/main" id="{04AF25D4-E8CE-4D4F-B876-69A70CBD9ADB}"/>
              </a:ext>
            </a:extLst>
          </p:cNvPr>
          <p:cNvSpPr/>
          <p:nvPr/>
        </p:nvSpPr>
        <p:spPr>
          <a:xfrm>
            <a:off x="2898966" y="4633729"/>
            <a:ext cx="430449" cy="167436"/>
          </a:xfrm>
          <a:custGeom>
            <a:avLst/>
            <a:gdLst>
              <a:gd name="connsiteX0" fmla="*/ 528399 w 542903"/>
              <a:gd name="connsiteY0" fmla="*/ 56793 h 215311"/>
              <a:gd name="connsiteX1" fmla="*/ 504679 w 542903"/>
              <a:gd name="connsiteY1" fmla="*/ 38382 h 215311"/>
              <a:gd name="connsiteX2" fmla="*/ 479301 w 542903"/>
              <a:gd name="connsiteY2" fmla="*/ 38382 h 215311"/>
              <a:gd name="connsiteX3" fmla="*/ 458568 w 542903"/>
              <a:gd name="connsiteY3" fmla="*/ 22956 h 215311"/>
              <a:gd name="connsiteX4" fmla="*/ 417598 w 542903"/>
              <a:gd name="connsiteY4" fmla="*/ -100 h 215311"/>
              <a:gd name="connsiteX5" fmla="*/ 417598 w 542903"/>
              <a:gd name="connsiteY5" fmla="*/ 4545 h 215311"/>
              <a:gd name="connsiteX6" fmla="*/ 394874 w 542903"/>
              <a:gd name="connsiteY6" fmla="*/ 16321 h 215311"/>
              <a:gd name="connsiteX7" fmla="*/ 383761 w 542903"/>
              <a:gd name="connsiteY7" fmla="*/ 40704 h 215311"/>
              <a:gd name="connsiteX8" fmla="*/ 368999 w 542903"/>
              <a:gd name="connsiteY8" fmla="*/ 60608 h 215311"/>
              <a:gd name="connsiteX9" fmla="*/ 360208 w 542903"/>
              <a:gd name="connsiteY9" fmla="*/ 78190 h 215311"/>
              <a:gd name="connsiteX10" fmla="*/ 350505 w 542903"/>
              <a:gd name="connsiteY10" fmla="*/ 96668 h 215311"/>
              <a:gd name="connsiteX11" fmla="*/ 352744 w 542903"/>
              <a:gd name="connsiteY11" fmla="*/ 101080 h 215311"/>
              <a:gd name="connsiteX12" fmla="*/ 350588 w 542903"/>
              <a:gd name="connsiteY12" fmla="*/ 123141 h 215311"/>
              <a:gd name="connsiteX13" fmla="*/ 369828 w 542903"/>
              <a:gd name="connsiteY13" fmla="*/ 139727 h 215311"/>
              <a:gd name="connsiteX14" fmla="*/ 386415 w 542903"/>
              <a:gd name="connsiteY14" fmla="*/ 143376 h 215311"/>
              <a:gd name="connsiteX15" fmla="*/ 371819 w 542903"/>
              <a:gd name="connsiteY15" fmla="*/ 163944 h 215311"/>
              <a:gd name="connsiteX16" fmla="*/ 368999 w 542903"/>
              <a:gd name="connsiteY16" fmla="*/ 163944 h 215311"/>
              <a:gd name="connsiteX17" fmla="*/ 375468 w 542903"/>
              <a:gd name="connsiteY17" fmla="*/ 180531 h 215311"/>
              <a:gd name="connsiteX18" fmla="*/ 375468 w 542903"/>
              <a:gd name="connsiteY18" fmla="*/ 197118 h 215311"/>
              <a:gd name="connsiteX19" fmla="*/ 400846 w 542903"/>
              <a:gd name="connsiteY19" fmla="*/ 204084 h 215311"/>
              <a:gd name="connsiteX20" fmla="*/ 424565 w 542903"/>
              <a:gd name="connsiteY20" fmla="*/ 202426 h 215311"/>
              <a:gd name="connsiteX21" fmla="*/ 454587 w 542903"/>
              <a:gd name="connsiteY21" fmla="*/ 149514 h 215311"/>
              <a:gd name="connsiteX22" fmla="*/ 519939 w 542903"/>
              <a:gd name="connsiteY22" fmla="*/ 114183 h 215311"/>
              <a:gd name="connsiteX23" fmla="*/ 538350 w 542903"/>
              <a:gd name="connsiteY23" fmla="*/ 81010 h 215311"/>
              <a:gd name="connsiteX24" fmla="*/ 528399 w 542903"/>
              <a:gd name="connsiteY24" fmla="*/ 56793 h 215311"/>
              <a:gd name="connsiteX25" fmla="*/ 4089 w 542903"/>
              <a:gd name="connsiteY25" fmla="*/ 47339 h 215311"/>
              <a:gd name="connsiteX26" fmla="*/ 24657 w 542903"/>
              <a:gd name="connsiteY26" fmla="*/ 80512 h 215311"/>
              <a:gd name="connsiteX27" fmla="*/ 4089 w 542903"/>
              <a:gd name="connsiteY27" fmla="*/ 47339 h 21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2903" h="215311">
                <a:moveTo>
                  <a:pt x="528399" y="56793"/>
                </a:moveTo>
                <a:cubicBezTo>
                  <a:pt x="516124" y="43026"/>
                  <a:pt x="507665" y="34567"/>
                  <a:pt x="504679" y="38382"/>
                </a:cubicBezTo>
                <a:cubicBezTo>
                  <a:pt x="496883" y="43092"/>
                  <a:pt x="487097" y="43092"/>
                  <a:pt x="479301" y="38382"/>
                </a:cubicBezTo>
                <a:cubicBezTo>
                  <a:pt x="470013" y="33074"/>
                  <a:pt x="465534" y="22956"/>
                  <a:pt x="458568" y="22956"/>
                </a:cubicBezTo>
                <a:cubicBezTo>
                  <a:pt x="443474" y="18146"/>
                  <a:pt x="429541" y="10300"/>
                  <a:pt x="417598" y="-100"/>
                </a:cubicBezTo>
                <a:cubicBezTo>
                  <a:pt x="417598" y="1559"/>
                  <a:pt x="417598" y="3218"/>
                  <a:pt x="417598" y="4545"/>
                </a:cubicBezTo>
                <a:cubicBezTo>
                  <a:pt x="418428" y="11179"/>
                  <a:pt x="407315" y="15658"/>
                  <a:pt x="394874" y="16321"/>
                </a:cubicBezTo>
                <a:cubicBezTo>
                  <a:pt x="382434" y="16985"/>
                  <a:pt x="383761" y="31083"/>
                  <a:pt x="383761" y="40704"/>
                </a:cubicBezTo>
                <a:cubicBezTo>
                  <a:pt x="383761" y="50324"/>
                  <a:pt x="373478" y="50324"/>
                  <a:pt x="368999" y="60608"/>
                </a:cubicBezTo>
                <a:cubicBezTo>
                  <a:pt x="364521" y="70892"/>
                  <a:pt x="370492" y="73048"/>
                  <a:pt x="360208" y="78190"/>
                </a:cubicBezTo>
                <a:cubicBezTo>
                  <a:pt x="352429" y="80612"/>
                  <a:pt x="348083" y="88889"/>
                  <a:pt x="350505" y="96668"/>
                </a:cubicBezTo>
                <a:cubicBezTo>
                  <a:pt x="351002" y="98260"/>
                  <a:pt x="351749" y="99753"/>
                  <a:pt x="352744" y="101080"/>
                </a:cubicBezTo>
                <a:cubicBezTo>
                  <a:pt x="358715" y="109871"/>
                  <a:pt x="352744" y="117667"/>
                  <a:pt x="350588" y="123141"/>
                </a:cubicBezTo>
                <a:cubicBezTo>
                  <a:pt x="348431" y="128614"/>
                  <a:pt x="359379" y="130604"/>
                  <a:pt x="369828" y="139727"/>
                </a:cubicBezTo>
                <a:cubicBezTo>
                  <a:pt x="380278" y="148850"/>
                  <a:pt x="381605" y="135912"/>
                  <a:pt x="386415" y="143376"/>
                </a:cubicBezTo>
                <a:cubicBezTo>
                  <a:pt x="391225" y="150840"/>
                  <a:pt x="383596" y="163944"/>
                  <a:pt x="371819" y="163944"/>
                </a:cubicBezTo>
                <a:cubicBezTo>
                  <a:pt x="370873" y="163861"/>
                  <a:pt x="369944" y="163861"/>
                  <a:pt x="368999" y="163944"/>
                </a:cubicBezTo>
                <a:cubicBezTo>
                  <a:pt x="375136" y="170247"/>
                  <a:pt x="378453" y="176882"/>
                  <a:pt x="375468" y="180531"/>
                </a:cubicBezTo>
                <a:cubicBezTo>
                  <a:pt x="370160" y="188161"/>
                  <a:pt x="365516" y="188161"/>
                  <a:pt x="375468" y="197118"/>
                </a:cubicBezTo>
                <a:cubicBezTo>
                  <a:pt x="385420" y="206075"/>
                  <a:pt x="392055" y="192473"/>
                  <a:pt x="400846" y="204084"/>
                </a:cubicBezTo>
                <a:cubicBezTo>
                  <a:pt x="409637" y="215695"/>
                  <a:pt x="416106" y="222495"/>
                  <a:pt x="424565" y="202426"/>
                </a:cubicBezTo>
                <a:cubicBezTo>
                  <a:pt x="433024" y="182356"/>
                  <a:pt x="439327" y="154158"/>
                  <a:pt x="454587" y="149514"/>
                </a:cubicBezTo>
                <a:cubicBezTo>
                  <a:pt x="469847" y="144869"/>
                  <a:pt x="501528" y="138732"/>
                  <a:pt x="519939" y="114183"/>
                </a:cubicBezTo>
                <a:cubicBezTo>
                  <a:pt x="538350" y="89635"/>
                  <a:pt x="528564" y="88142"/>
                  <a:pt x="538350" y="81010"/>
                </a:cubicBezTo>
                <a:cubicBezTo>
                  <a:pt x="548137" y="73878"/>
                  <a:pt x="540839" y="70560"/>
                  <a:pt x="528399" y="56793"/>
                </a:cubicBezTo>
                <a:close/>
                <a:moveTo>
                  <a:pt x="4089" y="47339"/>
                </a:moveTo>
                <a:cubicBezTo>
                  <a:pt x="-10673" y="69399"/>
                  <a:pt x="18685" y="90962"/>
                  <a:pt x="24657" y="80512"/>
                </a:cubicBezTo>
                <a:cubicBezTo>
                  <a:pt x="30628" y="70062"/>
                  <a:pt x="19349" y="26107"/>
                  <a:pt x="4089" y="4733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12" name="Freeform: Shape 511">
            <a:extLst>
              <a:ext uri="{FF2B5EF4-FFF2-40B4-BE49-F238E27FC236}">
                <a16:creationId xmlns:a16="http://schemas.microsoft.com/office/drawing/2014/main" id="{F5E43E71-A827-4992-B4C6-0D16D4C8C1D1}"/>
              </a:ext>
            </a:extLst>
          </p:cNvPr>
          <p:cNvSpPr/>
          <p:nvPr/>
        </p:nvSpPr>
        <p:spPr>
          <a:xfrm>
            <a:off x="3398663" y="1706967"/>
            <a:ext cx="1615236" cy="1182823"/>
          </a:xfrm>
          <a:custGeom>
            <a:avLst/>
            <a:gdLst>
              <a:gd name="connsiteX0" fmla="*/ 1921255 w 2037211"/>
              <a:gd name="connsiteY0" fmla="*/ 138448 h 1521023"/>
              <a:gd name="connsiteX1" fmla="*/ 1853415 w 2037211"/>
              <a:gd name="connsiteY1" fmla="*/ 169798 h 1521023"/>
              <a:gd name="connsiteX2" fmla="*/ 1785740 w 2037211"/>
              <a:gd name="connsiteY2" fmla="*/ 173778 h 1521023"/>
              <a:gd name="connsiteX3" fmla="*/ 1756215 w 2037211"/>
              <a:gd name="connsiteY3" fmla="*/ 162997 h 1521023"/>
              <a:gd name="connsiteX4" fmla="*/ 1691361 w 2037211"/>
              <a:gd name="connsiteY4" fmla="*/ 206123 h 1521023"/>
              <a:gd name="connsiteX5" fmla="*/ 1635298 w 2037211"/>
              <a:gd name="connsiteY5" fmla="*/ 242448 h 1521023"/>
              <a:gd name="connsiteX6" fmla="*/ 1690366 w 2037211"/>
              <a:gd name="connsiteY6" fmla="*/ 173778 h 1521023"/>
              <a:gd name="connsiteX7" fmla="*/ 1669632 w 2037211"/>
              <a:gd name="connsiteY7" fmla="*/ 125511 h 1521023"/>
              <a:gd name="connsiteX8" fmla="*/ 1628331 w 2037211"/>
              <a:gd name="connsiteY8" fmla="*/ 152215 h 1521023"/>
              <a:gd name="connsiteX9" fmla="*/ 1522176 w 2037211"/>
              <a:gd name="connsiteY9" fmla="*/ 185389 h 1521023"/>
              <a:gd name="connsiteX10" fmla="*/ 1591011 w 2037211"/>
              <a:gd name="connsiteY10" fmla="*/ 142097 h 1521023"/>
              <a:gd name="connsiteX11" fmla="*/ 1456326 w 2037211"/>
              <a:gd name="connsiteY11" fmla="*/ 138283 h 1521023"/>
              <a:gd name="connsiteX12" fmla="*/ 1341379 w 2037211"/>
              <a:gd name="connsiteY12" fmla="*/ 155865 h 1521023"/>
              <a:gd name="connsiteX13" fmla="*/ 1469098 w 2037211"/>
              <a:gd name="connsiteY13" fmla="*/ 122691 h 1521023"/>
              <a:gd name="connsiteX14" fmla="*/ 1625346 w 2037211"/>
              <a:gd name="connsiteY14" fmla="*/ 111909 h 1521023"/>
              <a:gd name="connsiteX15" fmla="*/ 1717734 w 2037211"/>
              <a:gd name="connsiteY15" fmla="*/ 86366 h 1521023"/>
              <a:gd name="connsiteX16" fmla="*/ 1655865 w 2037211"/>
              <a:gd name="connsiteY16" fmla="*/ 61651 h 1521023"/>
              <a:gd name="connsiteX17" fmla="*/ 1610583 w 2037211"/>
              <a:gd name="connsiteY17" fmla="*/ 47884 h 1521023"/>
              <a:gd name="connsiteX18" fmla="*/ 1570277 w 2037211"/>
              <a:gd name="connsiteY18" fmla="*/ 24331 h 1521023"/>
              <a:gd name="connsiteX19" fmla="*/ 1476893 w 2037211"/>
              <a:gd name="connsiteY19" fmla="*/ 12554 h 1521023"/>
              <a:gd name="connsiteX20" fmla="*/ 1375714 w 2037211"/>
              <a:gd name="connsiteY20" fmla="*/ 778 h 1521023"/>
              <a:gd name="connsiteX21" fmla="*/ 1237214 w 2037211"/>
              <a:gd name="connsiteY21" fmla="*/ 4758 h 1521023"/>
              <a:gd name="connsiteX22" fmla="*/ 1190107 w 2037211"/>
              <a:gd name="connsiteY22" fmla="*/ 12554 h 1521023"/>
              <a:gd name="connsiteX23" fmla="*/ 1156933 w 2037211"/>
              <a:gd name="connsiteY23" fmla="*/ 29141 h 1521023"/>
              <a:gd name="connsiteX24" fmla="*/ 1133380 w 2037211"/>
              <a:gd name="connsiteY24" fmla="*/ 41913 h 1521023"/>
              <a:gd name="connsiteX25" fmla="*/ 1082293 w 2037211"/>
              <a:gd name="connsiteY25" fmla="*/ 31132 h 1521023"/>
              <a:gd name="connsiteX26" fmla="*/ 991895 w 2037211"/>
              <a:gd name="connsiteY26" fmla="*/ 31132 h 1521023"/>
              <a:gd name="connsiteX27" fmla="*/ 881758 w 2037211"/>
              <a:gd name="connsiteY27" fmla="*/ 43903 h 1521023"/>
              <a:gd name="connsiteX28" fmla="*/ 914931 w 2037211"/>
              <a:gd name="connsiteY28" fmla="*/ 74423 h 1521023"/>
              <a:gd name="connsiteX29" fmla="*/ 855882 w 2037211"/>
              <a:gd name="connsiteY29" fmla="*/ 92005 h 1521023"/>
              <a:gd name="connsiteX30" fmla="*/ 940475 w 2037211"/>
              <a:gd name="connsiteY30" fmla="*/ 145083 h 1521023"/>
              <a:gd name="connsiteX31" fmla="*/ 897184 w 2037211"/>
              <a:gd name="connsiteY31" fmla="*/ 137287 h 1521023"/>
              <a:gd name="connsiteX32" fmla="*/ 823538 w 2037211"/>
              <a:gd name="connsiteY32" fmla="*/ 109753 h 1521023"/>
              <a:gd name="connsiteX33" fmla="*/ 734135 w 2037211"/>
              <a:gd name="connsiteY33" fmla="*/ 90015 h 1521023"/>
              <a:gd name="connsiteX34" fmla="*/ 774441 w 2037211"/>
              <a:gd name="connsiteY34" fmla="*/ 136292 h 1521023"/>
              <a:gd name="connsiteX35" fmla="*/ 728164 w 2037211"/>
              <a:gd name="connsiteY35" fmla="*/ 138283 h 1521023"/>
              <a:gd name="connsiteX36" fmla="*/ 667290 w 2037211"/>
              <a:gd name="connsiteY36" fmla="*/ 105109 h 1521023"/>
              <a:gd name="connsiteX37" fmla="*/ 664305 w 2037211"/>
              <a:gd name="connsiteY37" fmla="*/ 147405 h 1521023"/>
              <a:gd name="connsiteX38" fmla="*/ 636770 w 2037211"/>
              <a:gd name="connsiteY38" fmla="*/ 169963 h 1521023"/>
              <a:gd name="connsiteX39" fmla="*/ 619188 w 2037211"/>
              <a:gd name="connsiteY39" fmla="*/ 102123 h 1521023"/>
              <a:gd name="connsiteX40" fmla="*/ 517843 w 2037211"/>
              <a:gd name="connsiteY40" fmla="*/ 118710 h 1521023"/>
              <a:gd name="connsiteX41" fmla="*/ 477703 w 2037211"/>
              <a:gd name="connsiteY41" fmla="*/ 140439 h 1521023"/>
              <a:gd name="connsiteX42" fmla="*/ 455974 w 2037211"/>
              <a:gd name="connsiteY42" fmla="*/ 147239 h 1521023"/>
              <a:gd name="connsiteX43" fmla="*/ 381333 w 2037211"/>
              <a:gd name="connsiteY43" fmla="*/ 157026 h 1521023"/>
              <a:gd name="connsiteX44" fmla="*/ 391120 w 2037211"/>
              <a:gd name="connsiteY44" fmla="*/ 206786 h 1521023"/>
              <a:gd name="connsiteX45" fmla="*/ 327260 w 2037211"/>
              <a:gd name="connsiteY45" fmla="*/ 197000 h 1521023"/>
              <a:gd name="connsiteX46" fmla="*/ 176984 w 2037211"/>
              <a:gd name="connsiteY46" fmla="*/ 278607 h 1521023"/>
              <a:gd name="connsiteX47" fmla="*/ 258591 w 2037211"/>
              <a:gd name="connsiteY47" fmla="*/ 291379 h 1521023"/>
              <a:gd name="connsiteX48" fmla="*/ 231057 w 2037211"/>
              <a:gd name="connsiteY48" fmla="*/ 352253 h 1521023"/>
              <a:gd name="connsiteX49" fmla="*/ 126891 w 2037211"/>
              <a:gd name="connsiteY49" fmla="*/ 370996 h 1521023"/>
              <a:gd name="connsiteX50" fmla="*/ 2 w 2037211"/>
              <a:gd name="connsiteY50" fmla="*/ 420756 h 1521023"/>
              <a:gd name="connsiteX51" fmla="*/ 19740 w 2037211"/>
              <a:gd name="connsiteY51" fmla="*/ 445305 h 1521023"/>
              <a:gd name="connsiteX52" fmla="*/ 74809 w 2037211"/>
              <a:gd name="connsiteY52" fmla="*/ 461892 h 1521023"/>
              <a:gd name="connsiteX53" fmla="*/ 165207 w 2037211"/>
              <a:gd name="connsiteY53" fmla="*/ 468692 h 1521023"/>
              <a:gd name="connsiteX54" fmla="*/ 217289 w 2037211"/>
              <a:gd name="connsiteY54" fmla="*/ 488431 h 1521023"/>
              <a:gd name="connsiteX55" fmla="*/ 127886 w 2037211"/>
              <a:gd name="connsiteY55" fmla="*/ 494236 h 1521023"/>
              <a:gd name="connsiteX56" fmla="*/ 46279 w 2037211"/>
              <a:gd name="connsiteY56" fmla="*/ 510823 h 1521023"/>
              <a:gd name="connsiteX57" fmla="*/ 106158 w 2037211"/>
              <a:gd name="connsiteY57" fmla="*/ 526580 h 1521023"/>
              <a:gd name="connsiteX58" fmla="*/ 107153 w 2037211"/>
              <a:gd name="connsiteY58" fmla="*/ 553119 h 1521023"/>
              <a:gd name="connsiteX59" fmla="*/ 146464 w 2037211"/>
              <a:gd name="connsiteY59" fmla="*/ 574682 h 1521023"/>
              <a:gd name="connsiteX60" fmla="*/ 200537 w 2037211"/>
              <a:gd name="connsiteY60" fmla="*/ 580653 h 1521023"/>
              <a:gd name="connsiteX61" fmla="*/ 233710 w 2037211"/>
              <a:gd name="connsiteY61" fmla="*/ 576672 h 1521023"/>
              <a:gd name="connsiteX62" fmla="*/ 277997 w 2037211"/>
              <a:gd name="connsiteY62" fmla="*/ 568877 h 1521023"/>
              <a:gd name="connsiteX63" fmla="*/ 318303 w 2037211"/>
              <a:gd name="connsiteY63" fmla="*/ 560915 h 1521023"/>
              <a:gd name="connsiteX64" fmla="*/ 425454 w 2037211"/>
              <a:gd name="connsiteY64" fmla="*/ 589444 h 1521023"/>
              <a:gd name="connsiteX65" fmla="*/ 478532 w 2037211"/>
              <a:gd name="connsiteY65" fmla="*/ 623779 h 1521023"/>
              <a:gd name="connsiteX66" fmla="*/ 524644 w 2037211"/>
              <a:gd name="connsiteY66" fmla="*/ 668066 h 1521023"/>
              <a:gd name="connsiteX67" fmla="*/ 555163 w 2037211"/>
              <a:gd name="connsiteY67" fmla="*/ 722139 h 1521023"/>
              <a:gd name="connsiteX68" fmla="*/ 578717 w 2037211"/>
              <a:gd name="connsiteY68" fmla="*/ 758464 h 1521023"/>
              <a:gd name="connsiteX69" fmla="*/ 595303 w 2037211"/>
              <a:gd name="connsiteY69" fmla="*/ 792799 h 1521023"/>
              <a:gd name="connsiteX70" fmla="*/ 578717 w 2037211"/>
              <a:gd name="connsiteY70" fmla="*/ 834100 h 1521023"/>
              <a:gd name="connsiteX71" fmla="*/ 594474 w 2037211"/>
              <a:gd name="connsiteY71" fmla="*/ 879382 h 1521023"/>
              <a:gd name="connsiteX72" fmla="*/ 644235 w 2037211"/>
              <a:gd name="connsiteY72" fmla="*/ 857653 h 1521023"/>
              <a:gd name="connsiteX73" fmla="*/ 656011 w 2037211"/>
              <a:gd name="connsiteY73" fmla="*/ 890827 h 1521023"/>
              <a:gd name="connsiteX74" fmla="*/ 719870 w 2037211"/>
              <a:gd name="connsiteY74" fmla="*/ 921181 h 1521023"/>
              <a:gd name="connsiteX75" fmla="*/ 706103 w 2037211"/>
              <a:gd name="connsiteY75" fmla="*/ 934948 h 1521023"/>
              <a:gd name="connsiteX76" fmla="*/ 617696 w 2037211"/>
              <a:gd name="connsiteY76" fmla="*/ 928147 h 1521023"/>
              <a:gd name="connsiteX77" fmla="*/ 707099 w 2037211"/>
              <a:gd name="connsiteY77" fmla="*/ 969449 h 1521023"/>
              <a:gd name="connsiteX78" fmla="*/ 736457 w 2037211"/>
              <a:gd name="connsiteY78" fmla="*/ 1003783 h 1521023"/>
              <a:gd name="connsiteX79" fmla="*/ 729657 w 2037211"/>
              <a:gd name="connsiteY79" fmla="*/ 1049895 h 1521023"/>
              <a:gd name="connsiteX80" fmla="*/ 687360 w 2037211"/>
              <a:gd name="connsiteY80" fmla="*/ 1051885 h 1521023"/>
              <a:gd name="connsiteX81" fmla="*/ 660821 w 2037211"/>
              <a:gd name="connsiteY81" fmla="*/ 1075439 h 1521023"/>
              <a:gd name="connsiteX82" fmla="*/ 633287 w 2037211"/>
              <a:gd name="connsiteY82" fmla="*/ 1125199 h 1521023"/>
              <a:gd name="connsiteX83" fmla="*/ 666461 w 2037211"/>
              <a:gd name="connsiteY83" fmla="*/ 1153563 h 1521023"/>
              <a:gd name="connsiteX84" fmla="*/ 640917 w 2037211"/>
              <a:gd name="connsiteY84" fmla="*/ 1183087 h 1521023"/>
              <a:gd name="connsiteX85" fmla="*/ 687029 w 2037211"/>
              <a:gd name="connsiteY85" fmla="*/ 1231189 h 1521023"/>
              <a:gd name="connsiteX86" fmla="*/ 693000 w 2037211"/>
              <a:gd name="connsiteY86" fmla="*/ 1288248 h 1521023"/>
              <a:gd name="connsiteX87" fmla="*/ 712572 w 2037211"/>
              <a:gd name="connsiteY87" fmla="*/ 1305995 h 1521023"/>
              <a:gd name="connsiteX88" fmla="*/ 729159 w 2037211"/>
              <a:gd name="connsiteY88" fmla="*/ 1339169 h 1521023"/>
              <a:gd name="connsiteX89" fmla="*/ 754703 w 2037211"/>
              <a:gd name="connsiteY89" fmla="*/ 1367698 h 1521023"/>
              <a:gd name="connsiteX90" fmla="*/ 770460 w 2037211"/>
              <a:gd name="connsiteY90" fmla="*/ 1408005 h 1521023"/>
              <a:gd name="connsiteX91" fmla="*/ 807781 w 2037211"/>
              <a:gd name="connsiteY91" fmla="*/ 1447315 h 1521023"/>
              <a:gd name="connsiteX92" fmla="*/ 845101 w 2037211"/>
              <a:gd name="connsiteY92" fmla="*/ 1471864 h 1521023"/>
              <a:gd name="connsiteX93" fmla="*/ 878275 w 2037211"/>
              <a:gd name="connsiteY93" fmla="*/ 1481650 h 1521023"/>
              <a:gd name="connsiteX94" fmla="*/ 917585 w 2037211"/>
              <a:gd name="connsiteY94" fmla="*/ 1498237 h 1521023"/>
              <a:gd name="connsiteX95" fmla="*/ 975474 w 2037211"/>
              <a:gd name="connsiteY95" fmla="*/ 1520795 h 1521023"/>
              <a:gd name="connsiteX96" fmla="*/ 1000022 w 2037211"/>
              <a:gd name="connsiteY96" fmla="*/ 1495251 h 1521023"/>
              <a:gd name="connsiteX97" fmla="*/ 1016609 w 2037211"/>
              <a:gd name="connsiteY97" fmla="*/ 1443169 h 1521023"/>
              <a:gd name="connsiteX98" fmla="*/ 1013623 w 2037211"/>
              <a:gd name="connsiteY98" fmla="*/ 1391086 h 1521023"/>
              <a:gd name="connsiteX99" fmla="*/ 1030210 w 2037211"/>
              <a:gd name="connsiteY99" fmla="*/ 1374499 h 1521023"/>
              <a:gd name="connsiteX100" fmla="*/ 1055754 w 2037211"/>
              <a:gd name="connsiteY100" fmla="*/ 1351941 h 1521023"/>
              <a:gd name="connsiteX101" fmla="*/ 1069521 w 2037211"/>
              <a:gd name="connsiteY101" fmla="*/ 1326397 h 1521023"/>
              <a:gd name="connsiteX102" fmla="*/ 1070516 w 2037211"/>
              <a:gd name="connsiteY102" fmla="*/ 1302844 h 1521023"/>
              <a:gd name="connsiteX103" fmla="*/ 1083288 w 2037211"/>
              <a:gd name="connsiteY103" fmla="*/ 1286257 h 1521023"/>
              <a:gd name="connsiteX104" fmla="*/ 1076322 w 2037211"/>
              <a:gd name="connsiteY104" fmla="*/ 1261709 h 1521023"/>
              <a:gd name="connsiteX105" fmla="*/ 1081297 w 2037211"/>
              <a:gd name="connsiteY105" fmla="*/ 1248937 h 1521023"/>
              <a:gd name="connsiteX106" fmla="*/ 1099875 w 2037211"/>
              <a:gd name="connsiteY106" fmla="*/ 1240146 h 1521023"/>
              <a:gd name="connsiteX107" fmla="*/ 1131390 w 2037211"/>
              <a:gd name="connsiteY107" fmla="*/ 1220408 h 1521023"/>
              <a:gd name="connsiteX108" fmla="*/ 1158924 w 2037211"/>
              <a:gd name="connsiteY108" fmla="*/ 1191878 h 1521023"/>
              <a:gd name="connsiteX109" fmla="*/ 1175511 w 2037211"/>
              <a:gd name="connsiteY109" fmla="*/ 1190883 h 1521023"/>
              <a:gd name="connsiteX110" fmla="*/ 1182311 w 2037211"/>
              <a:gd name="connsiteY110" fmla="*/ 1208631 h 1521023"/>
              <a:gd name="connsiteX111" fmla="*/ 1244180 w 2037211"/>
              <a:gd name="connsiteY111" fmla="*/ 1195859 h 1521023"/>
              <a:gd name="connsiteX112" fmla="*/ 1317992 w 2037211"/>
              <a:gd name="connsiteY112" fmla="*/ 1132000 h 1521023"/>
              <a:gd name="connsiteX113" fmla="*/ 1359127 w 2037211"/>
              <a:gd name="connsiteY113" fmla="*/ 1090698 h 1521023"/>
              <a:gd name="connsiteX114" fmla="*/ 1390642 w 2037211"/>
              <a:gd name="connsiteY114" fmla="*/ 1077926 h 1521023"/>
              <a:gd name="connsiteX115" fmla="*/ 1422986 w 2037211"/>
              <a:gd name="connsiteY115" fmla="*/ 1070131 h 1521023"/>
              <a:gd name="connsiteX116" fmla="*/ 1472747 w 2037211"/>
              <a:gd name="connsiteY116" fmla="*/ 1059349 h 1521023"/>
              <a:gd name="connsiteX117" fmla="*/ 1591674 w 2037211"/>
              <a:gd name="connsiteY117" fmla="*/ 1026176 h 1521023"/>
              <a:gd name="connsiteX118" fmla="*/ 1685887 w 2037211"/>
              <a:gd name="connsiteY118" fmla="*/ 976415 h 1521023"/>
              <a:gd name="connsiteX119" fmla="*/ 1698659 w 2037211"/>
              <a:gd name="connsiteY119" fmla="*/ 959828 h 1521023"/>
              <a:gd name="connsiteX120" fmla="*/ 1639776 w 2037211"/>
              <a:gd name="connsiteY120" fmla="*/ 962814 h 1521023"/>
              <a:gd name="connsiteX121" fmla="*/ 1565965 w 2037211"/>
              <a:gd name="connsiteY121" fmla="*/ 954023 h 1521023"/>
              <a:gd name="connsiteX122" fmla="*/ 1575917 w 2037211"/>
              <a:gd name="connsiteY122" fmla="*/ 932294 h 1521023"/>
              <a:gd name="connsiteX123" fmla="*/ 1581722 w 2037211"/>
              <a:gd name="connsiteY123" fmla="*/ 900945 h 1521023"/>
              <a:gd name="connsiteX124" fmla="*/ 1628995 w 2037211"/>
              <a:gd name="connsiteY124" fmla="*/ 916702 h 1521023"/>
              <a:gd name="connsiteX125" fmla="*/ 1701645 w 2037211"/>
              <a:gd name="connsiteY125" fmla="*/ 941251 h 1521023"/>
              <a:gd name="connsiteX126" fmla="*/ 1713422 w 2037211"/>
              <a:gd name="connsiteY126" fmla="*/ 896964 h 1521023"/>
              <a:gd name="connsiteX127" fmla="*/ 1627004 w 2037211"/>
              <a:gd name="connsiteY127" fmla="*/ 820333 h 1521023"/>
              <a:gd name="connsiteX128" fmla="*/ 1676765 w 2037211"/>
              <a:gd name="connsiteY128" fmla="*/ 826304 h 1521023"/>
              <a:gd name="connsiteX129" fmla="*/ 1708280 w 2037211"/>
              <a:gd name="connsiteY129" fmla="*/ 791804 h 1521023"/>
              <a:gd name="connsiteX130" fmla="*/ 1628663 w 2037211"/>
              <a:gd name="connsiteY130" fmla="*/ 790808 h 1521023"/>
              <a:gd name="connsiteX131" fmla="*/ 1613901 w 2037211"/>
              <a:gd name="connsiteY131" fmla="*/ 769246 h 1521023"/>
              <a:gd name="connsiteX132" fmla="*/ 1626672 w 2037211"/>
              <a:gd name="connsiteY132" fmla="*/ 741712 h 1521023"/>
              <a:gd name="connsiteX133" fmla="*/ 1700318 w 2037211"/>
              <a:gd name="connsiteY133" fmla="*/ 763274 h 1521023"/>
              <a:gd name="connsiteX134" fmla="*/ 1756382 w 2037211"/>
              <a:gd name="connsiteY134" fmla="*/ 749507 h 1521023"/>
              <a:gd name="connsiteX135" fmla="*/ 1712094 w 2037211"/>
              <a:gd name="connsiteY135" fmla="*/ 708372 h 1521023"/>
              <a:gd name="connsiteX136" fmla="*/ 1785906 w 2037211"/>
              <a:gd name="connsiteY136" fmla="*/ 701405 h 1521023"/>
              <a:gd name="connsiteX137" fmla="*/ 1794697 w 2037211"/>
              <a:gd name="connsiteY137" fmla="*/ 678847 h 1521023"/>
              <a:gd name="connsiteX138" fmla="*/ 1734819 w 2037211"/>
              <a:gd name="connsiteY138" fmla="*/ 641527 h 1521023"/>
              <a:gd name="connsiteX139" fmla="*/ 1792707 w 2037211"/>
              <a:gd name="connsiteY139" fmla="*/ 631741 h 1521023"/>
              <a:gd name="connsiteX140" fmla="*/ 1776949 w 2037211"/>
              <a:gd name="connsiteY140" fmla="*/ 570701 h 1521023"/>
              <a:gd name="connsiteX141" fmla="*/ 1718066 w 2037211"/>
              <a:gd name="connsiteY141" fmla="*/ 555939 h 1521023"/>
              <a:gd name="connsiteX142" fmla="*/ 1693517 w 2037211"/>
              <a:gd name="connsiteY142" fmla="*/ 530395 h 1521023"/>
              <a:gd name="connsiteX143" fmla="*/ 1738633 w 2037211"/>
              <a:gd name="connsiteY143" fmla="*/ 524590 h 1521023"/>
              <a:gd name="connsiteX144" fmla="*/ 1829032 w 2037211"/>
              <a:gd name="connsiteY144" fmla="*/ 524590 h 1521023"/>
              <a:gd name="connsiteX145" fmla="*/ 1808464 w 2037211"/>
              <a:gd name="connsiteY145" fmla="*/ 489260 h 1521023"/>
              <a:gd name="connsiteX146" fmla="*/ 1753396 w 2037211"/>
              <a:gd name="connsiteY146" fmla="*/ 477317 h 1521023"/>
              <a:gd name="connsiteX147" fmla="*/ 1798678 w 2037211"/>
              <a:gd name="connsiteY147" fmla="*/ 467531 h 1521023"/>
              <a:gd name="connsiteX148" fmla="*/ 1732330 w 2037211"/>
              <a:gd name="connsiteY148" fmla="*/ 452769 h 1521023"/>
              <a:gd name="connsiteX149" fmla="*/ 1705792 w 2037211"/>
              <a:gd name="connsiteY149" fmla="*/ 454759 h 1521023"/>
              <a:gd name="connsiteX150" fmla="*/ 1726359 w 2037211"/>
              <a:gd name="connsiteY150" fmla="*/ 392890 h 1521023"/>
              <a:gd name="connsiteX151" fmla="*/ 1785408 w 2037211"/>
              <a:gd name="connsiteY151" fmla="*/ 347774 h 1521023"/>
              <a:gd name="connsiteX152" fmla="*/ 1840311 w 2037211"/>
              <a:gd name="connsiteY152" fmla="*/ 314601 h 1521023"/>
              <a:gd name="connsiteX153" fmla="*/ 1817753 w 2037211"/>
              <a:gd name="connsiteY153" fmla="*/ 288062 h 1521023"/>
              <a:gd name="connsiteX154" fmla="*/ 1762685 w 2037211"/>
              <a:gd name="connsiteY154" fmla="*/ 305810 h 1521023"/>
              <a:gd name="connsiteX155" fmla="*/ 1807966 w 2037211"/>
              <a:gd name="connsiteY155" fmla="*/ 278275 h 1521023"/>
              <a:gd name="connsiteX156" fmla="*/ 1890900 w 2037211"/>
              <a:gd name="connsiteY156" fmla="*/ 266499 h 1521023"/>
              <a:gd name="connsiteX157" fmla="*/ 1830027 w 2037211"/>
              <a:gd name="connsiteY157" fmla="*/ 251736 h 1521023"/>
              <a:gd name="connsiteX158" fmla="*/ 1846614 w 2037211"/>
              <a:gd name="connsiteY158" fmla="*/ 240955 h 1521023"/>
              <a:gd name="connsiteX159" fmla="*/ 1919264 w 2037211"/>
              <a:gd name="connsiteY159" fmla="*/ 226193 h 1521023"/>
              <a:gd name="connsiteX160" fmla="*/ 1962556 w 2037211"/>
              <a:gd name="connsiteY160" fmla="*/ 207450 h 1521023"/>
              <a:gd name="connsiteX161" fmla="*/ 2037196 w 2037211"/>
              <a:gd name="connsiteY161" fmla="*/ 173115 h 1521023"/>
              <a:gd name="connsiteX162" fmla="*/ 1921255 w 2037211"/>
              <a:gd name="connsiteY162" fmla="*/ 138448 h 1521023"/>
              <a:gd name="connsiteX163" fmla="*/ 696981 w 2037211"/>
              <a:gd name="connsiteY163" fmla="*/ 994163 h 1521023"/>
              <a:gd name="connsiteX164" fmla="*/ 670442 w 2037211"/>
              <a:gd name="connsiteY164" fmla="*/ 969614 h 1521023"/>
              <a:gd name="connsiteX165" fmla="*/ 605587 w 2037211"/>
              <a:gd name="connsiteY165" fmla="*/ 957838 h 1521023"/>
              <a:gd name="connsiteX166" fmla="*/ 600611 w 2037211"/>
              <a:gd name="connsiteY166" fmla="*/ 986367 h 1521023"/>
              <a:gd name="connsiteX167" fmla="*/ 636936 w 2037211"/>
              <a:gd name="connsiteY167" fmla="*/ 1007930 h 1521023"/>
              <a:gd name="connsiteX168" fmla="*/ 696981 w 2037211"/>
              <a:gd name="connsiteY168" fmla="*/ 994163 h 152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2037211" h="1521023">
                <a:moveTo>
                  <a:pt x="1921255" y="138448"/>
                </a:moveTo>
                <a:cubicBezTo>
                  <a:pt x="1884929" y="138448"/>
                  <a:pt x="1854907" y="144254"/>
                  <a:pt x="1853415" y="169798"/>
                </a:cubicBezTo>
                <a:cubicBezTo>
                  <a:pt x="1851922" y="195341"/>
                  <a:pt x="1805313" y="164987"/>
                  <a:pt x="1785740" y="173778"/>
                </a:cubicBezTo>
                <a:cubicBezTo>
                  <a:pt x="1766168" y="182569"/>
                  <a:pt x="1775788" y="153045"/>
                  <a:pt x="1756215" y="162997"/>
                </a:cubicBezTo>
                <a:cubicBezTo>
                  <a:pt x="1736643" y="172949"/>
                  <a:pt x="1714914" y="196171"/>
                  <a:pt x="1691361" y="206123"/>
                </a:cubicBezTo>
                <a:cubicBezTo>
                  <a:pt x="1667808" y="216075"/>
                  <a:pt x="1650060" y="240623"/>
                  <a:pt x="1635298" y="242448"/>
                </a:cubicBezTo>
                <a:cubicBezTo>
                  <a:pt x="1620535" y="244272"/>
                  <a:pt x="1666813" y="197332"/>
                  <a:pt x="1690366" y="173778"/>
                </a:cubicBezTo>
                <a:cubicBezTo>
                  <a:pt x="1713919" y="150225"/>
                  <a:pt x="1701148" y="122691"/>
                  <a:pt x="1669632" y="125511"/>
                </a:cubicBezTo>
                <a:cubicBezTo>
                  <a:pt x="1638117" y="128330"/>
                  <a:pt x="1644918" y="148235"/>
                  <a:pt x="1628331" y="152215"/>
                </a:cubicBezTo>
                <a:cubicBezTo>
                  <a:pt x="1611744" y="156196"/>
                  <a:pt x="1526156" y="198327"/>
                  <a:pt x="1522176" y="185389"/>
                </a:cubicBezTo>
                <a:cubicBezTo>
                  <a:pt x="1518194" y="172451"/>
                  <a:pt x="1592006" y="151054"/>
                  <a:pt x="1591011" y="142097"/>
                </a:cubicBezTo>
                <a:cubicBezTo>
                  <a:pt x="1590016" y="133141"/>
                  <a:pt x="1497627" y="132311"/>
                  <a:pt x="1456326" y="138283"/>
                </a:cubicBezTo>
                <a:cubicBezTo>
                  <a:pt x="1415025" y="144254"/>
                  <a:pt x="1342374" y="167641"/>
                  <a:pt x="1341379" y="155865"/>
                </a:cubicBezTo>
                <a:cubicBezTo>
                  <a:pt x="1340384" y="144088"/>
                  <a:pt x="1425806" y="127335"/>
                  <a:pt x="1469098" y="122691"/>
                </a:cubicBezTo>
                <a:cubicBezTo>
                  <a:pt x="1512389" y="118047"/>
                  <a:pt x="1592006" y="125511"/>
                  <a:pt x="1625346" y="111909"/>
                </a:cubicBezTo>
                <a:cubicBezTo>
                  <a:pt x="1658685" y="98308"/>
                  <a:pt x="1708280" y="97147"/>
                  <a:pt x="1717734" y="86366"/>
                </a:cubicBezTo>
                <a:cubicBezTo>
                  <a:pt x="1727189" y="75584"/>
                  <a:pt x="1679418" y="60822"/>
                  <a:pt x="1655865" y="61651"/>
                </a:cubicBezTo>
                <a:cubicBezTo>
                  <a:pt x="1632312" y="62481"/>
                  <a:pt x="1608593" y="59827"/>
                  <a:pt x="1610583" y="47884"/>
                </a:cubicBezTo>
                <a:cubicBezTo>
                  <a:pt x="1612573" y="35942"/>
                  <a:pt x="1574258" y="33288"/>
                  <a:pt x="1570277" y="24331"/>
                </a:cubicBezTo>
                <a:cubicBezTo>
                  <a:pt x="1566297" y="15374"/>
                  <a:pt x="1492651" y="22506"/>
                  <a:pt x="1476893" y="12554"/>
                </a:cubicBezTo>
                <a:cubicBezTo>
                  <a:pt x="1461136" y="2602"/>
                  <a:pt x="1415025" y="-2208"/>
                  <a:pt x="1375714" y="778"/>
                </a:cubicBezTo>
                <a:cubicBezTo>
                  <a:pt x="1336403" y="3763"/>
                  <a:pt x="1255791" y="2768"/>
                  <a:pt x="1237214" y="4758"/>
                </a:cubicBezTo>
                <a:cubicBezTo>
                  <a:pt x="1221755" y="8640"/>
                  <a:pt x="1205997" y="11244"/>
                  <a:pt x="1190107" y="12554"/>
                </a:cubicBezTo>
                <a:cubicBezTo>
                  <a:pt x="1173520" y="11559"/>
                  <a:pt x="1147811" y="17530"/>
                  <a:pt x="1156933" y="29141"/>
                </a:cubicBezTo>
                <a:cubicBezTo>
                  <a:pt x="1174681" y="48714"/>
                  <a:pt x="1130395" y="56675"/>
                  <a:pt x="1133380" y="41913"/>
                </a:cubicBezTo>
                <a:cubicBezTo>
                  <a:pt x="1136366" y="27151"/>
                  <a:pt x="1095065" y="20350"/>
                  <a:pt x="1082293" y="31132"/>
                </a:cubicBezTo>
                <a:cubicBezTo>
                  <a:pt x="1069521" y="41913"/>
                  <a:pt x="1001681" y="18360"/>
                  <a:pt x="991895" y="31132"/>
                </a:cubicBezTo>
                <a:cubicBezTo>
                  <a:pt x="982108" y="43903"/>
                  <a:pt x="904482" y="39923"/>
                  <a:pt x="881758" y="43903"/>
                </a:cubicBezTo>
                <a:cubicBezTo>
                  <a:pt x="859034" y="47884"/>
                  <a:pt x="917254" y="64471"/>
                  <a:pt x="914931" y="74423"/>
                </a:cubicBezTo>
                <a:cubicBezTo>
                  <a:pt x="912610" y="84375"/>
                  <a:pt x="841286" y="74423"/>
                  <a:pt x="855882" y="92005"/>
                </a:cubicBezTo>
                <a:cubicBezTo>
                  <a:pt x="870479" y="109587"/>
                  <a:pt x="917917" y="122525"/>
                  <a:pt x="940475" y="145083"/>
                </a:cubicBezTo>
                <a:cubicBezTo>
                  <a:pt x="963034" y="167641"/>
                  <a:pt x="922727" y="153874"/>
                  <a:pt x="897184" y="137287"/>
                </a:cubicBezTo>
                <a:cubicBezTo>
                  <a:pt x="871640" y="120701"/>
                  <a:pt x="839296" y="126340"/>
                  <a:pt x="823538" y="109753"/>
                </a:cubicBezTo>
                <a:cubicBezTo>
                  <a:pt x="807781" y="93166"/>
                  <a:pt x="748897" y="80229"/>
                  <a:pt x="734135" y="90015"/>
                </a:cubicBezTo>
                <a:cubicBezTo>
                  <a:pt x="716553" y="101792"/>
                  <a:pt x="774441" y="123188"/>
                  <a:pt x="774441" y="136292"/>
                </a:cubicBezTo>
                <a:cubicBezTo>
                  <a:pt x="774441" y="149396"/>
                  <a:pt x="735130" y="133306"/>
                  <a:pt x="728164" y="138283"/>
                </a:cubicBezTo>
                <a:cubicBezTo>
                  <a:pt x="721197" y="143259"/>
                  <a:pt x="686863" y="105109"/>
                  <a:pt x="667290" y="105109"/>
                </a:cubicBezTo>
                <a:cubicBezTo>
                  <a:pt x="647718" y="105109"/>
                  <a:pt x="664305" y="122857"/>
                  <a:pt x="664305" y="147405"/>
                </a:cubicBezTo>
                <a:cubicBezTo>
                  <a:pt x="664305" y="171954"/>
                  <a:pt x="625989" y="186716"/>
                  <a:pt x="636770" y="169963"/>
                </a:cubicBezTo>
                <a:cubicBezTo>
                  <a:pt x="647552" y="153211"/>
                  <a:pt x="639756" y="110085"/>
                  <a:pt x="619188" y="102123"/>
                </a:cubicBezTo>
                <a:cubicBezTo>
                  <a:pt x="598621" y="94161"/>
                  <a:pt x="545377" y="118710"/>
                  <a:pt x="517843" y="118710"/>
                </a:cubicBezTo>
                <a:cubicBezTo>
                  <a:pt x="490309" y="118710"/>
                  <a:pt x="453984" y="126672"/>
                  <a:pt x="477703" y="140439"/>
                </a:cubicBezTo>
                <a:cubicBezTo>
                  <a:pt x="501422" y="154206"/>
                  <a:pt x="476708" y="162002"/>
                  <a:pt x="455974" y="147239"/>
                </a:cubicBezTo>
                <a:cubicBezTo>
                  <a:pt x="435241" y="132477"/>
                  <a:pt x="367566" y="147239"/>
                  <a:pt x="381333" y="157026"/>
                </a:cubicBezTo>
                <a:cubicBezTo>
                  <a:pt x="395233" y="169632"/>
                  <a:pt x="399214" y="189851"/>
                  <a:pt x="391120" y="206786"/>
                </a:cubicBezTo>
                <a:cubicBezTo>
                  <a:pt x="382329" y="218563"/>
                  <a:pt x="353799" y="195009"/>
                  <a:pt x="327260" y="197000"/>
                </a:cubicBezTo>
                <a:cubicBezTo>
                  <a:pt x="300721" y="198990"/>
                  <a:pt x="169022" y="261854"/>
                  <a:pt x="176984" y="278607"/>
                </a:cubicBezTo>
                <a:cubicBezTo>
                  <a:pt x="184945" y="295360"/>
                  <a:pt x="240843" y="281593"/>
                  <a:pt x="258591" y="291379"/>
                </a:cubicBezTo>
                <a:cubicBezTo>
                  <a:pt x="276339" y="301165"/>
                  <a:pt x="252619" y="337490"/>
                  <a:pt x="231057" y="352253"/>
                </a:cubicBezTo>
                <a:cubicBezTo>
                  <a:pt x="209494" y="367015"/>
                  <a:pt x="128882" y="353248"/>
                  <a:pt x="126891" y="370996"/>
                </a:cubicBezTo>
                <a:cubicBezTo>
                  <a:pt x="124901" y="388744"/>
                  <a:pt x="2" y="391563"/>
                  <a:pt x="2" y="420756"/>
                </a:cubicBezTo>
                <a:cubicBezTo>
                  <a:pt x="-446" y="432715"/>
                  <a:pt x="7980" y="443165"/>
                  <a:pt x="19740" y="445305"/>
                </a:cubicBezTo>
                <a:cubicBezTo>
                  <a:pt x="37322" y="449120"/>
                  <a:pt x="59051" y="443314"/>
                  <a:pt x="74809" y="461892"/>
                </a:cubicBezTo>
                <a:cubicBezTo>
                  <a:pt x="90566" y="480469"/>
                  <a:pt x="134687" y="480469"/>
                  <a:pt x="165207" y="468692"/>
                </a:cubicBezTo>
                <a:cubicBezTo>
                  <a:pt x="195727" y="456916"/>
                  <a:pt x="218285" y="470683"/>
                  <a:pt x="217289" y="488431"/>
                </a:cubicBezTo>
                <a:cubicBezTo>
                  <a:pt x="216294" y="506178"/>
                  <a:pt x="148454" y="481464"/>
                  <a:pt x="127886" y="494236"/>
                </a:cubicBezTo>
                <a:cubicBezTo>
                  <a:pt x="107319" y="507008"/>
                  <a:pt x="43294" y="496226"/>
                  <a:pt x="46279" y="510823"/>
                </a:cubicBezTo>
                <a:cubicBezTo>
                  <a:pt x="49265" y="525419"/>
                  <a:pt x="80614" y="521604"/>
                  <a:pt x="106158" y="526580"/>
                </a:cubicBezTo>
                <a:cubicBezTo>
                  <a:pt x="131702" y="531556"/>
                  <a:pt x="108148" y="542338"/>
                  <a:pt x="107153" y="553119"/>
                </a:cubicBezTo>
                <a:cubicBezTo>
                  <a:pt x="106158" y="563901"/>
                  <a:pt x="120920" y="561910"/>
                  <a:pt x="146464" y="574682"/>
                </a:cubicBezTo>
                <a:cubicBezTo>
                  <a:pt x="172007" y="587454"/>
                  <a:pt x="214304" y="595250"/>
                  <a:pt x="200537" y="580653"/>
                </a:cubicBezTo>
                <a:cubicBezTo>
                  <a:pt x="186770" y="566057"/>
                  <a:pt x="227076" y="567881"/>
                  <a:pt x="233710" y="576672"/>
                </a:cubicBezTo>
                <a:cubicBezTo>
                  <a:pt x="240345" y="585464"/>
                  <a:pt x="259254" y="563901"/>
                  <a:pt x="277997" y="568877"/>
                </a:cubicBezTo>
                <a:cubicBezTo>
                  <a:pt x="296740" y="573853"/>
                  <a:pt x="303541" y="551129"/>
                  <a:pt x="318303" y="560915"/>
                </a:cubicBezTo>
                <a:cubicBezTo>
                  <a:pt x="333066" y="570701"/>
                  <a:pt x="401238" y="577502"/>
                  <a:pt x="425454" y="589444"/>
                </a:cubicBezTo>
                <a:cubicBezTo>
                  <a:pt x="449671" y="601387"/>
                  <a:pt x="481352" y="606031"/>
                  <a:pt x="478532" y="623779"/>
                </a:cubicBezTo>
                <a:cubicBezTo>
                  <a:pt x="475712" y="641527"/>
                  <a:pt x="498105" y="656953"/>
                  <a:pt x="524644" y="668066"/>
                </a:cubicBezTo>
                <a:cubicBezTo>
                  <a:pt x="545394" y="677637"/>
                  <a:pt x="557701" y="699432"/>
                  <a:pt x="555163" y="722139"/>
                </a:cubicBezTo>
                <a:cubicBezTo>
                  <a:pt x="554168" y="738726"/>
                  <a:pt x="583527" y="750503"/>
                  <a:pt x="578717" y="758464"/>
                </a:cubicBezTo>
                <a:cubicBezTo>
                  <a:pt x="573906" y="766426"/>
                  <a:pt x="577721" y="777041"/>
                  <a:pt x="595303" y="792799"/>
                </a:cubicBezTo>
                <a:cubicBezTo>
                  <a:pt x="612885" y="808556"/>
                  <a:pt x="567935" y="820333"/>
                  <a:pt x="578717" y="834100"/>
                </a:cubicBezTo>
                <a:cubicBezTo>
                  <a:pt x="589498" y="847867"/>
                  <a:pt x="562130" y="874406"/>
                  <a:pt x="594474" y="879382"/>
                </a:cubicBezTo>
                <a:cubicBezTo>
                  <a:pt x="626818" y="884358"/>
                  <a:pt x="621013" y="857653"/>
                  <a:pt x="644235" y="857653"/>
                </a:cubicBezTo>
                <a:cubicBezTo>
                  <a:pt x="667456" y="857653"/>
                  <a:pt x="643239" y="878387"/>
                  <a:pt x="656011" y="890827"/>
                </a:cubicBezTo>
                <a:cubicBezTo>
                  <a:pt x="668783" y="903267"/>
                  <a:pt x="695322" y="900613"/>
                  <a:pt x="719870" y="921181"/>
                </a:cubicBezTo>
                <a:cubicBezTo>
                  <a:pt x="744419" y="941749"/>
                  <a:pt x="728661" y="951701"/>
                  <a:pt x="706103" y="934948"/>
                </a:cubicBezTo>
                <a:cubicBezTo>
                  <a:pt x="683545" y="918195"/>
                  <a:pt x="617696" y="922176"/>
                  <a:pt x="617696" y="928147"/>
                </a:cubicBezTo>
                <a:cubicBezTo>
                  <a:pt x="617696" y="934119"/>
                  <a:pt x="690346" y="975254"/>
                  <a:pt x="707099" y="969449"/>
                </a:cubicBezTo>
                <a:cubicBezTo>
                  <a:pt x="723851" y="963643"/>
                  <a:pt x="746409" y="993997"/>
                  <a:pt x="736457" y="1003783"/>
                </a:cubicBezTo>
                <a:cubicBezTo>
                  <a:pt x="726505" y="1013570"/>
                  <a:pt x="731647" y="1038118"/>
                  <a:pt x="729657" y="1049895"/>
                </a:cubicBezTo>
                <a:cubicBezTo>
                  <a:pt x="727666" y="1061671"/>
                  <a:pt x="703118" y="1049895"/>
                  <a:pt x="687360" y="1051885"/>
                </a:cubicBezTo>
                <a:cubicBezTo>
                  <a:pt x="671603" y="1053876"/>
                  <a:pt x="660821" y="1058852"/>
                  <a:pt x="660821" y="1075439"/>
                </a:cubicBezTo>
                <a:cubicBezTo>
                  <a:pt x="660821" y="1092025"/>
                  <a:pt x="636273" y="1103968"/>
                  <a:pt x="633287" y="1125199"/>
                </a:cubicBezTo>
                <a:cubicBezTo>
                  <a:pt x="630302" y="1146430"/>
                  <a:pt x="653026" y="1144771"/>
                  <a:pt x="666461" y="1153563"/>
                </a:cubicBezTo>
                <a:cubicBezTo>
                  <a:pt x="679896" y="1162354"/>
                  <a:pt x="642908" y="1168325"/>
                  <a:pt x="640917" y="1183087"/>
                </a:cubicBezTo>
                <a:cubicBezTo>
                  <a:pt x="638927" y="1197849"/>
                  <a:pt x="674091" y="1224388"/>
                  <a:pt x="687029" y="1231189"/>
                </a:cubicBezTo>
                <a:cubicBezTo>
                  <a:pt x="699966" y="1237990"/>
                  <a:pt x="688024" y="1271495"/>
                  <a:pt x="693000" y="1288248"/>
                </a:cubicBezTo>
                <a:cubicBezTo>
                  <a:pt x="697976" y="1305000"/>
                  <a:pt x="714563" y="1284267"/>
                  <a:pt x="712572" y="1305995"/>
                </a:cubicBezTo>
                <a:cubicBezTo>
                  <a:pt x="710582" y="1327724"/>
                  <a:pt x="729159" y="1326563"/>
                  <a:pt x="729159" y="1339169"/>
                </a:cubicBezTo>
                <a:cubicBezTo>
                  <a:pt x="729159" y="1351775"/>
                  <a:pt x="760674" y="1349951"/>
                  <a:pt x="754703" y="1367698"/>
                </a:cubicBezTo>
                <a:cubicBezTo>
                  <a:pt x="748732" y="1385446"/>
                  <a:pt x="763660" y="1398218"/>
                  <a:pt x="770460" y="1408005"/>
                </a:cubicBezTo>
                <a:cubicBezTo>
                  <a:pt x="777261" y="1417791"/>
                  <a:pt x="803634" y="1434543"/>
                  <a:pt x="807781" y="1447315"/>
                </a:cubicBezTo>
                <a:cubicBezTo>
                  <a:pt x="811927" y="1460087"/>
                  <a:pt x="827353" y="1476674"/>
                  <a:pt x="845101" y="1471864"/>
                </a:cubicBezTo>
                <a:cubicBezTo>
                  <a:pt x="862849" y="1467054"/>
                  <a:pt x="863844" y="1483640"/>
                  <a:pt x="878275" y="1481650"/>
                </a:cubicBezTo>
                <a:cubicBezTo>
                  <a:pt x="892705" y="1479660"/>
                  <a:pt x="913605" y="1487455"/>
                  <a:pt x="917585" y="1498237"/>
                </a:cubicBezTo>
                <a:cubicBezTo>
                  <a:pt x="921567" y="1509018"/>
                  <a:pt x="963697" y="1518804"/>
                  <a:pt x="975474" y="1520795"/>
                </a:cubicBezTo>
                <a:cubicBezTo>
                  <a:pt x="987250" y="1522785"/>
                  <a:pt x="989241" y="1501222"/>
                  <a:pt x="1000022" y="1495251"/>
                </a:cubicBezTo>
                <a:cubicBezTo>
                  <a:pt x="1010803" y="1489280"/>
                  <a:pt x="1006989" y="1445491"/>
                  <a:pt x="1016609" y="1443169"/>
                </a:cubicBezTo>
                <a:cubicBezTo>
                  <a:pt x="1026229" y="1440846"/>
                  <a:pt x="1023409" y="1395067"/>
                  <a:pt x="1013623" y="1391086"/>
                </a:cubicBezTo>
                <a:cubicBezTo>
                  <a:pt x="1003837" y="1387105"/>
                  <a:pt x="1007818" y="1371514"/>
                  <a:pt x="1030210" y="1374499"/>
                </a:cubicBezTo>
                <a:cubicBezTo>
                  <a:pt x="1052602" y="1377485"/>
                  <a:pt x="1044972" y="1354927"/>
                  <a:pt x="1055754" y="1351941"/>
                </a:cubicBezTo>
                <a:cubicBezTo>
                  <a:pt x="1066535" y="1348955"/>
                  <a:pt x="1061559" y="1328388"/>
                  <a:pt x="1069521" y="1326397"/>
                </a:cubicBezTo>
                <a:cubicBezTo>
                  <a:pt x="1077483" y="1324407"/>
                  <a:pt x="1076322" y="1310640"/>
                  <a:pt x="1070516" y="1302844"/>
                </a:cubicBezTo>
                <a:cubicBezTo>
                  <a:pt x="1064711" y="1295048"/>
                  <a:pt x="1071511" y="1289077"/>
                  <a:pt x="1083288" y="1286257"/>
                </a:cubicBezTo>
                <a:cubicBezTo>
                  <a:pt x="1095065" y="1283437"/>
                  <a:pt x="1092079" y="1267680"/>
                  <a:pt x="1076322" y="1261709"/>
                </a:cubicBezTo>
                <a:cubicBezTo>
                  <a:pt x="1060564" y="1255737"/>
                  <a:pt x="1065540" y="1238155"/>
                  <a:pt x="1081297" y="1248937"/>
                </a:cubicBezTo>
                <a:cubicBezTo>
                  <a:pt x="1097055" y="1259718"/>
                  <a:pt x="1108832" y="1251922"/>
                  <a:pt x="1099875" y="1240146"/>
                </a:cubicBezTo>
                <a:cubicBezTo>
                  <a:pt x="1090918" y="1228369"/>
                  <a:pt x="1110822" y="1222398"/>
                  <a:pt x="1131390" y="1220408"/>
                </a:cubicBezTo>
                <a:cubicBezTo>
                  <a:pt x="1151957" y="1218417"/>
                  <a:pt x="1162905" y="1207636"/>
                  <a:pt x="1158924" y="1191878"/>
                </a:cubicBezTo>
                <a:cubicBezTo>
                  <a:pt x="1154943" y="1176120"/>
                  <a:pt x="1182477" y="1177116"/>
                  <a:pt x="1175511" y="1190883"/>
                </a:cubicBezTo>
                <a:cubicBezTo>
                  <a:pt x="1168544" y="1204650"/>
                  <a:pt x="1172525" y="1218417"/>
                  <a:pt x="1182311" y="1208631"/>
                </a:cubicBezTo>
                <a:cubicBezTo>
                  <a:pt x="1192098" y="1198845"/>
                  <a:pt x="1210840" y="1205645"/>
                  <a:pt x="1244180" y="1195859"/>
                </a:cubicBezTo>
                <a:cubicBezTo>
                  <a:pt x="1277520" y="1186073"/>
                  <a:pt x="1310527" y="1158538"/>
                  <a:pt x="1317992" y="1132000"/>
                </a:cubicBezTo>
                <a:cubicBezTo>
                  <a:pt x="1325456" y="1105461"/>
                  <a:pt x="1364103" y="1108446"/>
                  <a:pt x="1359127" y="1090698"/>
                </a:cubicBezTo>
                <a:cubicBezTo>
                  <a:pt x="1354151" y="1072951"/>
                  <a:pt x="1366093" y="1066150"/>
                  <a:pt x="1390642" y="1077926"/>
                </a:cubicBezTo>
                <a:cubicBezTo>
                  <a:pt x="1415190" y="1089703"/>
                  <a:pt x="1395618" y="1070131"/>
                  <a:pt x="1422986" y="1070131"/>
                </a:cubicBezTo>
                <a:cubicBezTo>
                  <a:pt x="1450354" y="1070131"/>
                  <a:pt x="1445710" y="1060179"/>
                  <a:pt x="1472747" y="1059349"/>
                </a:cubicBezTo>
                <a:cubicBezTo>
                  <a:pt x="1499783" y="1058520"/>
                  <a:pt x="1567955" y="1046577"/>
                  <a:pt x="1591674" y="1026176"/>
                </a:cubicBezTo>
                <a:cubicBezTo>
                  <a:pt x="1615393" y="1005774"/>
                  <a:pt x="1665320" y="989850"/>
                  <a:pt x="1685887" y="976415"/>
                </a:cubicBezTo>
                <a:cubicBezTo>
                  <a:pt x="1706455" y="962980"/>
                  <a:pt x="1711431" y="952862"/>
                  <a:pt x="1698659" y="959828"/>
                </a:cubicBezTo>
                <a:cubicBezTo>
                  <a:pt x="1679833" y="966961"/>
                  <a:pt x="1659233" y="968006"/>
                  <a:pt x="1639776" y="962814"/>
                </a:cubicBezTo>
                <a:cubicBezTo>
                  <a:pt x="1620038" y="957838"/>
                  <a:pt x="1588688" y="941251"/>
                  <a:pt x="1565965" y="954023"/>
                </a:cubicBezTo>
                <a:cubicBezTo>
                  <a:pt x="1543241" y="966795"/>
                  <a:pt x="1557174" y="935280"/>
                  <a:pt x="1575917" y="932294"/>
                </a:cubicBezTo>
                <a:cubicBezTo>
                  <a:pt x="1594660" y="929309"/>
                  <a:pt x="1586698" y="920518"/>
                  <a:pt x="1581722" y="900945"/>
                </a:cubicBezTo>
                <a:cubicBezTo>
                  <a:pt x="1576746" y="881373"/>
                  <a:pt x="1613237" y="893979"/>
                  <a:pt x="1628995" y="916702"/>
                </a:cubicBezTo>
                <a:cubicBezTo>
                  <a:pt x="1645548" y="939476"/>
                  <a:pt x="1674675" y="949312"/>
                  <a:pt x="1701645" y="941251"/>
                </a:cubicBezTo>
                <a:cubicBezTo>
                  <a:pt x="1728184" y="933289"/>
                  <a:pt x="1702640" y="911727"/>
                  <a:pt x="1713422" y="896964"/>
                </a:cubicBezTo>
                <a:cubicBezTo>
                  <a:pt x="1724203" y="882202"/>
                  <a:pt x="1631814" y="836090"/>
                  <a:pt x="1627004" y="820333"/>
                </a:cubicBezTo>
                <a:cubicBezTo>
                  <a:pt x="1622194" y="804576"/>
                  <a:pt x="1650557" y="815357"/>
                  <a:pt x="1676765" y="826304"/>
                </a:cubicBezTo>
                <a:cubicBezTo>
                  <a:pt x="1702972" y="837252"/>
                  <a:pt x="1708280" y="805571"/>
                  <a:pt x="1708280" y="791804"/>
                </a:cubicBezTo>
                <a:cubicBezTo>
                  <a:pt x="1708280" y="778037"/>
                  <a:pt x="1653211" y="777041"/>
                  <a:pt x="1628663" y="790808"/>
                </a:cubicBezTo>
                <a:cubicBezTo>
                  <a:pt x="1604115" y="804576"/>
                  <a:pt x="1580395" y="773226"/>
                  <a:pt x="1613901" y="769246"/>
                </a:cubicBezTo>
                <a:cubicBezTo>
                  <a:pt x="1647406" y="765265"/>
                  <a:pt x="1616886" y="751498"/>
                  <a:pt x="1626672" y="741712"/>
                </a:cubicBezTo>
                <a:cubicBezTo>
                  <a:pt x="1636459" y="731925"/>
                  <a:pt x="1678755" y="770241"/>
                  <a:pt x="1700318" y="763274"/>
                </a:cubicBezTo>
                <a:cubicBezTo>
                  <a:pt x="1721881" y="756308"/>
                  <a:pt x="1737638" y="764270"/>
                  <a:pt x="1756382" y="749507"/>
                </a:cubicBezTo>
                <a:cubicBezTo>
                  <a:pt x="1775125" y="734745"/>
                  <a:pt x="1723208" y="721144"/>
                  <a:pt x="1712094" y="708372"/>
                </a:cubicBezTo>
                <a:cubicBezTo>
                  <a:pt x="1700982" y="695600"/>
                  <a:pt x="1766168" y="700410"/>
                  <a:pt x="1785906" y="701405"/>
                </a:cubicBezTo>
                <a:cubicBezTo>
                  <a:pt x="1805644" y="702401"/>
                  <a:pt x="1810455" y="673042"/>
                  <a:pt x="1794697" y="678847"/>
                </a:cubicBezTo>
                <a:cubicBezTo>
                  <a:pt x="1778939" y="684653"/>
                  <a:pt x="1722876" y="659275"/>
                  <a:pt x="1734819" y="641527"/>
                </a:cubicBezTo>
                <a:cubicBezTo>
                  <a:pt x="1746761" y="623779"/>
                  <a:pt x="1767993" y="644513"/>
                  <a:pt x="1792707" y="631741"/>
                </a:cubicBezTo>
                <a:cubicBezTo>
                  <a:pt x="1817421" y="618969"/>
                  <a:pt x="1794697" y="570701"/>
                  <a:pt x="1776949" y="570701"/>
                </a:cubicBezTo>
                <a:cubicBezTo>
                  <a:pt x="1759202" y="570701"/>
                  <a:pt x="1718066" y="564896"/>
                  <a:pt x="1718066" y="555939"/>
                </a:cubicBezTo>
                <a:cubicBezTo>
                  <a:pt x="1718066" y="546982"/>
                  <a:pt x="1683731" y="539352"/>
                  <a:pt x="1693517" y="530395"/>
                </a:cubicBezTo>
                <a:cubicBezTo>
                  <a:pt x="1703303" y="521438"/>
                  <a:pt x="1716076" y="541343"/>
                  <a:pt x="1738633" y="524590"/>
                </a:cubicBezTo>
                <a:cubicBezTo>
                  <a:pt x="1761192" y="507837"/>
                  <a:pt x="1808464" y="528571"/>
                  <a:pt x="1829032" y="524590"/>
                </a:cubicBezTo>
                <a:cubicBezTo>
                  <a:pt x="1849599" y="520609"/>
                  <a:pt x="1820241" y="482294"/>
                  <a:pt x="1808464" y="489260"/>
                </a:cubicBezTo>
                <a:cubicBezTo>
                  <a:pt x="1796687" y="496226"/>
                  <a:pt x="1756382" y="498051"/>
                  <a:pt x="1753396" y="477317"/>
                </a:cubicBezTo>
                <a:cubicBezTo>
                  <a:pt x="1750410" y="456584"/>
                  <a:pt x="1791712" y="477317"/>
                  <a:pt x="1798678" y="467531"/>
                </a:cubicBezTo>
                <a:cubicBezTo>
                  <a:pt x="1805644" y="457745"/>
                  <a:pt x="1741619" y="432201"/>
                  <a:pt x="1732330" y="452769"/>
                </a:cubicBezTo>
                <a:cubicBezTo>
                  <a:pt x="1723042" y="473336"/>
                  <a:pt x="1687049" y="466536"/>
                  <a:pt x="1705792" y="454759"/>
                </a:cubicBezTo>
                <a:cubicBezTo>
                  <a:pt x="1724535" y="442983"/>
                  <a:pt x="1728350" y="409643"/>
                  <a:pt x="1726359" y="392890"/>
                </a:cubicBezTo>
                <a:cubicBezTo>
                  <a:pt x="1724369" y="376138"/>
                  <a:pt x="1792707" y="375142"/>
                  <a:pt x="1785408" y="347774"/>
                </a:cubicBezTo>
                <a:cubicBezTo>
                  <a:pt x="1778110" y="320406"/>
                  <a:pt x="1817753" y="314601"/>
                  <a:pt x="1840311" y="314601"/>
                </a:cubicBezTo>
                <a:cubicBezTo>
                  <a:pt x="1862869" y="314601"/>
                  <a:pt x="1839316" y="285076"/>
                  <a:pt x="1817753" y="288062"/>
                </a:cubicBezTo>
                <a:cubicBezTo>
                  <a:pt x="1796190" y="291047"/>
                  <a:pt x="1773632" y="315596"/>
                  <a:pt x="1762685" y="305810"/>
                </a:cubicBezTo>
                <a:cubicBezTo>
                  <a:pt x="1751737" y="296023"/>
                  <a:pt x="1788228" y="278275"/>
                  <a:pt x="1807966" y="278275"/>
                </a:cubicBezTo>
                <a:cubicBezTo>
                  <a:pt x="1827705" y="278275"/>
                  <a:pt x="1874314" y="276285"/>
                  <a:pt x="1890900" y="266499"/>
                </a:cubicBezTo>
                <a:cubicBezTo>
                  <a:pt x="1907487" y="256712"/>
                  <a:pt x="1861542" y="247756"/>
                  <a:pt x="1830027" y="251736"/>
                </a:cubicBezTo>
                <a:cubicBezTo>
                  <a:pt x="1798512" y="255717"/>
                  <a:pt x="1798678" y="241950"/>
                  <a:pt x="1846614" y="240955"/>
                </a:cubicBezTo>
                <a:cubicBezTo>
                  <a:pt x="1894550" y="239960"/>
                  <a:pt x="1885925" y="230174"/>
                  <a:pt x="1919264" y="226193"/>
                </a:cubicBezTo>
                <a:cubicBezTo>
                  <a:pt x="1952603" y="222212"/>
                  <a:pt x="1941988" y="208445"/>
                  <a:pt x="1962556" y="207450"/>
                </a:cubicBezTo>
                <a:cubicBezTo>
                  <a:pt x="1983124" y="206454"/>
                  <a:pt x="2037196" y="183896"/>
                  <a:pt x="2037196" y="173115"/>
                </a:cubicBezTo>
                <a:cubicBezTo>
                  <a:pt x="2037196" y="162333"/>
                  <a:pt x="1957580" y="138448"/>
                  <a:pt x="1921255" y="138448"/>
                </a:cubicBezTo>
                <a:close/>
                <a:moveTo>
                  <a:pt x="696981" y="994163"/>
                </a:moveTo>
                <a:cubicBezTo>
                  <a:pt x="697976" y="978571"/>
                  <a:pt x="680394" y="988358"/>
                  <a:pt x="670442" y="969614"/>
                </a:cubicBezTo>
                <a:cubicBezTo>
                  <a:pt x="660490" y="950872"/>
                  <a:pt x="610397" y="943241"/>
                  <a:pt x="605587" y="957838"/>
                </a:cubicBezTo>
                <a:cubicBezTo>
                  <a:pt x="603597" y="963809"/>
                  <a:pt x="587839" y="972600"/>
                  <a:pt x="600611" y="986367"/>
                </a:cubicBezTo>
                <a:cubicBezTo>
                  <a:pt x="613383" y="1000134"/>
                  <a:pt x="622174" y="994163"/>
                  <a:pt x="636936" y="1007930"/>
                </a:cubicBezTo>
                <a:cubicBezTo>
                  <a:pt x="651699" y="1021697"/>
                  <a:pt x="695985" y="1009921"/>
                  <a:pt x="696981" y="994163"/>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13" name="Freeform: Shape 512">
            <a:extLst>
              <a:ext uri="{FF2B5EF4-FFF2-40B4-BE49-F238E27FC236}">
                <a16:creationId xmlns:a16="http://schemas.microsoft.com/office/drawing/2014/main" id="{1B26EC4D-C59A-4DC4-837A-28EF795FC9BF}"/>
              </a:ext>
            </a:extLst>
          </p:cNvPr>
          <p:cNvSpPr/>
          <p:nvPr/>
        </p:nvSpPr>
        <p:spPr>
          <a:xfrm>
            <a:off x="1588027" y="1734501"/>
            <a:ext cx="2340032" cy="1764911"/>
          </a:xfrm>
          <a:custGeom>
            <a:avLst/>
            <a:gdLst>
              <a:gd name="connsiteX0" fmla="*/ 583012 w 2951358"/>
              <a:gd name="connsiteY0" fmla="*/ 1989793 h 2269546"/>
              <a:gd name="connsiteX1" fmla="*/ 544696 w 2951358"/>
              <a:gd name="connsiteY1" fmla="*/ 1972045 h 2269546"/>
              <a:gd name="connsiteX2" fmla="*/ 505552 w 2951358"/>
              <a:gd name="connsiteY2" fmla="*/ 1928753 h 2269546"/>
              <a:gd name="connsiteX3" fmla="*/ 462094 w 2951358"/>
              <a:gd name="connsiteY3" fmla="*/ 1919133 h 2269546"/>
              <a:gd name="connsiteX4" fmla="*/ 427593 w 2951358"/>
              <a:gd name="connsiteY4" fmla="*/ 1913991 h 2269546"/>
              <a:gd name="connsiteX5" fmla="*/ 437877 w 2951358"/>
              <a:gd name="connsiteY5" fmla="*/ 1929417 h 2269546"/>
              <a:gd name="connsiteX6" fmla="*/ 453303 w 2951358"/>
              <a:gd name="connsiteY6" fmla="*/ 1939701 h 2269546"/>
              <a:gd name="connsiteX7" fmla="*/ 476193 w 2951358"/>
              <a:gd name="connsiteY7" fmla="*/ 1957448 h 2269546"/>
              <a:gd name="connsiteX8" fmla="*/ 498253 w 2951358"/>
              <a:gd name="connsiteY8" fmla="*/ 1972045 h 2269546"/>
              <a:gd name="connsiteX9" fmla="*/ 516001 w 2951358"/>
              <a:gd name="connsiteY9" fmla="*/ 1990622 h 2269546"/>
              <a:gd name="connsiteX10" fmla="*/ 532588 w 2951358"/>
              <a:gd name="connsiteY10" fmla="*/ 1997920 h 2269546"/>
              <a:gd name="connsiteX11" fmla="*/ 547350 w 2951358"/>
              <a:gd name="connsiteY11" fmla="*/ 2016664 h 2269546"/>
              <a:gd name="connsiteX12" fmla="*/ 599765 w 2951358"/>
              <a:gd name="connsiteY12" fmla="*/ 2016664 h 2269546"/>
              <a:gd name="connsiteX13" fmla="*/ 603248 w 2951358"/>
              <a:gd name="connsiteY13" fmla="*/ 2002896 h 2269546"/>
              <a:gd name="connsiteX14" fmla="*/ 583012 w 2951358"/>
              <a:gd name="connsiteY14" fmla="*/ 1989793 h 2269546"/>
              <a:gd name="connsiteX15" fmla="*/ 557966 w 2951358"/>
              <a:gd name="connsiteY15" fmla="*/ 818431 h 2269546"/>
              <a:gd name="connsiteX16" fmla="*/ 605073 w 2951358"/>
              <a:gd name="connsiteY16" fmla="*/ 871509 h 2269546"/>
              <a:gd name="connsiteX17" fmla="*/ 627299 w 2951358"/>
              <a:gd name="connsiteY17" fmla="*/ 856746 h 2269546"/>
              <a:gd name="connsiteX18" fmla="*/ 660473 w 2951358"/>
              <a:gd name="connsiteY18" fmla="*/ 847955 h 2269546"/>
              <a:gd name="connsiteX19" fmla="*/ 693646 w 2951358"/>
              <a:gd name="connsiteY19" fmla="*/ 822909 h 2269546"/>
              <a:gd name="connsiteX20" fmla="*/ 724498 w 2951358"/>
              <a:gd name="connsiteY20" fmla="*/ 789736 h 2269546"/>
              <a:gd name="connsiteX21" fmla="*/ 751037 w 2951358"/>
              <a:gd name="connsiteY21" fmla="*/ 756562 h 2269546"/>
              <a:gd name="connsiteX22" fmla="*/ 857192 w 2951358"/>
              <a:gd name="connsiteY22" fmla="*/ 712275 h 2269546"/>
              <a:gd name="connsiteX23" fmla="*/ 815891 w 2951358"/>
              <a:gd name="connsiteY23" fmla="*/ 675452 h 2269546"/>
              <a:gd name="connsiteX24" fmla="*/ 748051 w 2951358"/>
              <a:gd name="connsiteY24" fmla="*/ 668154 h 2269546"/>
              <a:gd name="connsiteX25" fmla="*/ 727483 w 2951358"/>
              <a:gd name="connsiteY25" fmla="*/ 660690 h 2269546"/>
              <a:gd name="connsiteX26" fmla="*/ 661136 w 2951358"/>
              <a:gd name="connsiteY26" fmla="*/ 641615 h 2269546"/>
              <a:gd name="connsiteX27" fmla="*/ 556473 w 2951358"/>
              <a:gd name="connsiteY27" fmla="*/ 658202 h 2269546"/>
              <a:gd name="connsiteX28" fmla="*/ 571235 w 2951358"/>
              <a:gd name="connsiteY28" fmla="*/ 689219 h 2269546"/>
              <a:gd name="connsiteX29" fmla="*/ 547682 w 2951358"/>
              <a:gd name="connsiteY29" fmla="*/ 738980 h 2269546"/>
              <a:gd name="connsiteX30" fmla="*/ 518158 w 2951358"/>
              <a:gd name="connsiteY30" fmla="*/ 788740 h 2269546"/>
              <a:gd name="connsiteX31" fmla="*/ 557966 w 2951358"/>
              <a:gd name="connsiteY31" fmla="*/ 818431 h 2269546"/>
              <a:gd name="connsiteX32" fmla="*/ 1294919 w 2951358"/>
              <a:gd name="connsiteY32" fmla="*/ 939349 h 2269546"/>
              <a:gd name="connsiteX33" fmla="*/ 1342025 w 2951358"/>
              <a:gd name="connsiteY33" fmla="*/ 937856 h 2269546"/>
              <a:gd name="connsiteX34" fmla="*/ 1283142 w 2951358"/>
              <a:gd name="connsiteY34" fmla="*/ 893569 h 2269546"/>
              <a:gd name="connsiteX35" fmla="*/ 1230064 w 2951358"/>
              <a:gd name="connsiteY35" fmla="*/ 867030 h 2269546"/>
              <a:gd name="connsiteX36" fmla="*/ 1216795 w 2951358"/>
              <a:gd name="connsiteY36" fmla="*/ 819923 h 2269546"/>
              <a:gd name="connsiteX37" fmla="*/ 1203526 w 2951358"/>
              <a:gd name="connsiteY37" fmla="*/ 744785 h 2269546"/>
              <a:gd name="connsiteX38" fmla="*/ 1208004 w 2951358"/>
              <a:gd name="connsiteY38" fmla="*/ 697679 h 2269546"/>
              <a:gd name="connsiteX39" fmla="*/ 1143149 w 2951358"/>
              <a:gd name="connsiteY39" fmla="*/ 712275 h 2269546"/>
              <a:gd name="connsiteX40" fmla="*/ 1184451 w 2951358"/>
              <a:gd name="connsiteY40" fmla="*/ 747771 h 2269546"/>
              <a:gd name="connsiteX41" fmla="*/ 1138671 w 2951358"/>
              <a:gd name="connsiteY41" fmla="*/ 730023 h 2269546"/>
              <a:gd name="connsiteX42" fmla="*/ 1103341 w 2951358"/>
              <a:gd name="connsiteY42" fmla="*/ 730023 h 2269546"/>
              <a:gd name="connsiteX43" fmla="*/ 1125401 w 2951358"/>
              <a:gd name="connsiteY43" fmla="*/ 811132 h 2269546"/>
              <a:gd name="connsiteX44" fmla="*/ 1104834 w 2951358"/>
              <a:gd name="connsiteY44" fmla="*/ 828714 h 2269546"/>
              <a:gd name="connsiteX45" fmla="*/ 1079788 w 2951358"/>
              <a:gd name="connsiteY45" fmla="*/ 771324 h 2269546"/>
              <a:gd name="connsiteX46" fmla="*/ 1017753 w 2951358"/>
              <a:gd name="connsiteY46" fmla="*/ 747771 h 2269546"/>
              <a:gd name="connsiteX47" fmla="*/ 1042799 w 2951358"/>
              <a:gd name="connsiteY47" fmla="*/ 775637 h 2269546"/>
              <a:gd name="connsiteX48" fmla="*/ 1004484 w 2951358"/>
              <a:gd name="connsiteY48" fmla="*/ 778622 h 2269546"/>
              <a:gd name="connsiteX49" fmla="*/ 994200 w 2951358"/>
              <a:gd name="connsiteY49" fmla="*/ 769831 h 2269546"/>
              <a:gd name="connsiteX50" fmla="*/ 941122 w 2951358"/>
              <a:gd name="connsiteY50" fmla="*/ 744785 h 2269546"/>
              <a:gd name="connsiteX51" fmla="*/ 919061 w 2951358"/>
              <a:gd name="connsiteY51" fmla="*/ 775637 h 2269546"/>
              <a:gd name="connsiteX52" fmla="*/ 894015 w 2951358"/>
              <a:gd name="connsiteY52" fmla="*/ 765353 h 2269546"/>
              <a:gd name="connsiteX53" fmla="*/ 899821 w 2951358"/>
              <a:gd name="connsiteY53" fmla="*/ 727037 h 2269546"/>
              <a:gd name="connsiteX54" fmla="*/ 815891 w 2951358"/>
              <a:gd name="connsiteY54" fmla="*/ 746278 h 2269546"/>
              <a:gd name="connsiteX55" fmla="*/ 755515 w 2951358"/>
              <a:gd name="connsiteY55" fmla="*/ 781608 h 2269546"/>
              <a:gd name="connsiteX56" fmla="*/ 745065 w 2951358"/>
              <a:gd name="connsiteY56" fmla="*/ 805161 h 2269546"/>
              <a:gd name="connsiteX57" fmla="*/ 761652 w 2951358"/>
              <a:gd name="connsiteY57" fmla="*/ 833193 h 2269546"/>
              <a:gd name="connsiteX58" fmla="*/ 774922 w 2951358"/>
              <a:gd name="connsiteY58" fmla="*/ 849780 h 2269546"/>
              <a:gd name="connsiteX59" fmla="*/ 853046 w 2951358"/>
              <a:gd name="connsiteY59" fmla="*/ 839330 h 2269546"/>
              <a:gd name="connsiteX60" fmla="*/ 766131 w 2951358"/>
              <a:gd name="connsiteY60" fmla="*/ 873333 h 2269546"/>
              <a:gd name="connsiteX61" fmla="*/ 863329 w 2951358"/>
              <a:gd name="connsiteY61" fmla="*/ 893901 h 2269546"/>
              <a:gd name="connsiteX62" fmla="*/ 976949 w 2951358"/>
              <a:gd name="connsiteY62" fmla="*/ 910488 h 2269546"/>
              <a:gd name="connsiteX63" fmla="*/ 891361 w 2951358"/>
              <a:gd name="connsiteY63" fmla="*/ 916459 h 2269546"/>
              <a:gd name="connsiteX64" fmla="*/ 794162 w 2951358"/>
              <a:gd name="connsiteY64" fmla="*/ 938519 h 2269546"/>
              <a:gd name="connsiteX65" fmla="*/ 839776 w 2951358"/>
              <a:gd name="connsiteY65" fmla="*/ 969537 h 2269546"/>
              <a:gd name="connsiteX66" fmla="*/ 916407 w 2951358"/>
              <a:gd name="connsiteY66" fmla="*/ 986124 h 2269546"/>
              <a:gd name="connsiteX67" fmla="*/ 988726 w 2951358"/>
              <a:gd name="connsiteY67" fmla="*/ 1019297 h 2269546"/>
              <a:gd name="connsiteX68" fmla="*/ 1088247 w 2951358"/>
              <a:gd name="connsiteY68" fmla="*/ 997237 h 2269546"/>
              <a:gd name="connsiteX69" fmla="*/ 1136846 w 2951358"/>
              <a:gd name="connsiteY69" fmla="*/ 976503 h 2269546"/>
              <a:gd name="connsiteX70" fmla="*/ 1161892 w 2951358"/>
              <a:gd name="connsiteY70" fmla="*/ 977996 h 2269546"/>
              <a:gd name="connsiteX71" fmla="*/ 1204686 w 2951358"/>
              <a:gd name="connsiteY71" fmla="*/ 992758 h 2269546"/>
              <a:gd name="connsiteX72" fmla="*/ 1309349 w 2951358"/>
              <a:gd name="connsiteY72" fmla="*/ 994251 h 2269546"/>
              <a:gd name="connsiteX73" fmla="*/ 1287123 w 2951358"/>
              <a:gd name="connsiteY73" fmla="*/ 964727 h 2269546"/>
              <a:gd name="connsiteX74" fmla="*/ 1262077 w 2951358"/>
              <a:gd name="connsiteY74" fmla="*/ 963234 h 2269546"/>
              <a:gd name="connsiteX75" fmla="*/ 1294919 w 2951358"/>
              <a:gd name="connsiteY75" fmla="*/ 939680 h 2269546"/>
              <a:gd name="connsiteX76" fmla="*/ 734782 w 2951358"/>
              <a:gd name="connsiteY76" fmla="*/ 576760 h 2269546"/>
              <a:gd name="connsiteX77" fmla="*/ 786367 w 2951358"/>
              <a:gd name="connsiteY77" fmla="*/ 543587 h 2269546"/>
              <a:gd name="connsiteX78" fmla="*/ 734782 w 2951358"/>
              <a:gd name="connsiteY78" fmla="*/ 577092 h 2269546"/>
              <a:gd name="connsiteX79" fmla="*/ 612537 w 2951358"/>
              <a:gd name="connsiteY79" fmla="*/ 536455 h 2269546"/>
              <a:gd name="connsiteX80" fmla="*/ 624313 w 2951358"/>
              <a:gd name="connsiteY80" fmla="*/ 555695 h 2269546"/>
              <a:gd name="connsiteX81" fmla="*/ 647867 w 2951358"/>
              <a:gd name="connsiteY81" fmla="*/ 551217 h 2269546"/>
              <a:gd name="connsiteX82" fmla="*/ 674405 w 2951358"/>
              <a:gd name="connsiteY82" fmla="*/ 534630 h 2269546"/>
              <a:gd name="connsiteX83" fmla="*/ 697959 w 2951358"/>
              <a:gd name="connsiteY83" fmla="*/ 561169 h 2269546"/>
              <a:gd name="connsiteX84" fmla="*/ 725991 w 2951358"/>
              <a:gd name="connsiteY84" fmla="*/ 536123 h 2269546"/>
              <a:gd name="connsiteX85" fmla="*/ 748051 w 2951358"/>
              <a:gd name="connsiteY85" fmla="*/ 521360 h 2269546"/>
              <a:gd name="connsiteX86" fmla="*/ 767292 w 2951358"/>
              <a:gd name="connsiteY86" fmla="*/ 490509 h 2269546"/>
              <a:gd name="connsiteX87" fmla="*/ 777576 w 2951358"/>
              <a:gd name="connsiteY87" fmla="*/ 519868 h 2269546"/>
              <a:gd name="connsiteX88" fmla="*/ 808593 w 2951358"/>
              <a:gd name="connsiteY88" fmla="*/ 512569 h 2269546"/>
              <a:gd name="connsiteX89" fmla="*/ 835132 w 2951358"/>
              <a:gd name="connsiteY89" fmla="*/ 499300 h 2269546"/>
              <a:gd name="connsiteX90" fmla="*/ 835132 w 2951358"/>
              <a:gd name="connsiteY90" fmla="*/ 474254 h 2269546"/>
              <a:gd name="connsiteX91" fmla="*/ 855700 w 2951358"/>
              <a:gd name="connsiteY91" fmla="*/ 456506 h 2269546"/>
              <a:gd name="connsiteX92" fmla="*/ 829161 w 2951358"/>
              <a:gd name="connsiteY92" fmla="*/ 441744 h 2269546"/>
              <a:gd name="connsiteX93" fmla="*/ 808593 w 2951358"/>
              <a:gd name="connsiteY93" fmla="*/ 455013 h 2269546"/>
              <a:gd name="connsiteX94" fmla="*/ 764306 w 2951358"/>
              <a:gd name="connsiteY94" fmla="*/ 450701 h 2269546"/>
              <a:gd name="connsiteX95" fmla="*/ 703930 w 2951358"/>
              <a:gd name="connsiteY95" fmla="*/ 481552 h 2269546"/>
              <a:gd name="connsiteX96" fmla="*/ 656658 w 2951358"/>
              <a:gd name="connsiteY96" fmla="*/ 512569 h 2269546"/>
              <a:gd name="connsiteX97" fmla="*/ 612537 w 2951358"/>
              <a:gd name="connsiteY97" fmla="*/ 536455 h 2269546"/>
              <a:gd name="connsiteX98" fmla="*/ 842430 w 2951358"/>
              <a:gd name="connsiteY98" fmla="*/ 529156 h 2269546"/>
              <a:gd name="connsiteX99" fmla="*/ 846909 w 2951358"/>
              <a:gd name="connsiteY99" fmla="*/ 551217 h 2269546"/>
              <a:gd name="connsiteX100" fmla="*/ 843923 w 2951358"/>
              <a:gd name="connsiteY100" fmla="*/ 557022 h 2269546"/>
              <a:gd name="connsiteX101" fmla="*/ 818877 w 2951358"/>
              <a:gd name="connsiteY101" fmla="*/ 579249 h 2269546"/>
              <a:gd name="connsiteX102" fmla="*/ 852050 w 2951358"/>
              <a:gd name="connsiteY102" fmla="*/ 579249 h 2269546"/>
              <a:gd name="connsiteX103" fmla="*/ 793167 w 2951358"/>
              <a:gd name="connsiteY103" fmla="*/ 598323 h 2269546"/>
              <a:gd name="connsiteX104" fmla="*/ 835795 w 2951358"/>
              <a:gd name="connsiteY104" fmla="*/ 610100 h 2269546"/>
              <a:gd name="connsiteX105" fmla="*/ 881575 w 2951358"/>
              <a:gd name="connsiteY105" fmla="*/ 605787 h 2269546"/>
              <a:gd name="connsiteX106" fmla="*/ 908114 w 2951358"/>
              <a:gd name="connsiteY106" fmla="*/ 595338 h 2269546"/>
              <a:gd name="connsiteX107" fmla="*/ 971476 w 2951358"/>
              <a:gd name="connsiteY107" fmla="*/ 599816 h 2269546"/>
              <a:gd name="connsiteX108" fmla="*/ 922876 w 2951358"/>
              <a:gd name="connsiteY108" fmla="*/ 626355 h 2269546"/>
              <a:gd name="connsiteX109" fmla="*/ 921383 w 2951358"/>
              <a:gd name="connsiteY109" fmla="*/ 657372 h 2269546"/>
              <a:gd name="connsiteX110" fmla="*/ 1039316 w 2951358"/>
              <a:gd name="connsiteY110" fmla="*/ 620384 h 2269546"/>
              <a:gd name="connsiteX111" fmla="*/ 1086422 w 2951358"/>
              <a:gd name="connsiteY111" fmla="*/ 617564 h 2269546"/>
              <a:gd name="connsiteX112" fmla="*/ 1161561 w 2951358"/>
              <a:gd name="connsiteY112" fmla="*/ 613086 h 2269546"/>
              <a:gd name="connsiteX113" fmla="*/ 1173337 w 2951358"/>
              <a:gd name="connsiteY113" fmla="*/ 545246 h 2269546"/>
              <a:gd name="connsiteX114" fmla="*/ 1136515 w 2951358"/>
              <a:gd name="connsiteY114" fmla="*/ 558515 h 2269546"/>
              <a:gd name="connsiteX115" fmla="*/ 1098199 w 2951358"/>
              <a:gd name="connsiteY115" fmla="*/ 527664 h 2269546"/>
              <a:gd name="connsiteX116" fmla="*/ 1074646 w 2951358"/>
              <a:gd name="connsiteY116" fmla="*/ 492168 h 2269546"/>
              <a:gd name="connsiteX117" fmla="*/ 1039316 w 2951358"/>
              <a:gd name="connsiteY117" fmla="*/ 529156 h 2269546"/>
              <a:gd name="connsiteX118" fmla="*/ 1042135 w 2951358"/>
              <a:gd name="connsiteY118" fmla="*/ 551217 h 2269546"/>
              <a:gd name="connsiteX119" fmla="*/ 1067182 w 2951358"/>
              <a:gd name="connsiteY119" fmla="*/ 576263 h 2269546"/>
              <a:gd name="connsiteX120" fmla="*/ 990550 w 2951358"/>
              <a:gd name="connsiteY120" fmla="*/ 562994 h 2269546"/>
              <a:gd name="connsiteX121" fmla="*/ 912427 w 2951358"/>
              <a:gd name="connsiteY121" fmla="*/ 527664 h 2269546"/>
              <a:gd name="connsiteX122" fmla="*/ 877097 w 2951358"/>
              <a:gd name="connsiteY122" fmla="*/ 508423 h 2269546"/>
              <a:gd name="connsiteX123" fmla="*/ 842430 w 2951358"/>
              <a:gd name="connsiteY123" fmla="*/ 528493 h 2269546"/>
              <a:gd name="connsiteX124" fmla="*/ 919061 w 2951358"/>
              <a:gd name="connsiteY124" fmla="*/ 423001 h 2269546"/>
              <a:gd name="connsiteX125" fmla="*/ 874774 w 2951358"/>
              <a:gd name="connsiteY125" fmla="*/ 414210 h 2269546"/>
              <a:gd name="connsiteX126" fmla="*/ 919061 w 2951358"/>
              <a:gd name="connsiteY126" fmla="*/ 422337 h 2269546"/>
              <a:gd name="connsiteX127" fmla="*/ 1041472 w 2951358"/>
              <a:gd name="connsiteY127" fmla="*/ 415537 h 2269546"/>
              <a:gd name="connsiteX128" fmla="*/ 1020739 w 2951358"/>
              <a:gd name="connsiteY128" fmla="*/ 402267 h 2269546"/>
              <a:gd name="connsiteX129" fmla="*/ 936809 w 2951358"/>
              <a:gd name="connsiteY129" fmla="*/ 428806 h 2269546"/>
              <a:gd name="connsiteX130" fmla="*/ 980930 w 2951358"/>
              <a:gd name="connsiteY130" fmla="*/ 458330 h 2269546"/>
              <a:gd name="connsiteX131" fmla="*/ 1028203 w 2951358"/>
              <a:gd name="connsiteY131" fmla="*/ 428806 h 2269546"/>
              <a:gd name="connsiteX132" fmla="*/ 1041472 w 2951358"/>
              <a:gd name="connsiteY132" fmla="*/ 414873 h 2269546"/>
              <a:gd name="connsiteX133" fmla="*/ 969154 w 2951358"/>
              <a:gd name="connsiteY133" fmla="*/ 387173 h 2269546"/>
              <a:gd name="connsiteX134" fmla="*/ 1008962 w 2951358"/>
              <a:gd name="connsiteY134" fmla="*/ 382695 h 2269546"/>
              <a:gd name="connsiteX135" fmla="*/ 1065025 w 2951358"/>
              <a:gd name="connsiteY135" fmla="*/ 375231 h 2269546"/>
              <a:gd name="connsiteX136" fmla="*/ 992707 w 2951358"/>
              <a:gd name="connsiteY136" fmla="*/ 357649 h 2269546"/>
              <a:gd name="connsiteX137" fmla="*/ 929345 w 2951358"/>
              <a:gd name="connsiteY137" fmla="*/ 384187 h 2269546"/>
              <a:gd name="connsiteX138" fmla="*/ 969154 w 2951358"/>
              <a:gd name="connsiteY138" fmla="*/ 387173 h 2269546"/>
              <a:gd name="connsiteX139" fmla="*/ 1215302 w 2951358"/>
              <a:gd name="connsiteY139" fmla="*/ 341393 h 2269546"/>
              <a:gd name="connsiteX140" fmla="*/ 1259589 w 2951358"/>
              <a:gd name="connsiteY140" fmla="*/ 361961 h 2269546"/>
              <a:gd name="connsiteX141" fmla="*/ 1206511 w 2951358"/>
              <a:gd name="connsiteY141" fmla="*/ 370918 h 2269546"/>
              <a:gd name="connsiteX142" fmla="*/ 1249139 w 2951358"/>
              <a:gd name="connsiteY142" fmla="*/ 382695 h 2269546"/>
              <a:gd name="connsiteX143" fmla="*/ 1337713 w 2951358"/>
              <a:gd name="connsiteY143" fmla="*/ 399282 h 2269546"/>
              <a:gd name="connsiteX144" fmla="*/ 1399582 w 2951358"/>
              <a:gd name="connsiteY144" fmla="*/ 406580 h 2269546"/>
              <a:gd name="connsiteX145" fmla="*/ 1386312 w 2951358"/>
              <a:gd name="connsiteY145" fmla="*/ 369757 h 2269546"/>
              <a:gd name="connsiteX146" fmla="*/ 1346504 w 2951358"/>
              <a:gd name="connsiteY146" fmla="*/ 346204 h 2269546"/>
              <a:gd name="connsiteX147" fmla="*/ 1311174 w 2951358"/>
              <a:gd name="connsiteY147" fmla="*/ 322650 h 2269546"/>
              <a:gd name="connsiteX148" fmla="*/ 1288948 w 2951358"/>
              <a:gd name="connsiteY148" fmla="*/ 319665 h 2269546"/>
              <a:gd name="connsiteX149" fmla="*/ 1193242 w 2951358"/>
              <a:gd name="connsiteY149" fmla="*/ 306395 h 2269546"/>
              <a:gd name="connsiteX150" fmla="*/ 1215302 w 2951358"/>
              <a:gd name="connsiteY150" fmla="*/ 341228 h 2269546"/>
              <a:gd name="connsiteX151" fmla="*/ 1225586 w 2951358"/>
              <a:gd name="connsiteY151" fmla="*/ 465131 h 2269546"/>
              <a:gd name="connsiteX152" fmla="*/ 1175825 w 2951358"/>
              <a:gd name="connsiteY152" fmla="*/ 425489 h 2269546"/>
              <a:gd name="connsiteX153" fmla="*/ 1224922 w 2951358"/>
              <a:gd name="connsiteY153" fmla="*/ 464965 h 2269546"/>
              <a:gd name="connsiteX154" fmla="*/ 1417164 w 2951358"/>
              <a:gd name="connsiteY154" fmla="*/ 272060 h 2269546"/>
              <a:gd name="connsiteX155" fmla="*/ 1373043 w 2951358"/>
              <a:gd name="connsiteY155" fmla="*/ 255474 h 2269546"/>
              <a:gd name="connsiteX156" fmla="*/ 1417164 w 2951358"/>
              <a:gd name="connsiteY156" fmla="*/ 271895 h 2269546"/>
              <a:gd name="connsiteX157" fmla="*/ 1251295 w 2951358"/>
              <a:gd name="connsiteY157" fmla="*/ 606617 h 2269546"/>
              <a:gd name="connsiteX158" fmla="*/ 1220444 w 2951358"/>
              <a:gd name="connsiteY158" fmla="*/ 590030 h 2269546"/>
              <a:gd name="connsiteX159" fmla="*/ 1250632 w 2951358"/>
              <a:gd name="connsiteY159" fmla="*/ 606451 h 2269546"/>
              <a:gd name="connsiteX160" fmla="*/ 1417164 w 2951358"/>
              <a:gd name="connsiteY160" fmla="*/ 503613 h 2269546"/>
              <a:gd name="connsiteX161" fmla="*/ 1355295 w 2951358"/>
              <a:gd name="connsiteY161" fmla="*/ 490343 h 2269546"/>
              <a:gd name="connsiteX162" fmla="*/ 1365745 w 2951358"/>
              <a:gd name="connsiteY162" fmla="*/ 528659 h 2269546"/>
              <a:gd name="connsiteX163" fmla="*/ 1327263 w 2951358"/>
              <a:gd name="connsiteY163" fmla="*/ 518209 h 2269546"/>
              <a:gd name="connsiteX164" fmla="*/ 1315487 w 2951358"/>
              <a:gd name="connsiteY164" fmla="*/ 541928 h 2269546"/>
              <a:gd name="connsiteX165" fmla="*/ 1294919 w 2951358"/>
              <a:gd name="connsiteY165" fmla="*/ 543255 h 2269546"/>
              <a:gd name="connsiteX166" fmla="*/ 1240348 w 2951358"/>
              <a:gd name="connsiteY166" fmla="*/ 493495 h 2269546"/>
              <a:gd name="connsiteX167" fmla="*/ 1236036 w 2951358"/>
              <a:gd name="connsiteY167" fmla="*/ 534796 h 2269546"/>
              <a:gd name="connsiteX168" fmla="*/ 1288948 w 2951358"/>
              <a:gd name="connsiteY168" fmla="*/ 571619 h 2269546"/>
              <a:gd name="connsiteX169" fmla="*/ 1368564 w 2951358"/>
              <a:gd name="connsiteY169" fmla="*/ 570126 h 2269546"/>
              <a:gd name="connsiteX170" fmla="*/ 1361266 w 2951358"/>
              <a:gd name="connsiteY170" fmla="*/ 611427 h 2269546"/>
              <a:gd name="connsiteX171" fmla="*/ 1430433 w 2951358"/>
              <a:gd name="connsiteY171" fmla="*/ 614413 h 2269546"/>
              <a:gd name="connsiteX172" fmla="*/ 1458465 w 2951358"/>
              <a:gd name="connsiteY172" fmla="*/ 587874 h 2269546"/>
              <a:gd name="connsiteX173" fmla="*/ 1455645 w 2951358"/>
              <a:gd name="connsiteY173" fmla="*/ 554700 h 2269546"/>
              <a:gd name="connsiteX174" fmla="*/ 1417164 w 2951358"/>
              <a:gd name="connsiteY174" fmla="*/ 503281 h 2269546"/>
              <a:gd name="connsiteX175" fmla="*/ 1479199 w 2951358"/>
              <a:gd name="connsiteY175" fmla="*/ 416532 h 2269546"/>
              <a:gd name="connsiteX176" fmla="*/ 1538082 w 2951358"/>
              <a:gd name="connsiteY176" fmla="*/ 406248 h 2269546"/>
              <a:gd name="connsiteX177" fmla="*/ 1541067 w 2951358"/>
              <a:gd name="connsiteY177" fmla="*/ 381202 h 2269546"/>
              <a:gd name="connsiteX178" fmla="*/ 1505737 w 2951358"/>
              <a:gd name="connsiteY178" fmla="*/ 367932 h 2269546"/>
              <a:gd name="connsiteX179" fmla="*/ 1436405 w 2951358"/>
              <a:gd name="connsiteY179" fmla="*/ 345872 h 2269546"/>
              <a:gd name="connsiteX180" fmla="*/ 1479199 w 2951358"/>
              <a:gd name="connsiteY180" fmla="*/ 416366 h 2269546"/>
              <a:gd name="connsiteX181" fmla="*/ 1598458 w 2951358"/>
              <a:gd name="connsiteY181" fmla="*/ 423996 h 2269546"/>
              <a:gd name="connsiteX182" fmla="*/ 1501259 w 2951358"/>
              <a:gd name="connsiteY182" fmla="*/ 441578 h 2269546"/>
              <a:gd name="connsiteX183" fmla="*/ 1598458 w 2951358"/>
              <a:gd name="connsiteY183" fmla="*/ 423830 h 2269546"/>
              <a:gd name="connsiteX184" fmla="*/ 1581871 w 2951358"/>
              <a:gd name="connsiteY184" fmla="*/ 639625 h 2269546"/>
              <a:gd name="connsiteX185" fmla="*/ 1565284 w 2951358"/>
              <a:gd name="connsiteY185" fmla="*/ 583561 h 2269546"/>
              <a:gd name="connsiteX186" fmla="*/ 1481355 w 2951358"/>
              <a:gd name="connsiteY186" fmla="*/ 616735 h 2269546"/>
              <a:gd name="connsiteX187" fmla="*/ 1582369 w 2951358"/>
              <a:gd name="connsiteY187" fmla="*/ 638961 h 2269546"/>
              <a:gd name="connsiteX188" fmla="*/ 1393113 w 2951358"/>
              <a:gd name="connsiteY188" fmla="*/ 845965 h 2269546"/>
              <a:gd name="connsiteX189" fmla="*/ 1452162 w 2951358"/>
              <a:gd name="connsiteY189" fmla="*/ 829378 h 2269546"/>
              <a:gd name="connsiteX190" fmla="*/ 1496283 w 2951358"/>
              <a:gd name="connsiteY190" fmla="*/ 748434 h 2269546"/>
              <a:gd name="connsiteX191" fmla="*/ 1475715 w 2951358"/>
              <a:gd name="connsiteY191" fmla="*/ 743956 h 2269546"/>
              <a:gd name="connsiteX192" fmla="*/ 1471237 w 2951358"/>
              <a:gd name="connsiteY192" fmla="*/ 757225 h 2269546"/>
              <a:gd name="connsiteX193" fmla="*/ 1429936 w 2951358"/>
              <a:gd name="connsiteY193" fmla="*/ 740638 h 2269546"/>
              <a:gd name="connsiteX194" fmla="*/ 1472730 w 2951358"/>
              <a:gd name="connsiteY194" fmla="*/ 705308 h 2269546"/>
              <a:gd name="connsiteX195" fmla="*/ 1449176 w 2951358"/>
              <a:gd name="connsiteY195" fmla="*/ 674291 h 2269546"/>
              <a:gd name="connsiteX196" fmla="*/ 1406382 w 2951358"/>
              <a:gd name="connsiteY196" fmla="*/ 684741 h 2269546"/>
              <a:gd name="connsiteX197" fmla="*/ 1387307 w 2951358"/>
              <a:gd name="connsiteY197" fmla="*/ 690546 h 2269546"/>
              <a:gd name="connsiteX198" fmla="*/ 1329751 w 2951358"/>
              <a:gd name="connsiteY198" fmla="*/ 717085 h 2269546"/>
              <a:gd name="connsiteX199" fmla="*/ 1366574 w 2951358"/>
              <a:gd name="connsiteY199" fmla="*/ 746610 h 2269546"/>
              <a:gd name="connsiteX200" fmla="*/ 1300227 w 2951358"/>
              <a:gd name="connsiteY200" fmla="*/ 740638 h 2269546"/>
              <a:gd name="connsiteX201" fmla="*/ 1325439 w 2951358"/>
              <a:gd name="connsiteY201" fmla="*/ 789238 h 2269546"/>
              <a:gd name="connsiteX202" fmla="*/ 1393610 w 2951358"/>
              <a:gd name="connsiteY202" fmla="*/ 845301 h 2269546"/>
              <a:gd name="connsiteX203" fmla="*/ 1633456 w 2951358"/>
              <a:gd name="connsiteY203" fmla="*/ 610100 h 2269546"/>
              <a:gd name="connsiteX204" fmla="*/ 1671772 w 2951358"/>
              <a:gd name="connsiteY204" fmla="*/ 630834 h 2269546"/>
              <a:gd name="connsiteX205" fmla="*/ 1726342 w 2951358"/>
              <a:gd name="connsiteY205" fmla="*/ 638132 h 2269546"/>
              <a:gd name="connsiteX206" fmla="*/ 1749895 w 2951358"/>
              <a:gd name="connsiteY206" fmla="*/ 627848 h 2269546"/>
              <a:gd name="connsiteX207" fmla="*/ 1860364 w 2951358"/>
              <a:gd name="connsiteY207" fmla="*/ 648416 h 2269546"/>
              <a:gd name="connsiteX208" fmla="*/ 1934175 w 2951358"/>
              <a:gd name="connsiteY208" fmla="*/ 630834 h 2269546"/>
              <a:gd name="connsiteX209" fmla="*/ 2022583 w 2951358"/>
              <a:gd name="connsiteY209" fmla="*/ 638132 h 2269546"/>
              <a:gd name="connsiteX210" fmla="*/ 2051942 w 2951358"/>
              <a:gd name="connsiteY210" fmla="*/ 585054 h 2269546"/>
              <a:gd name="connsiteX211" fmla="*/ 1864842 w 2951358"/>
              <a:gd name="connsiteY211" fmla="*/ 571785 h 2269546"/>
              <a:gd name="connsiteX212" fmla="*/ 1770463 w 2951358"/>
              <a:gd name="connsiteY212" fmla="*/ 576263 h 2269546"/>
              <a:gd name="connsiteX213" fmla="*/ 1715893 w 2951358"/>
              <a:gd name="connsiteY213" fmla="*/ 559676 h 2269546"/>
              <a:gd name="connsiteX214" fmla="*/ 1726342 w 2951358"/>
              <a:gd name="connsiteY214" fmla="*/ 528825 h 2269546"/>
              <a:gd name="connsiteX215" fmla="*/ 1637769 w 2951358"/>
              <a:gd name="connsiteY215" fmla="*/ 502286 h 2269546"/>
              <a:gd name="connsiteX216" fmla="*/ 1567109 w 2951358"/>
              <a:gd name="connsiteY216" fmla="*/ 481552 h 2269546"/>
              <a:gd name="connsiteX217" fmla="*/ 1483013 w 2951358"/>
              <a:gd name="connsiteY217" fmla="*/ 493329 h 2269546"/>
              <a:gd name="connsiteX218" fmla="*/ 1587676 w 2951358"/>
              <a:gd name="connsiteY218" fmla="*/ 524346 h 2269546"/>
              <a:gd name="connsiteX219" fmla="*/ 1631963 w 2951358"/>
              <a:gd name="connsiteY219" fmla="*/ 557520 h 2269546"/>
              <a:gd name="connsiteX220" fmla="*/ 1633954 w 2951358"/>
              <a:gd name="connsiteY220" fmla="*/ 609437 h 2269546"/>
              <a:gd name="connsiteX221" fmla="*/ 1708594 w 2951358"/>
              <a:gd name="connsiteY221" fmla="*/ 436270 h 2269546"/>
              <a:gd name="connsiteX222" fmla="*/ 1675421 w 2951358"/>
              <a:gd name="connsiteY222" fmla="*/ 461316 h 2269546"/>
              <a:gd name="connsiteX223" fmla="*/ 1709092 w 2951358"/>
              <a:gd name="connsiteY223" fmla="*/ 435607 h 2269546"/>
              <a:gd name="connsiteX224" fmla="*/ 1496283 w 2951358"/>
              <a:gd name="connsiteY224" fmla="*/ 270402 h 2269546"/>
              <a:gd name="connsiteX225" fmla="*/ 1529457 w 2951358"/>
              <a:gd name="connsiteY225" fmla="*/ 305732 h 2269546"/>
              <a:gd name="connsiteX226" fmla="*/ 1626655 w 2951358"/>
              <a:gd name="connsiteY226" fmla="*/ 308717 h 2269546"/>
              <a:gd name="connsiteX227" fmla="*/ 1567772 w 2951358"/>
              <a:gd name="connsiteY227" fmla="*/ 336583 h 2269546"/>
              <a:gd name="connsiteX228" fmla="*/ 1614879 w 2951358"/>
              <a:gd name="connsiteY228" fmla="*/ 372079 h 2269546"/>
              <a:gd name="connsiteX229" fmla="*/ 1693003 w 2951358"/>
              <a:gd name="connsiteY229" fmla="*/ 394139 h 2269546"/>
              <a:gd name="connsiteX230" fmla="*/ 1740275 w 2951358"/>
              <a:gd name="connsiteY230" fmla="*/ 392647 h 2269546"/>
              <a:gd name="connsiteX231" fmla="*/ 1773449 w 2951358"/>
              <a:gd name="connsiteY231" fmla="*/ 355824 h 2269546"/>
              <a:gd name="connsiteX232" fmla="*/ 1806623 w 2951358"/>
              <a:gd name="connsiteY232" fmla="*/ 327792 h 2269546"/>
              <a:gd name="connsiteX233" fmla="*/ 1862686 w 2951358"/>
              <a:gd name="connsiteY233" fmla="*/ 308717 h 2269546"/>
              <a:gd name="connsiteX234" fmla="*/ 1829512 w 2951358"/>
              <a:gd name="connsiteY234" fmla="*/ 293955 h 2269546"/>
              <a:gd name="connsiteX235" fmla="*/ 1797168 w 2951358"/>
              <a:gd name="connsiteY235" fmla="*/ 271729 h 2269546"/>
              <a:gd name="connsiteX236" fmla="*/ 1782406 w 2951358"/>
              <a:gd name="connsiteY236" fmla="*/ 240877 h 2269546"/>
              <a:gd name="connsiteX237" fmla="*/ 1758853 w 2951358"/>
              <a:gd name="connsiteY237" fmla="*/ 234906 h 2269546"/>
              <a:gd name="connsiteX238" fmla="*/ 1727835 w 2951358"/>
              <a:gd name="connsiteY238" fmla="*/ 220144 h 2269546"/>
              <a:gd name="connsiteX239" fmla="*/ 1623172 w 2951358"/>
              <a:gd name="connsiteY239" fmla="*/ 162753 h 2269546"/>
              <a:gd name="connsiteX240" fmla="*/ 1565782 w 2951358"/>
              <a:gd name="connsiteY240" fmla="*/ 155289 h 2269546"/>
              <a:gd name="connsiteX241" fmla="*/ 1568767 w 2951358"/>
              <a:gd name="connsiteY241" fmla="*/ 170051 h 2269546"/>
              <a:gd name="connsiteX242" fmla="*/ 1546541 w 2951358"/>
              <a:gd name="connsiteY242" fmla="*/ 183321 h 2269546"/>
              <a:gd name="connsiteX243" fmla="*/ 1518675 w 2951358"/>
              <a:gd name="connsiteY243" fmla="*/ 199908 h 2269546"/>
              <a:gd name="connsiteX244" fmla="*/ 1524481 w 2951358"/>
              <a:gd name="connsiteY244" fmla="*/ 236730 h 2269546"/>
              <a:gd name="connsiteX245" fmla="*/ 1506733 w 2951358"/>
              <a:gd name="connsiteY245" fmla="*/ 253317 h 2269546"/>
              <a:gd name="connsiteX246" fmla="*/ 1496781 w 2951358"/>
              <a:gd name="connsiteY246" fmla="*/ 271065 h 2269546"/>
              <a:gd name="connsiteX247" fmla="*/ 1674757 w 2951358"/>
              <a:gd name="connsiteY247" fmla="*/ 124438 h 2269546"/>
              <a:gd name="connsiteX248" fmla="*/ 1693832 w 2951358"/>
              <a:gd name="connsiteY248" fmla="*/ 128750 h 2269546"/>
              <a:gd name="connsiteX249" fmla="*/ 1707102 w 2951358"/>
              <a:gd name="connsiteY249" fmla="*/ 142020 h 2269546"/>
              <a:gd name="connsiteX250" fmla="*/ 1696818 w 2951358"/>
              <a:gd name="connsiteY250" fmla="*/ 164246 h 2269546"/>
              <a:gd name="connsiteX251" fmla="*/ 1727669 w 2951358"/>
              <a:gd name="connsiteY251" fmla="*/ 184814 h 2269546"/>
              <a:gd name="connsiteX252" fmla="*/ 1811765 w 2951358"/>
              <a:gd name="connsiteY252" fmla="*/ 187799 h 2269546"/>
              <a:gd name="connsiteX253" fmla="*/ 1822048 w 2951358"/>
              <a:gd name="connsiteY253" fmla="*/ 204386 h 2269546"/>
              <a:gd name="connsiteX254" fmla="*/ 1916427 w 2951358"/>
              <a:gd name="connsiteY254" fmla="*/ 211684 h 2269546"/>
              <a:gd name="connsiteX255" fmla="*/ 1951757 w 2951358"/>
              <a:gd name="connsiteY255" fmla="*/ 207206 h 2269546"/>
              <a:gd name="connsiteX256" fmla="*/ 2057913 w 2951358"/>
              <a:gd name="connsiteY256" fmla="*/ 174032 h 2269546"/>
              <a:gd name="connsiteX257" fmla="*/ 2057913 w 2951358"/>
              <a:gd name="connsiteY257" fmla="*/ 202064 h 2269546"/>
              <a:gd name="connsiteX258" fmla="*/ 1948772 w 2951358"/>
              <a:gd name="connsiteY258" fmla="*/ 225617 h 2269546"/>
              <a:gd name="connsiteX259" fmla="*/ 1990073 w 2951358"/>
              <a:gd name="connsiteY259" fmla="*/ 269904 h 2269546"/>
              <a:gd name="connsiteX260" fmla="*/ 1934175 w 2951358"/>
              <a:gd name="connsiteY260" fmla="*/ 253317 h 2269546"/>
              <a:gd name="connsiteX261" fmla="*/ 1829512 w 2951358"/>
              <a:gd name="connsiteY261" fmla="*/ 229764 h 2269546"/>
              <a:gd name="connsiteX262" fmla="*/ 1830839 w 2951358"/>
              <a:gd name="connsiteY262" fmla="*/ 282842 h 2269546"/>
              <a:gd name="connsiteX263" fmla="*/ 1892874 w 2951358"/>
              <a:gd name="connsiteY263" fmla="*/ 322650 h 2269546"/>
              <a:gd name="connsiteX264" fmla="*/ 1957728 w 2951358"/>
              <a:gd name="connsiteY264" fmla="*/ 362293 h 2269546"/>
              <a:gd name="connsiteX265" fmla="*/ 1867828 w 2951358"/>
              <a:gd name="connsiteY265" fmla="*/ 344711 h 2269546"/>
              <a:gd name="connsiteX266" fmla="*/ 1782240 w 2951358"/>
              <a:gd name="connsiteY266" fmla="*/ 383026 h 2269546"/>
              <a:gd name="connsiteX267" fmla="*/ 1861857 w 2951358"/>
              <a:gd name="connsiteY267" fmla="*/ 384519 h 2269546"/>
              <a:gd name="connsiteX268" fmla="*/ 1854559 w 2951358"/>
              <a:gd name="connsiteY268" fmla="*/ 405087 h 2269546"/>
              <a:gd name="connsiteX269" fmla="*/ 1892874 w 2951358"/>
              <a:gd name="connsiteY269" fmla="*/ 449374 h 2269546"/>
              <a:gd name="connsiteX270" fmla="*/ 1848587 w 2951358"/>
              <a:gd name="connsiteY270" fmla="*/ 444895 h 2269546"/>
              <a:gd name="connsiteX271" fmla="*/ 1791197 w 2951358"/>
              <a:gd name="connsiteY271" fmla="*/ 415371 h 2269546"/>
              <a:gd name="connsiteX272" fmla="*/ 1786718 w 2951358"/>
              <a:gd name="connsiteY272" fmla="*/ 448544 h 2269546"/>
              <a:gd name="connsiteX273" fmla="*/ 1785226 w 2951358"/>
              <a:gd name="connsiteY273" fmla="*/ 469112 h 2269546"/>
              <a:gd name="connsiteX274" fmla="*/ 1717385 w 2951358"/>
              <a:gd name="connsiteY274" fmla="*/ 502286 h 2269546"/>
              <a:gd name="connsiteX275" fmla="*/ 1826527 w 2951358"/>
              <a:gd name="connsiteY275" fmla="*/ 514062 h 2269546"/>
              <a:gd name="connsiteX276" fmla="*/ 1885410 w 2951358"/>
              <a:gd name="connsiteY276" fmla="*/ 517048 h 2269546"/>
              <a:gd name="connsiteX277" fmla="*/ 1953250 w 2951358"/>
              <a:gd name="connsiteY277" fmla="*/ 509584 h 2269546"/>
              <a:gd name="connsiteX278" fmla="*/ 2003011 w 2951358"/>
              <a:gd name="connsiteY278" fmla="*/ 526171 h 2269546"/>
              <a:gd name="connsiteX279" fmla="*/ 2056088 w 2951358"/>
              <a:gd name="connsiteY279" fmla="*/ 521692 h 2269546"/>
              <a:gd name="connsiteX280" fmla="*/ 2092911 w 2951358"/>
              <a:gd name="connsiteY280" fmla="*/ 509916 h 2269546"/>
              <a:gd name="connsiteX281" fmla="*/ 2107674 w 2951358"/>
              <a:gd name="connsiteY281" fmla="*/ 480391 h 2269546"/>
              <a:gd name="connsiteX282" fmla="*/ 2067865 w 2951358"/>
              <a:gd name="connsiteY282" fmla="*/ 480391 h 2269546"/>
              <a:gd name="connsiteX283" fmla="*/ 1998532 w 2951358"/>
              <a:gd name="connsiteY283" fmla="*/ 467122 h 2269546"/>
              <a:gd name="connsiteX284" fmla="*/ 2000025 w 2951358"/>
              <a:gd name="connsiteY284" fmla="*/ 448047 h 2269546"/>
              <a:gd name="connsiteX285" fmla="*/ 2087106 w 2951358"/>
              <a:gd name="connsiteY285" fmla="*/ 445061 h 2269546"/>
              <a:gd name="connsiteX286" fmla="*/ 2092911 w 2951358"/>
              <a:gd name="connsiteY286" fmla="*/ 412717 h 2269546"/>
              <a:gd name="connsiteX287" fmla="*/ 2154780 w 2951358"/>
              <a:gd name="connsiteY287" fmla="*/ 408238 h 2269546"/>
              <a:gd name="connsiteX288" fmla="*/ 2221127 w 2951358"/>
              <a:gd name="connsiteY288" fmla="*/ 340398 h 2269546"/>
              <a:gd name="connsiteX289" fmla="*/ 2132720 w 2951358"/>
              <a:gd name="connsiteY289" fmla="*/ 321323 h 2269546"/>
              <a:gd name="connsiteX290" fmla="*/ 2207858 w 2951358"/>
              <a:gd name="connsiteY290" fmla="*/ 302083 h 2269546"/>
              <a:gd name="connsiteX291" fmla="*/ 2249159 w 2951358"/>
              <a:gd name="connsiteY291" fmla="*/ 271231 h 2269546"/>
              <a:gd name="connsiteX292" fmla="*/ 2314014 w 2951358"/>
              <a:gd name="connsiteY292" fmla="*/ 275544 h 2269546"/>
              <a:gd name="connsiteX293" fmla="*/ 2342046 w 2951358"/>
              <a:gd name="connsiteY293" fmla="*/ 246019 h 2269546"/>
              <a:gd name="connsiteX294" fmla="*/ 2446708 w 2951358"/>
              <a:gd name="connsiteY294" fmla="*/ 191614 h 2269546"/>
              <a:gd name="connsiteX295" fmla="*/ 2557177 w 2951358"/>
              <a:gd name="connsiteY295" fmla="*/ 144342 h 2269546"/>
              <a:gd name="connsiteX296" fmla="*/ 2457656 w 2951358"/>
              <a:gd name="connsiteY296" fmla="*/ 138536 h 2269546"/>
              <a:gd name="connsiteX297" fmla="*/ 2535780 w 2951358"/>
              <a:gd name="connsiteY297" fmla="*/ 120789 h 2269546"/>
              <a:gd name="connsiteX298" fmla="*/ 2637457 w 2951358"/>
              <a:gd name="connsiteY298" fmla="*/ 91264 h 2269546"/>
              <a:gd name="connsiteX299" fmla="*/ 2646248 w 2951358"/>
              <a:gd name="connsiteY299" fmla="*/ 58090 h 2269546"/>
              <a:gd name="connsiteX300" fmla="*/ 2594663 w 2951358"/>
              <a:gd name="connsiteY300" fmla="*/ 37523 h 2269546"/>
              <a:gd name="connsiteX301" fmla="*/ 2556347 w 2951358"/>
              <a:gd name="connsiteY301" fmla="*/ 27073 h 2269546"/>
              <a:gd name="connsiteX302" fmla="*/ 2481209 w 2951358"/>
              <a:gd name="connsiteY302" fmla="*/ 37523 h 2269546"/>
              <a:gd name="connsiteX303" fmla="*/ 2494478 w 2951358"/>
              <a:gd name="connsiteY303" fmla="*/ 16789 h 2269546"/>
              <a:gd name="connsiteX304" fmla="*/ 2378371 w 2951358"/>
              <a:gd name="connsiteY304" fmla="*/ 3520 h 2269546"/>
              <a:gd name="connsiteX305" fmla="*/ 2319487 w 2951358"/>
              <a:gd name="connsiteY305" fmla="*/ 7998 h 2269546"/>
              <a:gd name="connsiteX306" fmla="*/ 2261931 w 2951358"/>
              <a:gd name="connsiteY306" fmla="*/ 18282 h 2269546"/>
              <a:gd name="connsiteX307" fmla="*/ 2236885 w 2951358"/>
              <a:gd name="connsiteY307" fmla="*/ 16789 h 2269546"/>
              <a:gd name="connsiteX308" fmla="*/ 2153951 w 2951358"/>
              <a:gd name="connsiteY308" fmla="*/ 13803 h 2269546"/>
              <a:gd name="connsiteX309" fmla="*/ 2102366 w 2951358"/>
              <a:gd name="connsiteY309" fmla="*/ 24253 h 2269546"/>
              <a:gd name="connsiteX310" fmla="*/ 2041990 w 2951358"/>
              <a:gd name="connsiteY310" fmla="*/ 21268 h 2269546"/>
              <a:gd name="connsiteX311" fmla="*/ 2024242 w 2951358"/>
              <a:gd name="connsiteY311" fmla="*/ 30059 h 2269546"/>
              <a:gd name="connsiteX312" fmla="*/ 2003674 w 2951358"/>
              <a:gd name="connsiteY312" fmla="*/ 46645 h 2269546"/>
              <a:gd name="connsiteX313" fmla="*/ 1949103 w 2951358"/>
              <a:gd name="connsiteY313" fmla="*/ 58422 h 2269546"/>
              <a:gd name="connsiteX314" fmla="*/ 1909295 w 2951358"/>
              <a:gd name="connsiteY314" fmla="*/ 68706 h 2269546"/>
              <a:gd name="connsiteX315" fmla="*/ 1851905 w 2951358"/>
              <a:gd name="connsiteY315" fmla="*/ 62900 h 2269546"/>
              <a:gd name="connsiteX316" fmla="*/ 1818731 w 2951358"/>
              <a:gd name="connsiteY316" fmla="*/ 81975 h 2269546"/>
              <a:gd name="connsiteX317" fmla="*/ 1796670 w 2951358"/>
              <a:gd name="connsiteY317" fmla="*/ 98562 h 2269546"/>
              <a:gd name="connsiteX318" fmla="*/ 1745085 w 2951358"/>
              <a:gd name="connsiteY318" fmla="*/ 91098 h 2269546"/>
              <a:gd name="connsiteX319" fmla="*/ 1718546 w 2951358"/>
              <a:gd name="connsiteY319" fmla="*/ 111832 h 2269546"/>
              <a:gd name="connsiteX320" fmla="*/ 1647887 w 2951358"/>
              <a:gd name="connsiteY320" fmla="*/ 117637 h 2269546"/>
              <a:gd name="connsiteX321" fmla="*/ 1675255 w 2951358"/>
              <a:gd name="connsiteY321" fmla="*/ 124603 h 2269546"/>
              <a:gd name="connsiteX322" fmla="*/ 2046136 w 2951358"/>
              <a:gd name="connsiteY322" fmla="*/ 1396316 h 2269546"/>
              <a:gd name="connsiteX323" fmla="*/ 2050449 w 2951358"/>
              <a:gd name="connsiteY323" fmla="*/ 1359493 h 2269546"/>
              <a:gd name="connsiteX324" fmla="*/ 2046634 w 2951358"/>
              <a:gd name="connsiteY324" fmla="*/ 1396482 h 2269546"/>
              <a:gd name="connsiteX325" fmla="*/ 1916427 w 2951358"/>
              <a:gd name="connsiteY325" fmla="*/ 1363972 h 2269546"/>
              <a:gd name="connsiteX326" fmla="*/ 1972491 w 2951358"/>
              <a:gd name="connsiteY326" fmla="*/ 1327149 h 2269546"/>
              <a:gd name="connsiteX327" fmla="*/ 1916925 w 2951358"/>
              <a:gd name="connsiteY327" fmla="*/ 1364137 h 2269546"/>
              <a:gd name="connsiteX328" fmla="*/ 2022583 w 2951358"/>
              <a:gd name="connsiteY328" fmla="*/ 1282862 h 2269546"/>
              <a:gd name="connsiteX329" fmla="*/ 1976803 w 2951358"/>
              <a:gd name="connsiteY329" fmla="*/ 1246039 h 2269546"/>
              <a:gd name="connsiteX330" fmla="*/ 1911949 w 2951358"/>
              <a:gd name="connsiteY330" fmla="*/ 1207724 h 2269546"/>
              <a:gd name="connsiteX331" fmla="*/ 1870648 w 2951358"/>
              <a:gd name="connsiteY331" fmla="*/ 1176872 h 2269546"/>
              <a:gd name="connsiteX332" fmla="*/ 1833825 w 2951358"/>
              <a:gd name="connsiteY332" fmla="*/ 1198933 h 2269546"/>
              <a:gd name="connsiteX333" fmla="*/ 1825034 w 2951358"/>
              <a:gd name="connsiteY333" fmla="*/ 1244546 h 2269546"/>
              <a:gd name="connsiteX334" fmla="*/ 1797002 w 2951358"/>
              <a:gd name="connsiteY334" fmla="*/ 1288833 h 2269546"/>
              <a:gd name="connsiteX335" fmla="*/ 1838303 w 2951358"/>
              <a:gd name="connsiteY335" fmla="*/ 1287341 h 2269546"/>
              <a:gd name="connsiteX336" fmla="*/ 1856051 w 2951358"/>
              <a:gd name="connsiteY336" fmla="*/ 1313879 h 2269546"/>
              <a:gd name="connsiteX337" fmla="*/ 1911949 w 2951358"/>
              <a:gd name="connsiteY337" fmla="*/ 1282862 h 2269546"/>
              <a:gd name="connsiteX338" fmla="*/ 1954743 w 2951358"/>
              <a:gd name="connsiteY338" fmla="*/ 1281369 h 2269546"/>
              <a:gd name="connsiteX339" fmla="*/ 2023081 w 2951358"/>
              <a:gd name="connsiteY339" fmla="*/ 1282862 h 2269546"/>
              <a:gd name="connsiteX340" fmla="*/ 2503601 w 2951358"/>
              <a:gd name="connsiteY340" fmla="*/ 1153153 h 2269546"/>
              <a:gd name="connsiteX341" fmla="*/ 2552366 w 2951358"/>
              <a:gd name="connsiteY341" fmla="*/ 1200425 h 2269546"/>
              <a:gd name="connsiteX342" fmla="*/ 2587696 w 2951358"/>
              <a:gd name="connsiteY342" fmla="*/ 1191469 h 2269546"/>
              <a:gd name="connsiteX343" fmla="*/ 2620870 w 2951358"/>
              <a:gd name="connsiteY343" fmla="*/ 1172394 h 2269546"/>
              <a:gd name="connsiteX344" fmla="*/ 2663664 w 2951358"/>
              <a:gd name="connsiteY344" fmla="*/ 1129600 h 2269546"/>
              <a:gd name="connsiteX345" fmla="*/ 2625348 w 2951358"/>
              <a:gd name="connsiteY345" fmla="*/ 1106046 h 2269546"/>
              <a:gd name="connsiteX346" fmla="*/ 2597698 w 2951358"/>
              <a:gd name="connsiteY346" fmla="*/ 1087884 h 2269546"/>
              <a:gd name="connsiteX347" fmla="*/ 2597317 w 2951358"/>
              <a:gd name="connsiteY347" fmla="*/ 1081000 h 2269546"/>
              <a:gd name="connsiteX348" fmla="*/ 2538434 w 2951358"/>
              <a:gd name="connsiteY348" fmla="*/ 1049983 h 2269546"/>
              <a:gd name="connsiteX349" fmla="*/ 2479385 w 2951358"/>
              <a:gd name="connsiteY349" fmla="*/ 1029415 h 2269546"/>
              <a:gd name="connsiteX350" fmla="*/ 2435263 w 2951358"/>
              <a:gd name="connsiteY350" fmla="*/ 992592 h 2269546"/>
              <a:gd name="connsiteX351" fmla="*/ 2480877 w 2951358"/>
              <a:gd name="connsiteY351" fmla="*/ 982309 h 2269546"/>
              <a:gd name="connsiteX352" fmla="*/ 2442562 w 2951358"/>
              <a:gd name="connsiteY352" fmla="*/ 963068 h 2269546"/>
              <a:gd name="connsiteX353" fmla="*/ 2461803 w 2951358"/>
              <a:gd name="connsiteY353" fmla="*/ 948306 h 2269546"/>
              <a:gd name="connsiteX354" fmla="*/ 2444054 w 2951358"/>
              <a:gd name="connsiteY354" fmla="*/ 920274 h 2269546"/>
              <a:gd name="connsiteX355" fmla="*/ 2420501 w 2951358"/>
              <a:gd name="connsiteY355" fmla="*/ 932051 h 2269546"/>
              <a:gd name="connsiteX356" fmla="*/ 2426306 w 2951358"/>
              <a:gd name="connsiteY356" fmla="*/ 905512 h 2269546"/>
              <a:gd name="connsiteX357" fmla="*/ 2374722 w 2951358"/>
              <a:gd name="connsiteY357" fmla="*/ 888925 h 2269546"/>
              <a:gd name="connsiteX358" fmla="*/ 2351168 w 2951358"/>
              <a:gd name="connsiteY358" fmla="*/ 872338 h 2269546"/>
              <a:gd name="connsiteX359" fmla="*/ 2308374 w 2951358"/>
              <a:gd name="connsiteY359" fmla="*/ 881129 h 2269546"/>
              <a:gd name="connsiteX360" fmla="*/ 2296598 w 2951358"/>
              <a:gd name="connsiteY360" fmla="*/ 870845 h 2269546"/>
              <a:gd name="connsiteX361" fmla="*/ 2324629 w 2951358"/>
              <a:gd name="connsiteY361" fmla="*/ 844306 h 2269546"/>
              <a:gd name="connsiteX362" fmla="*/ 2274869 w 2951358"/>
              <a:gd name="connsiteY362" fmla="*/ 845799 h 2269546"/>
              <a:gd name="connsiteX363" fmla="*/ 2236553 w 2951358"/>
              <a:gd name="connsiteY363" fmla="*/ 814782 h 2269546"/>
              <a:gd name="connsiteX364" fmla="*/ 2195252 w 2951358"/>
              <a:gd name="connsiteY364" fmla="*/ 791228 h 2269546"/>
              <a:gd name="connsiteX365" fmla="*/ 2124592 w 2951358"/>
              <a:gd name="connsiteY365" fmla="*/ 763197 h 2269546"/>
              <a:gd name="connsiteX366" fmla="*/ 2087769 w 2951358"/>
              <a:gd name="connsiteY366" fmla="*/ 791228 h 2269546"/>
              <a:gd name="connsiteX367" fmla="*/ 2067036 w 2951358"/>
              <a:gd name="connsiteY367" fmla="*/ 783930 h 2269546"/>
              <a:gd name="connsiteX368" fmla="*/ 2012465 w 2951358"/>
              <a:gd name="connsiteY368" fmla="*/ 801512 h 2269546"/>
              <a:gd name="connsiteX369" fmla="*/ 2013958 w 2951358"/>
              <a:gd name="connsiteY369" fmla="*/ 745615 h 2269546"/>
              <a:gd name="connsiteX370" fmla="*/ 1990405 w 2951358"/>
              <a:gd name="connsiteY370" fmla="*/ 705806 h 2269546"/>
              <a:gd name="connsiteX371" fmla="*/ 1925550 w 2951358"/>
              <a:gd name="connsiteY371" fmla="*/ 705806 h 2269546"/>
              <a:gd name="connsiteX372" fmla="*/ 1854890 w 2951358"/>
              <a:gd name="connsiteY372" fmla="*/ 733838 h 2269546"/>
              <a:gd name="connsiteX373" fmla="*/ 1865174 w 2951358"/>
              <a:gd name="connsiteY373" fmla="*/ 782437 h 2269546"/>
              <a:gd name="connsiteX374" fmla="*/ 1847426 w 2951358"/>
              <a:gd name="connsiteY374" fmla="*/ 813289 h 2269546"/>
              <a:gd name="connsiteX375" fmla="*/ 1882756 w 2951358"/>
              <a:gd name="connsiteY375" fmla="*/ 838335 h 2269546"/>
              <a:gd name="connsiteX376" fmla="*/ 1826858 w 2951358"/>
              <a:gd name="connsiteY376" fmla="*/ 816274 h 2269546"/>
              <a:gd name="connsiteX377" fmla="*/ 1819394 w 2951358"/>
              <a:gd name="connsiteY377" fmla="*/ 773646 h 2269546"/>
              <a:gd name="connsiteX378" fmla="*/ 1837142 w 2951358"/>
              <a:gd name="connsiteY378" fmla="*/ 726374 h 2269546"/>
              <a:gd name="connsiteX379" fmla="*/ 1870316 w 2951358"/>
              <a:gd name="connsiteY379" fmla="*/ 697015 h 2269546"/>
              <a:gd name="connsiteX380" fmla="*/ 1739114 w 2951358"/>
              <a:gd name="connsiteY380" fmla="*/ 729359 h 2269546"/>
              <a:gd name="connsiteX381" fmla="*/ 1708263 w 2951358"/>
              <a:gd name="connsiteY381" fmla="*/ 844306 h 2269546"/>
              <a:gd name="connsiteX382" fmla="*/ 1778922 w 2951358"/>
              <a:gd name="connsiteY382" fmla="*/ 857576 h 2269546"/>
              <a:gd name="connsiteX383" fmla="*/ 1771624 w 2951358"/>
              <a:gd name="connsiteY383" fmla="*/ 872338 h 2269546"/>
              <a:gd name="connsiteX384" fmla="*/ 1721864 w 2951358"/>
              <a:gd name="connsiteY384" fmla="*/ 876816 h 2269546"/>
              <a:gd name="connsiteX385" fmla="*/ 1786718 w 2951358"/>
              <a:gd name="connsiteY385" fmla="*/ 909161 h 2269546"/>
              <a:gd name="connsiteX386" fmla="*/ 1819892 w 2951358"/>
              <a:gd name="connsiteY386" fmla="*/ 916625 h 2269546"/>
              <a:gd name="connsiteX387" fmla="*/ 1886239 w 2951358"/>
              <a:gd name="connsiteY387" fmla="*/ 926908 h 2269546"/>
              <a:gd name="connsiteX388" fmla="*/ 1959885 w 2951358"/>
              <a:gd name="connsiteY388" fmla="*/ 940178 h 2269546"/>
              <a:gd name="connsiteX389" fmla="*/ 1993888 w 2951358"/>
              <a:gd name="connsiteY389" fmla="*/ 925416 h 2269546"/>
              <a:gd name="connsiteX390" fmla="*/ 2069026 w 2951358"/>
              <a:gd name="connsiteY390" fmla="*/ 935700 h 2269546"/>
              <a:gd name="connsiteX391" fmla="*/ 2064548 w 2951358"/>
              <a:gd name="connsiteY391" fmla="*/ 915132 h 2269546"/>
              <a:gd name="connsiteX392" fmla="*/ 2072012 w 2951358"/>
              <a:gd name="connsiteY392" fmla="*/ 898545 h 2269546"/>
              <a:gd name="connsiteX393" fmla="*/ 2111820 w 2951358"/>
              <a:gd name="connsiteY393" fmla="*/ 923591 h 2269546"/>
              <a:gd name="connsiteX394" fmla="*/ 2129402 w 2951358"/>
              <a:gd name="connsiteY394" fmla="*/ 940178 h 2269546"/>
              <a:gd name="connsiteX395" fmla="*/ 2179163 w 2951358"/>
              <a:gd name="connsiteY395" fmla="*/ 973352 h 2269546"/>
              <a:gd name="connsiteX396" fmla="*/ 2145989 w 2951358"/>
              <a:gd name="connsiteY396" fmla="*/ 1001383 h 2269546"/>
              <a:gd name="connsiteX397" fmla="*/ 2197574 w 2951358"/>
              <a:gd name="connsiteY397" fmla="*/ 986621 h 2269546"/>
              <a:gd name="connsiteX398" fmla="*/ 2228426 w 2951358"/>
              <a:gd name="connsiteY398" fmla="*/ 1019795 h 2269546"/>
              <a:gd name="connsiteX399" fmla="*/ 2278186 w 2951358"/>
              <a:gd name="connsiteY399" fmla="*/ 1052969 h 2269546"/>
              <a:gd name="connsiteX400" fmla="*/ 2278186 w 2951358"/>
              <a:gd name="connsiteY400" fmla="*/ 1110525 h 2269546"/>
              <a:gd name="connsiteX401" fmla="*/ 2332591 w 2951358"/>
              <a:gd name="connsiteY401" fmla="*/ 1106046 h 2269546"/>
              <a:gd name="connsiteX402" fmla="*/ 2384176 w 2951358"/>
              <a:gd name="connsiteY402" fmla="*/ 1131093 h 2269546"/>
              <a:gd name="connsiteX403" fmla="*/ 2335577 w 2951358"/>
              <a:gd name="connsiteY403" fmla="*/ 1154646 h 2269546"/>
              <a:gd name="connsiteX404" fmla="*/ 2251647 w 2951358"/>
              <a:gd name="connsiteY404" fmla="*/ 1123794 h 2269546"/>
              <a:gd name="connsiteX405" fmla="*/ 2242690 w 2951358"/>
              <a:gd name="connsiteY405" fmla="*/ 1179692 h 2269546"/>
              <a:gd name="connsiteX406" fmla="*/ 2164566 w 2951358"/>
              <a:gd name="connsiteY406" fmla="*/ 1196279 h 2269546"/>
              <a:gd name="connsiteX407" fmla="*/ 2120446 w 2951358"/>
              <a:gd name="connsiteY407" fmla="*/ 1205070 h 2269546"/>
              <a:gd name="connsiteX408" fmla="*/ 2101205 w 2951358"/>
              <a:gd name="connsiteY408" fmla="*/ 1246371 h 2269546"/>
              <a:gd name="connsiteX409" fmla="*/ 2175016 w 2951358"/>
              <a:gd name="connsiteY409" fmla="*/ 1249357 h 2269546"/>
              <a:gd name="connsiteX410" fmla="*/ 2208190 w 2951358"/>
              <a:gd name="connsiteY410" fmla="*/ 1243385 h 2269546"/>
              <a:gd name="connsiteX411" fmla="*/ 2257950 w 2951358"/>
              <a:gd name="connsiteY411" fmla="*/ 1240566 h 2269546"/>
              <a:gd name="connsiteX412" fmla="*/ 2296266 w 2951358"/>
              <a:gd name="connsiteY412" fmla="*/ 1273739 h 2269546"/>
              <a:gd name="connsiteX413" fmla="*/ 2315507 w 2951358"/>
              <a:gd name="connsiteY413" fmla="*/ 1316533 h 2269546"/>
              <a:gd name="connsiteX414" fmla="*/ 2395123 w 2951358"/>
              <a:gd name="connsiteY414" fmla="*/ 1341579 h 2269546"/>
              <a:gd name="connsiteX415" fmla="*/ 2498293 w 2951358"/>
              <a:gd name="connsiteY415" fmla="*/ 1381388 h 2269546"/>
              <a:gd name="connsiteX416" fmla="*/ 2411213 w 2951358"/>
              <a:gd name="connsiteY416" fmla="*/ 1292814 h 2269546"/>
              <a:gd name="connsiteX417" fmla="*/ 2460973 w 2951358"/>
              <a:gd name="connsiteY417" fmla="*/ 1301771 h 2269546"/>
              <a:gd name="connsiteX418" fmla="*/ 2550874 w 2951358"/>
              <a:gd name="connsiteY418" fmla="*/ 1307576 h 2269546"/>
              <a:gd name="connsiteX419" fmla="*/ 2533126 w 2951358"/>
              <a:gd name="connsiteY419" fmla="*/ 1269261 h 2269546"/>
              <a:gd name="connsiteX420" fmla="*/ 2499952 w 2951358"/>
              <a:gd name="connsiteY420" fmla="*/ 1223647 h 2269546"/>
              <a:gd name="connsiteX421" fmla="*/ 2445381 w 2951358"/>
              <a:gd name="connsiteY421" fmla="*/ 1173886 h 2269546"/>
              <a:gd name="connsiteX422" fmla="*/ 2454172 w 2951358"/>
              <a:gd name="connsiteY422" fmla="*/ 1137064 h 2269546"/>
              <a:gd name="connsiteX423" fmla="*/ 2504928 w 2951358"/>
              <a:gd name="connsiteY423" fmla="*/ 1153319 h 2269546"/>
              <a:gd name="connsiteX424" fmla="*/ 2192598 w 2951358"/>
              <a:gd name="connsiteY424" fmla="*/ 1082493 h 2269546"/>
              <a:gd name="connsiteX425" fmla="*/ 2197077 w 2951358"/>
              <a:gd name="connsiteY425" fmla="*/ 1038206 h 2269546"/>
              <a:gd name="connsiteX426" fmla="*/ 2154283 w 2951358"/>
              <a:gd name="connsiteY426" fmla="*/ 1027922 h 2269546"/>
              <a:gd name="connsiteX427" fmla="*/ 2124924 w 2951358"/>
              <a:gd name="connsiteY427" fmla="*/ 1079508 h 2269546"/>
              <a:gd name="connsiteX428" fmla="*/ 2193925 w 2951358"/>
              <a:gd name="connsiteY428" fmla="*/ 1082659 h 2269546"/>
              <a:gd name="connsiteX429" fmla="*/ 2008484 w 2951358"/>
              <a:gd name="connsiteY429" fmla="*/ 699171 h 2269546"/>
              <a:gd name="connsiteX430" fmla="*/ 2029052 w 2951358"/>
              <a:gd name="connsiteY430" fmla="*/ 740473 h 2269546"/>
              <a:gd name="connsiteX431" fmla="*/ 2078812 w 2951358"/>
              <a:gd name="connsiteY431" fmla="*/ 757059 h 2269546"/>
              <a:gd name="connsiteX432" fmla="*/ 2158429 w 2951358"/>
              <a:gd name="connsiteY432" fmla="*/ 743790 h 2269546"/>
              <a:gd name="connsiteX433" fmla="*/ 2074500 w 2951358"/>
              <a:gd name="connsiteY433" fmla="*/ 702489 h 2269546"/>
              <a:gd name="connsiteX434" fmla="*/ 2009811 w 2951358"/>
              <a:gd name="connsiteY434" fmla="*/ 699337 h 2269546"/>
              <a:gd name="connsiteX435" fmla="*/ 2561157 w 2951358"/>
              <a:gd name="connsiteY435" fmla="*/ 1953634 h 2269546"/>
              <a:gd name="connsiteX436" fmla="*/ 2652551 w 2951358"/>
              <a:gd name="connsiteY436" fmla="*/ 1984485 h 2269546"/>
              <a:gd name="connsiteX437" fmla="*/ 2562484 w 2951358"/>
              <a:gd name="connsiteY437" fmla="*/ 1953799 h 2269546"/>
              <a:gd name="connsiteX438" fmla="*/ 2935025 w 2951358"/>
              <a:gd name="connsiteY438" fmla="*/ 2041544 h 2269546"/>
              <a:gd name="connsiteX439" fmla="*/ 2933034 w 2951358"/>
              <a:gd name="connsiteY439" fmla="*/ 2023796 h 2269546"/>
              <a:gd name="connsiteX440" fmla="*/ 2919267 w 2951358"/>
              <a:gd name="connsiteY440" fmla="*/ 2016000 h 2269546"/>
              <a:gd name="connsiteX441" fmla="*/ 2921258 w 2951358"/>
              <a:gd name="connsiteY441" fmla="*/ 1982826 h 2269546"/>
              <a:gd name="connsiteX442" fmla="*/ 2894719 w 2951358"/>
              <a:gd name="connsiteY442" fmla="*/ 1976026 h 2269546"/>
              <a:gd name="connsiteX443" fmla="*/ 2865194 w 2951358"/>
              <a:gd name="connsiteY443" fmla="*/ 1970054 h 2269546"/>
              <a:gd name="connsiteX444" fmla="*/ 2850598 w 2951358"/>
              <a:gd name="connsiteY444" fmla="*/ 1950482 h 2269546"/>
              <a:gd name="connsiteX445" fmla="*/ 2825054 w 2951358"/>
              <a:gd name="connsiteY445" fmla="*/ 1951477 h 2269546"/>
              <a:gd name="connsiteX446" fmla="*/ 2827874 w 2951358"/>
              <a:gd name="connsiteY446" fmla="*/ 1927924 h 2269546"/>
              <a:gd name="connsiteX447" fmla="*/ 2851593 w 2951358"/>
              <a:gd name="connsiteY447" fmla="*/ 1890438 h 2269546"/>
              <a:gd name="connsiteX448" fmla="*/ 2835006 w 2951358"/>
              <a:gd name="connsiteY448" fmla="*/ 1879656 h 2269546"/>
              <a:gd name="connsiteX449" fmla="*/ 2780933 w 2951358"/>
              <a:gd name="connsiteY449" fmla="*/ 1954297 h 2269546"/>
              <a:gd name="connsiteX450" fmla="*/ 2766171 w 2951358"/>
              <a:gd name="connsiteY450" fmla="*/ 1985812 h 2269546"/>
              <a:gd name="connsiteX451" fmla="*/ 2747594 w 2951358"/>
              <a:gd name="connsiteY451" fmla="*/ 2005384 h 2269546"/>
              <a:gd name="connsiteX452" fmla="*/ 2737641 w 2951358"/>
              <a:gd name="connsiteY452" fmla="*/ 2045690 h 2269546"/>
              <a:gd name="connsiteX453" fmla="*/ 2788729 w 2951358"/>
              <a:gd name="connsiteY453" fmla="*/ 2044695 h 2269546"/>
              <a:gd name="connsiteX454" fmla="*/ 2836001 w 2951358"/>
              <a:gd name="connsiteY454" fmla="*/ 2036899 h 2269546"/>
              <a:gd name="connsiteX455" fmla="*/ 2866355 w 2951358"/>
              <a:gd name="connsiteY455" fmla="*/ 2044695 h 2269546"/>
              <a:gd name="connsiteX456" fmla="*/ 2858559 w 2951358"/>
              <a:gd name="connsiteY456" fmla="*/ 2068414 h 2269546"/>
              <a:gd name="connsiteX457" fmla="*/ 2887089 w 2951358"/>
              <a:gd name="connsiteY457" fmla="*/ 2056638 h 2269546"/>
              <a:gd name="connsiteX458" fmla="*/ 2907656 w 2951358"/>
              <a:gd name="connsiteY458" fmla="*/ 2066424 h 2269546"/>
              <a:gd name="connsiteX459" fmla="*/ 2948958 w 2951358"/>
              <a:gd name="connsiteY459" fmla="*/ 2070239 h 2269546"/>
              <a:gd name="connsiteX460" fmla="*/ 2936351 w 2951358"/>
              <a:gd name="connsiteY460" fmla="*/ 2041710 h 2269546"/>
              <a:gd name="connsiteX461" fmla="*/ 272341 w 2951358"/>
              <a:gd name="connsiteY461" fmla="*/ 1770847 h 2269546"/>
              <a:gd name="connsiteX462" fmla="*/ 322101 w 2951358"/>
              <a:gd name="connsiteY462" fmla="*/ 1843829 h 2269546"/>
              <a:gd name="connsiteX463" fmla="*/ 305514 w 2951358"/>
              <a:gd name="connsiteY463" fmla="*/ 1792409 h 2269546"/>
              <a:gd name="connsiteX464" fmla="*/ 272341 w 2951358"/>
              <a:gd name="connsiteY464" fmla="*/ 1770847 h 2269546"/>
              <a:gd name="connsiteX465" fmla="*/ 2701150 w 2951358"/>
              <a:gd name="connsiteY465" fmla="*/ 2107062 h 2269546"/>
              <a:gd name="connsiteX466" fmla="*/ 2701150 w 2951358"/>
              <a:gd name="connsiteY466" fmla="*/ 2084172 h 2269546"/>
              <a:gd name="connsiteX467" fmla="*/ 2678260 w 2951358"/>
              <a:gd name="connsiteY467" fmla="*/ 2097441 h 2269546"/>
              <a:gd name="connsiteX468" fmla="*/ 2661674 w 2951358"/>
              <a:gd name="connsiteY468" fmla="*/ 2116516 h 2269546"/>
              <a:gd name="connsiteX469" fmla="*/ 2647575 w 2951358"/>
              <a:gd name="connsiteY469" fmla="*/ 2130615 h 2269546"/>
              <a:gd name="connsiteX470" fmla="*/ 2588692 w 2951358"/>
              <a:gd name="connsiteY470" fmla="*/ 2120331 h 2269546"/>
              <a:gd name="connsiteX471" fmla="*/ 2552532 w 2951358"/>
              <a:gd name="connsiteY471" fmla="*/ 2090807 h 2269546"/>
              <a:gd name="connsiteX472" fmla="*/ 2548220 w 2951358"/>
              <a:gd name="connsiteY472" fmla="*/ 2057633 h 2269546"/>
              <a:gd name="connsiteX473" fmla="*/ 2533457 w 2951358"/>
              <a:gd name="connsiteY473" fmla="*/ 2046520 h 2269546"/>
              <a:gd name="connsiteX474" fmla="*/ 2530472 w 2951358"/>
              <a:gd name="connsiteY474" fmla="*/ 2033250 h 2269546"/>
              <a:gd name="connsiteX475" fmla="*/ 2563646 w 2951358"/>
              <a:gd name="connsiteY475" fmla="*/ 1990456 h 2269546"/>
              <a:gd name="connsiteX476" fmla="*/ 2419838 w 2951358"/>
              <a:gd name="connsiteY476" fmla="*/ 2014010 h 2269546"/>
              <a:gd name="connsiteX477" fmla="*/ 2347685 w 2951358"/>
              <a:gd name="connsiteY477" fmla="*/ 2076044 h 2269546"/>
              <a:gd name="connsiteX478" fmla="*/ 2377873 w 2951358"/>
              <a:gd name="connsiteY478" fmla="*/ 2041378 h 2269546"/>
              <a:gd name="connsiteX479" fmla="*/ 2384508 w 2951358"/>
              <a:gd name="connsiteY479" fmla="*/ 2025786 h 2269546"/>
              <a:gd name="connsiteX480" fmla="*/ 2430951 w 2951358"/>
              <a:gd name="connsiteY480" fmla="*/ 1982329 h 2269546"/>
              <a:gd name="connsiteX481" fmla="*/ 2465617 w 2951358"/>
              <a:gd name="connsiteY481" fmla="*/ 1972045 h 2269546"/>
              <a:gd name="connsiteX482" fmla="*/ 2489834 w 2951358"/>
              <a:gd name="connsiteY482" fmla="*/ 1942686 h 2269546"/>
              <a:gd name="connsiteX483" fmla="*/ 2697667 w 2951358"/>
              <a:gd name="connsiteY483" fmla="*/ 1932236 h 2269546"/>
              <a:gd name="connsiteX484" fmla="*/ 2757380 w 2951358"/>
              <a:gd name="connsiteY484" fmla="*/ 1895414 h 2269546"/>
              <a:gd name="connsiteX485" fmla="*/ 2803159 w 2951358"/>
              <a:gd name="connsiteY485" fmla="*/ 1882144 h 2269546"/>
              <a:gd name="connsiteX486" fmla="*/ 2849437 w 2951358"/>
              <a:gd name="connsiteY486" fmla="*/ 1854113 h 2269546"/>
              <a:gd name="connsiteX487" fmla="*/ 2846617 w 2951358"/>
              <a:gd name="connsiteY487" fmla="*/ 1840180 h 2269546"/>
              <a:gd name="connsiteX488" fmla="*/ 2836997 w 2951358"/>
              <a:gd name="connsiteY488" fmla="*/ 1830559 h 2269546"/>
              <a:gd name="connsiteX489" fmla="*/ 2856901 w 2951358"/>
              <a:gd name="connsiteY489" fmla="*/ 1810655 h 2269546"/>
              <a:gd name="connsiteX490" fmla="*/ 2839153 w 2951358"/>
              <a:gd name="connsiteY490" fmla="*/ 1784945 h 2269546"/>
              <a:gd name="connsiteX491" fmla="*/ 2803823 w 2951358"/>
              <a:gd name="connsiteY491" fmla="*/ 1789258 h 2269546"/>
              <a:gd name="connsiteX492" fmla="*/ 2801666 w 2951358"/>
              <a:gd name="connsiteY492" fmla="*/ 1762719 h 2269546"/>
              <a:gd name="connsiteX493" fmla="*/ 2750081 w 2951358"/>
              <a:gd name="connsiteY493" fmla="*/ 1775325 h 2269546"/>
              <a:gd name="connsiteX494" fmla="*/ 2718401 w 2951358"/>
              <a:gd name="connsiteY494" fmla="*/ 1789258 h 2269546"/>
              <a:gd name="connsiteX495" fmla="*/ 2710273 w 2951358"/>
              <a:gd name="connsiteY495" fmla="*/ 1775988 h 2269546"/>
              <a:gd name="connsiteX496" fmla="*/ 2729348 w 2951358"/>
              <a:gd name="connsiteY496" fmla="*/ 1768027 h 2269546"/>
              <a:gd name="connsiteX497" fmla="*/ 2759536 w 2951358"/>
              <a:gd name="connsiteY497" fmla="*/ 1756914 h 2269546"/>
              <a:gd name="connsiteX498" fmla="*/ 2796525 w 2951358"/>
              <a:gd name="connsiteY498" fmla="*/ 1742815 h 2269546"/>
              <a:gd name="connsiteX499" fmla="*/ 2772142 w 2951358"/>
              <a:gd name="connsiteY499" fmla="*/ 1727389 h 2269546"/>
              <a:gd name="connsiteX500" fmla="*/ 2734490 w 2951358"/>
              <a:gd name="connsiteY500" fmla="*/ 1712627 h 2269546"/>
              <a:gd name="connsiteX501" fmla="*/ 2714586 w 2951358"/>
              <a:gd name="connsiteY501" fmla="*/ 1708978 h 2269546"/>
              <a:gd name="connsiteX502" fmla="*/ 2691032 w 2951358"/>
              <a:gd name="connsiteY502" fmla="*/ 1692391 h 2269546"/>
              <a:gd name="connsiteX503" fmla="*/ 2634969 w 2951358"/>
              <a:gd name="connsiteY503" fmla="*/ 1649763 h 2269546"/>
              <a:gd name="connsiteX504" fmla="*/ 2638784 w 2951358"/>
              <a:gd name="connsiteY504" fmla="*/ 1640806 h 2269546"/>
              <a:gd name="connsiteX505" fmla="*/ 2665323 w 2951358"/>
              <a:gd name="connsiteY505" fmla="*/ 1626044 h 2269546"/>
              <a:gd name="connsiteX506" fmla="*/ 2652053 w 2951358"/>
              <a:gd name="connsiteY506" fmla="*/ 1611447 h 2269546"/>
              <a:gd name="connsiteX507" fmla="*/ 2647575 w 2951358"/>
              <a:gd name="connsiteY507" fmla="*/ 1593699 h 2269546"/>
              <a:gd name="connsiteX508" fmla="*/ 2626178 w 2951358"/>
              <a:gd name="connsiteY508" fmla="*/ 1569317 h 2269546"/>
              <a:gd name="connsiteX509" fmla="*/ 2613738 w 2951358"/>
              <a:gd name="connsiteY509" fmla="*/ 1550242 h 2269546"/>
              <a:gd name="connsiteX510" fmla="*/ 2601132 w 2951358"/>
              <a:gd name="connsiteY510" fmla="*/ 1525030 h 2269546"/>
              <a:gd name="connsiteX511" fmla="*/ 2578242 w 2951358"/>
              <a:gd name="connsiteY511" fmla="*/ 1488207 h 2269546"/>
              <a:gd name="connsiteX512" fmla="*/ 2561655 w 2951358"/>
              <a:gd name="connsiteY512" fmla="*/ 1458019 h 2269546"/>
              <a:gd name="connsiteX513" fmla="*/ 2546893 w 2951358"/>
              <a:gd name="connsiteY513" fmla="*/ 1469132 h 2269546"/>
              <a:gd name="connsiteX514" fmla="*/ 2531467 w 2951358"/>
              <a:gd name="connsiteY514" fmla="*/ 1492022 h 2269546"/>
              <a:gd name="connsiteX515" fmla="*/ 2526989 w 2951358"/>
              <a:gd name="connsiteY515" fmla="*/ 1511926 h 2269546"/>
              <a:gd name="connsiteX516" fmla="*/ 2520354 w 2951358"/>
              <a:gd name="connsiteY516" fmla="*/ 1530338 h 2269546"/>
              <a:gd name="connsiteX517" fmla="*/ 2508577 w 2951358"/>
              <a:gd name="connsiteY517" fmla="*/ 1542778 h 2269546"/>
              <a:gd name="connsiteX518" fmla="*/ 2495358 w 2951358"/>
              <a:gd name="connsiteY518" fmla="*/ 1536723 h 2269546"/>
              <a:gd name="connsiteX519" fmla="*/ 2488673 w 2951358"/>
              <a:gd name="connsiteY519" fmla="*/ 1545763 h 2269546"/>
              <a:gd name="connsiteX520" fmla="*/ 2455499 w 2951358"/>
              <a:gd name="connsiteY520" fmla="*/ 1564838 h 2269546"/>
              <a:gd name="connsiteX521" fmla="*/ 2437917 w 2951358"/>
              <a:gd name="connsiteY521" fmla="*/ 1550242 h 2269546"/>
              <a:gd name="connsiteX522" fmla="*/ 2418677 w 2951358"/>
              <a:gd name="connsiteY522" fmla="*/ 1533655 h 2269546"/>
              <a:gd name="connsiteX523" fmla="*/ 2401095 w 2951358"/>
              <a:gd name="connsiteY523" fmla="*/ 1521878 h 2269546"/>
              <a:gd name="connsiteX524" fmla="*/ 2387825 w 2951358"/>
              <a:gd name="connsiteY524" fmla="*/ 1498988 h 2269546"/>
              <a:gd name="connsiteX525" fmla="*/ 2384010 w 2951358"/>
              <a:gd name="connsiteY525" fmla="*/ 1461336 h 2269546"/>
              <a:gd name="connsiteX526" fmla="*/ 2395123 w 2951358"/>
              <a:gd name="connsiteY526" fmla="*/ 1433470 h 2269546"/>
              <a:gd name="connsiteX527" fmla="*/ 2377375 w 2951358"/>
              <a:gd name="connsiteY527" fmla="*/ 1431978 h 2269546"/>
              <a:gd name="connsiteX528" fmla="*/ 2358964 w 2951358"/>
              <a:gd name="connsiteY528" fmla="*/ 1424513 h 2269546"/>
              <a:gd name="connsiteX529" fmla="*/ 2319156 w 2951358"/>
              <a:gd name="connsiteY529" fmla="*/ 1410581 h 2269546"/>
              <a:gd name="connsiteX530" fmla="*/ 2303730 w 2951358"/>
              <a:gd name="connsiteY530" fmla="*/ 1391340 h 2269546"/>
              <a:gd name="connsiteX531" fmla="*/ 2287143 w 2951358"/>
              <a:gd name="connsiteY531" fmla="*/ 1379563 h 2269546"/>
              <a:gd name="connsiteX532" fmla="*/ 2273210 w 2951358"/>
              <a:gd name="connsiteY532" fmla="*/ 1366294 h 2269546"/>
              <a:gd name="connsiteX533" fmla="*/ 2249657 w 2951358"/>
              <a:gd name="connsiteY533" fmla="*/ 1354517 h 2269546"/>
              <a:gd name="connsiteX534" fmla="*/ 2216483 w 2951358"/>
              <a:gd name="connsiteY534" fmla="*/ 1365630 h 2269546"/>
              <a:gd name="connsiteX535" fmla="*/ 2186295 w 2951358"/>
              <a:gd name="connsiteY535" fmla="*/ 1360488 h 2269546"/>
              <a:gd name="connsiteX536" fmla="*/ 2159756 w 2951358"/>
              <a:gd name="connsiteY536" fmla="*/ 1351697 h 2269546"/>
              <a:gd name="connsiteX537" fmla="*/ 2115469 w 2951358"/>
              <a:gd name="connsiteY537" fmla="*/ 1351697 h 2269546"/>
              <a:gd name="connsiteX538" fmla="*/ 2101537 w 2951358"/>
              <a:gd name="connsiteY538" fmla="*/ 1375914 h 2269546"/>
              <a:gd name="connsiteX539" fmla="*/ 2122933 w 2951358"/>
              <a:gd name="connsiteY539" fmla="*/ 1398804 h 2269546"/>
              <a:gd name="connsiteX540" fmla="*/ 2114806 w 2951358"/>
              <a:gd name="connsiteY540" fmla="*/ 1415391 h 2269546"/>
              <a:gd name="connsiteX541" fmla="*/ 2104522 w 2951358"/>
              <a:gd name="connsiteY541" fmla="*/ 1430817 h 2269546"/>
              <a:gd name="connsiteX542" fmla="*/ 2114806 w 2951358"/>
              <a:gd name="connsiteY542" fmla="*/ 1449228 h 2269546"/>
              <a:gd name="connsiteX543" fmla="*/ 2128075 w 2951358"/>
              <a:gd name="connsiteY543" fmla="*/ 1479416 h 2269546"/>
              <a:gd name="connsiteX544" fmla="*/ 2114806 w 2951358"/>
              <a:gd name="connsiteY544" fmla="*/ 1496003 h 2269546"/>
              <a:gd name="connsiteX545" fmla="*/ 2105186 w 2951358"/>
              <a:gd name="connsiteY545" fmla="*/ 1518893 h 2269546"/>
              <a:gd name="connsiteX546" fmla="*/ 2094072 w 2951358"/>
              <a:gd name="connsiteY546" fmla="*/ 1550573 h 2269546"/>
              <a:gd name="connsiteX547" fmla="*/ 2143833 w 2951358"/>
              <a:gd name="connsiteY547" fmla="*/ 1590382 h 2269546"/>
              <a:gd name="connsiteX548" fmla="*/ 2151297 w 2951358"/>
              <a:gd name="connsiteY548" fmla="*/ 1663364 h 2269546"/>
              <a:gd name="connsiteX549" fmla="*/ 2104190 w 2951358"/>
              <a:gd name="connsiteY549" fmla="*/ 1709641 h 2269546"/>
              <a:gd name="connsiteX550" fmla="*/ 2057747 w 2951358"/>
              <a:gd name="connsiteY550" fmla="*/ 1726228 h 2269546"/>
              <a:gd name="connsiteX551" fmla="*/ 2066538 w 2951358"/>
              <a:gd name="connsiteY551" fmla="*/ 1758572 h 2269546"/>
              <a:gd name="connsiteX552" fmla="*/ 2075329 w 2951358"/>
              <a:gd name="connsiteY552" fmla="*/ 1791746 h 2269546"/>
              <a:gd name="connsiteX553" fmla="*/ 2084950 w 2951358"/>
              <a:gd name="connsiteY553" fmla="*/ 1831554 h 2269546"/>
              <a:gd name="connsiteX554" fmla="*/ 2077651 w 2951358"/>
              <a:gd name="connsiteY554" fmla="*/ 1859586 h 2269546"/>
              <a:gd name="connsiteX555" fmla="*/ 2082793 w 2951358"/>
              <a:gd name="connsiteY555" fmla="*/ 1876173 h 2269546"/>
              <a:gd name="connsiteX556" fmla="*/ 2068031 w 2951358"/>
              <a:gd name="connsiteY556" fmla="*/ 1874680 h 2269546"/>
              <a:gd name="connsiteX557" fmla="*/ 2049620 w 2951358"/>
              <a:gd name="connsiteY557" fmla="*/ 1895248 h 2269546"/>
              <a:gd name="connsiteX558" fmla="*/ 2021588 w 2951358"/>
              <a:gd name="connsiteY558" fmla="*/ 1884964 h 2269546"/>
              <a:gd name="connsiteX559" fmla="*/ 2009811 w 2951358"/>
              <a:gd name="connsiteY559" fmla="*/ 1862240 h 2269546"/>
              <a:gd name="connsiteX560" fmla="*/ 1986258 w 2951358"/>
              <a:gd name="connsiteY560" fmla="*/ 1839350 h 2269546"/>
              <a:gd name="connsiteX561" fmla="*/ 1963368 w 2951358"/>
              <a:gd name="connsiteY561" fmla="*/ 1809826 h 2269546"/>
              <a:gd name="connsiteX562" fmla="*/ 1961212 w 2951358"/>
              <a:gd name="connsiteY562" fmla="*/ 1759070 h 2269546"/>
              <a:gd name="connsiteX563" fmla="*/ 1964861 w 2951358"/>
              <a:gd name="connsiteY563" fmla="*/ 1732531 h 2269546"/>
              <a:gd name="connsiteX564" fmla="*/ 1946450 w 2951358"/>
              <a:gd name="connsiteY564" fmla="*/ 1711797 h 2269546"/>
              <a:gd name="connsiteX565" fmla="*/ 1896689 w 2951358"/>
              <a:gd name="connsiteY565" fmla="*/ 1708812 h 2269546"/>
              <a:gd name="connsiteX566" fmla="*/ 1862023 w 2951358"/>
              <a:gd name="connsiteY566" fmla="*/ 1702177 h 2269546"/>
              <a:gd name="connsiteX567" fmla="*/ 1816243 w 2951358"/>
              <a:gd name="connsiteY567" fmla="*/ 1680117 h 2269546"/>
              <a:gd name="connsiteX568" fmla="*/ 1780913 w 2951358"/>
              <a:gd name="connsiteY568" fmla="*/ 1655900 h 2269546"/>
              <a:gd name="connsiteX569" fmla="*/ 1750725 w 2951358"/>
              <a:gd name="connsiteY569" fmla="*/ 1637489 h 2269546"/>
              <a:gd name="connsiteX570" fmla="*/ 1714566 w 2951358"/>
              <a:gd name="connsiteY570" fmla="*/ 1628532 h 2269546"/>
              <a:gd name="connsiteX571" fmla="*/ 1670445 w 2951358"/>
              <a:gd name="connsiteY571" fmla="*/ 1610950 h 2269546"/>
              <a:gd name="connsiteX572" fmla="*/ 1620684 w 2951358"/>
              <a:gd name="connsiteY572" fmla="*/ 1625546 h 2269546"/>
              <a:gd name="connsiteX573" fmla="*/ 1625163 w 2951358"/>
              <a:gd name="connsiteY573" fmla="*/ 1608959 h 2269546"/>
              <a:gd name="connsiteX574" fmla="*/ 1610400 w 2951358"/>
              <a:gd name="connsiteY574" fmla="*/ 1566828 h 2269546"/>
              <a:gd name="connsiteX575" fmla="*/ 1586018 w 2951358"/>
              <a:gd name="connsiteY575" fmla="*/ 1538133 h 2269546"/>
              <a:gd name="connsiteX576" fmla="*/ 1549195 w 2951358"/>
              <a:gd name="connsiteY576" fmla="*/ 1529342 h 2269546"/>
              <a:gd name="connsiteX577" fmla="*/ 1547702 w 2951358"/>
              <a:gd name="connsiteY577" fmla="*/ 1466644 h 2269546"/>
              <a:gd name="connsiteX578" fmla="*/ 1570592 w 2951358"/>
              <a:gd name="connsiteY578" fmla="*/ 1411410 h 2269546"/>
              <a:gd name="connsiteX579" fmla="*/ 1594145 w 2951358"/>
              <a:gd name="connsiteY579" fmla="*/ 1392169 h 2269546"/>
              <a:gd name="connsiteX580" fmla="*/ 1607415 w 2951358"/>
              <a:gd name="connsiteY580" fmla="*/ 1366460 h 2269546"/>
              <a:gd name="connsiteX581" fmla="*/ 1621348 w 2951358"/>
              <a:gd name="connsiteY581" fmla="*/ 1351697 h 2269546"/>
              <a:gd name="connsiteX582" fmla="*/ 1629475 w 2951358"/>
              <a:gd name="connsiteY582" fmla="*/ 1341414 h 2269546"/>
              <a:gd name="connsiteX583" fmla="*/ 1644901 w 2951358"/>
              <a:gd name="connsiteY583" fmla="*/ 1331793 h 2269546"/>
              <a:gd name="connsiteX584" fmla="*/ 1683382 w 2951358"/>
              <a:gd name="connsiteY584" fmla="*/ 1308903 h 2269546"/>
              <a:gd name="connsiteX585" fmla="*/ 1635446 w 2951358"/>
              <a:gd name="connsiteY585" fmla="*/ 1290492 h 2269546"/>
              <a:gd name="connsiteX586" fmla="*/ 1583032 w 2951358"/>
              <a:gd name="connsiteY586" fmla="*/ 1267602 h 2269546"/>
              <a:gd name="connsiteX587" fmla="*/ 1658170 w 2951358"/>
              <a:gd name="connsiteY587" fmla="*/ 1280872 h 2269546"/>
              <a:gd name="connsiteX588" fmla="*/ 1697979 w 2951358"/>
              <a:gd name="connsiteY588" fmla="*/ 1286843 h 2269546"/>
              <a:gd name="connsiteX589" fmla="*/ 1706106 w 2951358"/>
              <a:gd name="connsiteY589" fmla="*/ 1258148 h 2269546"/>
              <a:gd name="connsiteX590" fmla="*/ 1755867 w 2951358"/>
              <a:gd name="connsiteY590" fmla="*/ 1266109 h 2269546"/>
              <a:gd name="connsiteX591" fmla="*/ 1802974 w 2951358"/>
              <a:gd name="connsiteY591" fmla="*/ 1217510 h 2269546"/>
              <a:gd name="connsiteX592" fmla="*/ 1777264 w 2951358"/>
              <a:gd name="connsiteY592" fmla="*/ 1200923 h 2269546"/>
              <a:gd name="connsiteX593" fmla="*/ 1719708 w 2951358"/>
              <a:gd name="connsiteY593" fmla="*/ 1181682 h 2269546"/>
              <a:gd name="connsiteX594" fmla="*/ 1722030 w 2951358"/>
              <a:gd name="connsiteY594" fmla="*/ 1163271 h 2269546"/>
              <a:gd name="connsiteX595" fmla="*/ 1788377 w 2951358"/>
              <a:gd name="connsiteY595" fmla="*/ 1195615 h 2269546"/>
              <a:gd name="connsiteX596" fmla="*/ 1838138 w 2951358"/>
              <a:gd name="connsiteY596" fmla="*/ 1159622 h 2269546"/>
              <a:gd name="connsiteX597" fmla="*/ 1818897 w 2951358"/>
              <a:gd name="connsiteY597" fmla="*/ 1140381 h 2269546"/>
              <a:gd name="connsiteX598" fmla="*/ 1844772 w 2951358"/>
              <a:gd name="connsiteY598" fmla="*/ 1129434 h 2269546"/>
              <a:gd name="connsiteX599" fmla="*/ 1866003 w 2951358"/>
              <a:gd name="connsiteY599" fmla="*/ 1144859 h 2269546"/>
              <a:gd name="connsiteX600" fmla="*/ 1901499 w 2951358"/>
              <a:gd name="connsiteY600" fmla="*/ 1141211 h 2269546"/>
              <a:gd name="connsiteX601" fmla="*/ 1883088 w 2951358"/>
              <a:gd name="connsiteY601" fmla="*/ 1117491 h 2269546"/>
              <a:gd name="connsiteX602" fmla="*/ 1888893 w 2951358"/>
              <a:gd name="connsiteY602" fmla="*/ 1108700 h 2269546"/>
              <a:gd name="connsiteX603" fmla="*/ 1911783 w 2951358"/>
              <a:gd name="connsiteY603" fmla="*/ 1128604 h 2269546"/>
              <a:gd name="connsiteX604" fmla="*/ 1940478 w 2951358"/>
              <a:gd name="connsiteY604" fmla="*/ 1128604 h 2269546"/>
              <a:gd name="connsiteX605" fmla="*/ 1970666 w 2951358"/>
              <a:gd name="connsiteY605" fmla="*/ 1105715 h 2269546"/>
              <a:gd name="connsiteX606" fmla="*/ 1989907 w 2951358"/>
              <a:gd name="connsiteY606" fmla="*/ 1093109 h 2269546"/>
              <a:gd name="connsiteX607" fmla="*/ 1973320 w 2951358"/>
              <a:gd name="connsiteY607" fmla="*/ 1057115 h 2269546"/>
              <a:gd name="connsiteX608" fmla="*/ 1962207 w 2951358"/>
              <a:gd name="connsiteY608" fmla="*/ 1033562 h 2269546"/>
              <a:gd name="connsiteX609" fmla="*/ 1963036 w 2951358"/>
              <a:gd name="connsiteY609" fmla="*/ 1019463 h 2269546"/>
              <a:gd name="connsiteX610" fmla="*/ 1996210 w 2951358"/>
              <a:gd name="connsiteY610" fmla="*/ 1007687 h 2269546"/>
              <a:gd name="connsiteX611" fmla="*/ 1987419 w 2951358"/>
              <a:gd name="connsiteY611" fmla="*/ 987782 h 2269546"/>
              <a:gd name="connsiteX612" fmla="*/ 1976306 w 2951358"/>
              <a:gd name="connsiteY612" fmla="*/ 973020 h 2269546"/>
              <a:gd name="connsiteX613" fmla="*/ 1951260 w 2951358"/>
              <a:gd name="connsiteY613" fmla="*/ 955438 h 2269546"/>
              <a:gd name="connsiteX614" fmla="*/ 1913608 w 2951358"/>
              <a:gd name="connsiteY614" fmla="*/ 944988 h 2269546"/>
              <a:gd name="connsiteX615" fmla="*/ 1861359 w 2951358"/>
              <a:gd name="connsiteY615" fmla="*/ 940676 h 2269546"/>
              <a:gd name="connsiteX616" fmla="*/ 1864345 w 2951358"/>
              <a:gd name="connsiteY616" fmla="*/ 972356 h 2269546"/>
              <a:gd name="connsiteX617" fmla="*/ 1874629 w 2951358"/>
              <a:gd name="connsiteY617" fmla="*/ 988943 h 2269546"/>
              <a:gd name="connsiteX618" fmla="*/ 1868657 w 2951358"/>
              <a:gd name="connsiteY618" fmla="*/ 1003706 h 2269546"/>
              <a:gd name="connsiteX619" fmla="*/ 1847260 w 2951358"/>
              <a:gd name="connsiteY619" fmla="*/ 1018468 h 2269546"/>
              <a:gd name="connsiteX620" fmla="*/ 1830674 w 2951358"/>
              <a:gd name="connsiteY620" fmla="*/ 1051642 h 2269546"/>
              <a:gd name="connsiteX621" fmla="*/ 1815911 w 2951358"/>
              <a:gd name="connsiteY621" fmla="*/ 1031074 h 2269546"/>
              <a:gd name="connsiteX622" fmla="*/ 1811433 w 2951358"/>
              <a:gd name="connsiteY622" fmla="*/ 1056783 h 2269546"/>
              <a:gd name="connsiteX623" fmla="*/ 1824039 w 2951358"/>
              <a:gd name="connsiteY623" fmla="*/ 1077517 h 2269546"/>
              <a:gd name="connsiteX624" fmla="*/ 1800320 w 2951358"/>
              <a:gd name="connsiteY624" fmla="*/ 1094104 h 2269546"/>
              <a:gd name="connsiteX625" fmla="*/ 1781908 w 2951358"/>
              <a:gd name="connsiteY625" fmla="*/ 1079342 h 2269546"/>
              <a:gd name="connsiteX626" fmla="*/ 1759848 w 2951358"/>
              <a:gd name="connsiteY626" fmla="*/ 1044841 h 2269546"/>
              <a:gd name="connsiteX627" fmla="*/ 1773947 w 2951358"/>
              <a:gd name="connsiteY627" fmla="*/ 1030079 h 2269546"/>
              <a:gd name="connsiteX628" fmla="*/ 1773117 w 2951358"/>
              <a:gd name="connsiteY628" fmla="*/ 1008018 h 2269546"/>
              <a:gd name="connsiteX629" fmla="*/ 1751057 w 2951358"/>
              <a:gd name="connsiteY629" fmla="*/ 985128 h 2269546"/>
              <a:gd name="connsiteX630" fmla="*/ 1720039 w 2951358"/>
              <a:gd name="connsiteY630" fmla="*/ 977664 h 2269546"/>
              <a:gd name="connsiteX631" fmla="*/ 1707599 w 2951358"/>
              <a:gd name="connsiteY631" fmla="*/ 1001218 h 2269546"/>
              <a:gd name="connsiteX632" fmla="*/ 1692837 w 2951358"/>
              <a:gd name="connsiteY632" fmla="*/ 1027756 h 2269546"/>
              <a:gd name="connsiteX633" fmla="*/ 1681724 w 2951358"/>
              <a:gd name="connsiteY633" fmla="*/ 987948 h 2269546"/>
              <a:gd name="connsiteX634" fmla="*/ 1686202 w 2951358"/>
              <a:gd name="connsiteY634" fmla="*/ 974015 h 2269546"/>
              <a:gd name="connsiteX635" fmla="*/ 1694330 w 2951358"/>
              <a:gd name="connsiteY635" fmla="*/ 960746 h 2269546"/>
              <a:gd name="connsiteX636" fmla="*/ 1661156 w 2951358"/>
              <a:gd name="connsiteY636" fmla="*/ 947476 h 2269546"/>
              <a:gd name="connsiteX637" fmla="*/ 1636110 w 2951358"/>
              <a:gd name="connsiteY637" fmla="*/ 954111 h 2269546"/>
              <a:gd name="connsiteX638" fmla="*/ 1637603 w 2951358"/>
              <a:gd name="connsiteY638" fmla="*/ 925416 h 2269546"/>
              <a:gd name="connsiteX639" fmla="*/ 1656678 w 2951358"/>
              <a:gd name="connsiteY639" fmla="*/ 918781 h 2269546"/>
              <a:gd name="connsiteX640" fmla="*/ 1636110 w 2951358"/>
              <a:gd name="connsiteY640" fmla="*/ 897384 h 2269546"/>
              <a:gd name="connsiteX641" fmla="*/ 1606585 w 2951358"/>
              <a:gd name="connsiteY641" fmla="*/ 879636 h 2269546"/>
              <a:gd name="connsiteX642" fmla="*/ 1608078 w 2951358"/>
              <a:gd name="connsiteY642" fmla="*/ 850277 h 2269546"/>
              <a:gd name="connsiteX643" fmla="*/ 1565284 w 2951358"/>
              <a:gd name="connsiteY643" fmla="*/ 820753 h 2269546"/>
              <a:gd name="connsiteX644" fmla="*/ 1557157 w 2951358"/>
              <a:gd name="connsiteY644" fmla="*/ 805991 h 2269546"/>
              <a:gd name="connsiteX645" fmla="*/ 1581539 w 2951358"/>
              <a:gd name="connsiteY645" fmla="*/ 788243 h 2269546"/>
              <a:gd name="connsiteX646" fmla="*/ 1586681 w 2951358"/>
              <a:gd name="connsiteY646" fmla="*/ 767011 h 2269546"/>
              <a:gd name="connsiteX647" fmla="*/ 1588838 w 2951358"/>
              <a:gd name="connsiteY647" fmla="*/ 755898 h 2269546"/>
              <a:gd name="connsiteX648" fmla="*/ 1640423 w 2951358"/>
              <a:gd name="connsiteY648" fmla="*/ 760377 h 2269546"/>
              <a:gd name="connsiteX649" fmla="*/ 1688358 w 2951358"/>
              <a:gd name="connsiteY649" fmla="*/ 694029 h 2269546"/>
              <a:gd name="connsiteX650" fmla="*/ 1653692 w 2951358"/>
              <a:gd name="connsiteY650" fmla="*/ 679267 h 2269546"/>
              <a:gd name="connsiteX651" fmla="*/ 1599121 w 2951358"/>
              <a:gd name="connsiteY651" fmla="*/ 667490 h 2269546"/>
              <a:gd name="connsiteX652" fmla="*/ 1529954 w 2951358"/>
              <a:gd name="connsiteY652" fmla="*/ 678604 h 2269546"/>
              <a:gd name="connsiteX653" fmla="*/ 1538745 w 2951358"/>
              <a:gd name="connsiteY653" fmla="*/ 698508 h 2269546"/>
              <a:gd name="connsiteX654" fmla="*/ 1517348 w 2951358"/>
              <a:gd name="connsiteY654" fmla="*/ 696352 h 2269546"/>
              <a:gd name="connsiteX655" fmla="*/ 1517348 w 2951358"/>
              <a:gd name="connsiteY655" fmla="*/ 734667 h 2269546"/>
              <a:gd name="connsiteX656" fmla="*/ 1529954 w 2951358"/>
              <a:gd name="connsiteY656" fmla="*/ 771490 h 2269546"/>
              <a:gd name="connsiteX657" fmla="*/ 1535760 w 2951358"/>
              <a:gd name="connsiteY657" fmla="*/ 809805 h 2269546"/>
              <a:gd name="connsiteX658" fmla="*/ 1515192 w 2951358"/>
              <a:gd name="connsiteY658" fmla="*/ 828880 h 2269546"/>
              <a:gd name="connsiteX659" fmla="*/ 1525476 w 2951358"/>
              <a:gd name="connsiteY659" fmla="*/ 848785 h 2269546"/>
              <a:gd name="connsiteX660" fmla="*/ 1498273 w 2951358"/>
              <a:gd name="connsiteY660" fmla="*/ 845799 h 2269546"/>
              <a:gd name="connsiteX661" fmla="*/ 1491639 w 2951358"/>
              <a:gd name="connsiteY661" fmla="*/ 881958 h 2269546"/>
              <a:gd name="connsiteX662" fmla="*/ 1497444 w 2951358"/>
              <a:gd name="connsiteY662" fmla="*/ 898545 h 2269546"/>
              <a:gd name="connsiteX663" fmla="*/ 1499766 w 2951358"/>
              <a:gd name="connsiteY663" fmla="*/ 936031 h 2269546"/>
              <a:gd name="connsiteX664" fmla="*/ 1566114 w 2951358"/>
              <a:gd name="connsiteY664" fmla="*/ 959751 h 2269546"/>
              <a:gd name="connsiteX665" fmla="*/ 1566114 w 2951358"/>
              <a:gd name="connsiteY665" fmla="*/ 976337 h 2269546"/>
              <a:gd name="connsiteX666" fmla="*/ 1555664 w 2951358"/>
              <a:gd name="connsiteY666" fmla="*/ 1002876 h 2269546"/>
              <a:gd name="connsiteX667" fmla="*/ 1572251 w 2951358"/>
              <a:gd name="connsiteY667" fmla="*/ 991100 h 2269546"/>
              <a:gd name="connsiteX668" fmla="*/ 1587013 w 2951358"/>
              <a:gd name="connsiteY668" fmla="*/ 1009511 h 2269546"/>
              <a:gd name="connsiteX669" fmla="*/ 1564123 w 2951358"/>
              <a:gd name="connsiteY669" fmla="*/ 1029415 h 2269546"/>
              <a:gd name="connsiteX670" fmla="*/ 1531779 w 2951358"/>
              <a:gd name="connsiteY670" fmla="*/ 1042685 h 2269546"/>
              <a:gd name="connsiteX671" fmla="*/ 1531779 w 2951358"/>
              <a:gd name="connsiteY671" fmla="*/ 1075029 h 2269546"/>
              <a:gd name="connsiteX672" fmla="*/ 1514031 w 2951358"/>
              <a:gd name="connsiteY672" fmla="*/ 1087635 h 2269546"/>
              <a:gd name="connsiteX673" fmla="*/ 1496283 w 2951358"/>
              <a:gd name="connsiteY673" fmla="*/ 1060267 h 2269546"/>
              <a:gd name="connsiteX674" fmla="*/ 1500761 w 2951358"/>
              <a:gd name="connsiteY674" fmla="*/ 1034557 h 2269546"/>
              <a:gd name="connsiteX675" fmla="*/ 1462446 w 2951358"/>
              <a:gd name="connsiteY675" fmla="*/ 1023444 h 2269546"/>
              <a:gd name="connsiteX676" fmla="*/ 1486828 w 2951358"/>
              <a:gd name="connsiteY676" fmla="*/ 1019795 h 2269546"/>
              <a:gd name="connsiteX677" fmla="*/ 1504411 w 2951358"/>
              <a:gd name="connsiteY677" fmla="*/ 1006525 h 2269546"/>
              <a:gd name="connsiteX678" fmla="*/ 1542726 w 2951358"/>
              <a:gd name="connsiteY678" fmla="*/ 1003540 h 2269546"/>
              <a:gd name="connsiteX679" fmla="*/ 1524315 w 2951358"/>
              <a:gd name="connsiteY679" fmla="*/ 974844 h 2269546"/>
              <a:gd name="connsiteX680" fmla="*/ 1497776 w 2951358"/>
              <a:gd name="connsiteY680" fmla="*/ 972688 h 2269546"/>
              <a:gd name="connsiteX681" fmla="*/ 1525144 w 2951358"/>
              <a:gd name="connsiteY681" fmla="*/ 967546 h 2269546"/>
              <a:gd name="connsiteX682" fmla="*/ 1505240 w 2951358"/>
              <a:gd name="connsiteY682" fmla="*/ 955770 h 2269546"/>
              <a:gd name="connsiteX683" fmla="*/ 1468417 w 2951358"/>
              <a:gd name="connsiteY683" fmla="*/ 947642 h 2269546"/>
              <a:gd name="connsiteX684" fmla="*/ 1430101 w 2951358"/>
              <a:gd name="connsiteY684" fmla="*/ 956433 h 2269546"/>
              <a:gd name="connsiteX685" fmla="*/ 1396099 w 2951358"/>
              <a:gd name="connsiteY685" fmla="*/ 979323 h 2269546"/>
              <a:gd name="connsiteX686" fmla="*/ 1425623 w 2951358"/>
              <a:gd name="connsiteY686" fmla="*/ 995910 h 2269546"/>
              <a:gd name="connsiteX687" fmla="*/ 1450669 w 2951358"/>
              <a:gd name="connsiteY687" fmla="*/ 1014985 h 2269546"/>
              <a:gd name="connsiteX688" fmla="*/ 1435243 w 2951358"/>
              <a:gd name="connsiteY688" fmla="*/ 1023942 h 2269546"/>
              <a:gd name="connsiteX689" fmla="*/ 1421974 w 2951358"/>
              <a:gd name="connsiteY689" fmla="*/ 1032733 h 2269546"/>
              <a:gd name="connsiteX690" fmla="*/ 1419652 w 2951358"/>
              <a:gd name="connsiteY690" fmla="*/ 1054130 h 2269546"/>
              <a:gd name="connsiteX691" fmla="*/ 1388800 w 2951358"/>
              <a:gd name="connsiteY691" fmla="*/ 1053300 h 2269546"/>
              <a:gd name="connsiteX692" fmla="*/ 1323946 w 2951358"/>
              <a:gd name="connsiteY692" fmla="*/ 1061428 h 2269546"/>
              <a:gd name="connsiteX693" fmla="*/ 1271531 w 2951358"/>
              <a:gd name="connsiteY693" fmla="*/ 1048988 h 2269546"/>
              <a:gd name="connsiteX694" fmla="*/ 1236201 w 2951358"/>
              <a:gd name="connsiteY694" fmla="*/ 1040860 h 2269546"/>
              <a:gd name="connsiteX695" fmla="*/ 1206677 w 2951358"/>
              <a:gd name="connsiteY695" fmla="*/ 1026098 h 2269546"/>
              <a:gd name="connsiteX696" fmla="*/ 1190090 w 2951358"/>
              <a:gd name="connsiteY696" fmla="*/ 999559 h 2269546"/>
              <a:gd name="connsiteX697" fmla="*/ 1135519 w 2951358"/>
              <a:gd name="connsiteY697" fmla="*/ 1001715 h 2269546"/>
              <a:gd name="connsiteX698" fmla="*/ 1086920 w 2951358"/>
              <a:gd name="connsiteY698" fmla="*/ 1023112 h 2269546"/>
              <a:gd name="connsiteX699" fmla="*/ 1101682 w 2951358"/>
              <a:gd name="connsiteY699" fmla="*/ 1037211 h 2269546"/>
              <a:gd name="connsiteX700" fmla="*/ 1132700 w 2951358"/>
              <a:gd name="connsiteY700" fmla="*/ 1026761 h 2269546"/>
              <a:gd name="connsiteX701" fmla="*/ 1176821 w 2951358"/>
              <a:gd name="connsiteY701" fmla="*/ 1014321 h 2269546"/>
              <a:gd name="connsiteX702" fmla="*/ 1122250 w 2951358"/>
              <a:gd name="connsiteY702" fmla="*/ 1043016 h 2269546"/>
              <a:gd name="connsiteX703" fmla="*/ 1126065 w 2951358"/>
              <a:gd name="connsiteY703" fmla="*/ 1088796 h 2269546"/>
              <a:gd name="connsiteX704" fmla="*/ 1117937 w 2951358"/>
              <a:gd name="connsiteY704" fmla="*/ 1113842 h 2269546"/>
              <a:gd name="connsiteX705" fmla="*/ 1097204 w 2951358"/>
              <a:gd name="connsiteY705" fmla="*/ 1104885 h 2269546"/>
              <a:gd name="connsiteX706" fmla="*/ 1093555 w 2951358"/>
              <a:gd name="connsiteY706" fmla="*/ 1077683 h 2269546"/>
              <a:gd name="connsiteX707" fmla="*/ 1076968 w 2951358"/>
              <a:gd name="connsiteY707" fmla="*/ 1068063 h 2269546"/>
              <a:gd name="connsiteX708" fmla="*/ 1054907 w 2951358"/>
              <a:gd name="connsiteY708" fmla="*/ 1060764 h 2269546"/>
              <a:gd name="connsiteX709" fmla="*/ 1025383 w 2951358"/>
              <a:gd name="connsiteY709" fmla="*/ 1053300 h 2269546"/>
              <a:gd name="connsiteX710" fmla="*/ 964177 w 2951358"/>
              <a:gd name="connsiteY710" fmla="*/ 1063750 h 2269546"/>
              <a:gd name="connsiteX711" fmla="*/ 866149 w 2951358"/>
              <a:gd name="connsiteY711" fmla="*/ 1057115 h 2269546"/>
              <a:gd name="connsiteX712" fmla="*/ 903801 w 2951358"/>
              <a:gd name="connsiteY712" fmla="*/ 1031240 h 2269546"/>
              <a:gd name="connsiteX713" fmla="*/ 891195 w 2951358"/>
              <a:gd name="connsiteY713" fmla="*/ 1006194 h 2269546"/>
              <a:gd name="connsiteX714" fmla="*/ 837454 w 2951358"/>
              <a:gd name="connsiteY714" fmla="*/ 992924 h 2269546"/>
              <a:gd name="connsiteX715" fmla="*/ 788855 w 2951358"/>
              <a:gd name="connsiteY715" fmla="*/ 988446 h 2269546"/>
              <a:gd name="connsiteX716" fmla="*/ 740089 w 2951358"/>
              <a:gd name="connsiteY716" fmla="*/ 973020 h 2269546"/>
              <a:gd name="connsiteX717" fmla="*/ 675235 w 2951358"/>
              <a:gd name="connsiteY717" fmla="*/ 950960 h 2269546"/>
              <a:gd name="connsiteX718" fmla="*/ 600097 w 2951358"/>
              <a:gd name="connsiteY718" fmla="*/ 953945 h 2269546"/>
              <a:gd name="connsiteX719" fmla="*/ 561781 w 2951358"/>
              <a:gd name="connsiteY719" fmla="*/ 967878 h 2269546"/>
              <a:gd name="connsiteX720" fmla="*/ 563274 w 2951358"/>
              <a:gd name="connsiteY720" fmla="*/ 946481 h 2269546"/>
              <a:gd name="connsiteX721" fmla="*/ 552161 w 2951358"/>
              <a:gd name="connsiteY721" fmla="*/ 920771 h 2269546"/>
              <a:gd name="connsiteX722" fmla="*/ 507210 w 2951358"/>
              <a:gd name="connsiteY722" fmla="*/ 967878 h 2269546"/>
              <a:gd name="connsiteX723" fmla="*/ 457450 w 2951358"/>
              <a:gd name="connsiteY723" fmla="*/ 901531 h 2269546"/>
              <a:gd name="connsiteX724" fmla="*/ 437546 w 2951358"/>
              <a:gd name="connsiteY724" fmla="*/ 907502 h 2269546"/>
              <a:gd name="connsiteX725" fmla="*/ 425769 w 2951358"/>
              <a:gd name="connsiteY725" fmla="*/ 926577 h 2269546"/>
              <a:gd name="connsiteX726" fmla="*/ 401552 w 2951358"/>
              <a:gd name="connsiteY726" fmla="*/ 947974 h 2269546"/>
              <a:gd name="connsiteX727" fmla="*/ 368379 w 2951358"/>
              <a:gd name="connsiteY727" fmla="*/ 953116 h 2269546"/>
              <a:gd name="connsiteX728" fmla="*/ 336698 w 2951358"/>
              <a:gd name="connsiteY728" fmla="*/ 963400 h 2269546"/>
              <a:gd name="connsiteX729" fmla="*/ 285113 w 2951358"/>
              <a:gd name="connsiteY729" fmla="*/ 991431 h 2269546"/>
              <a:gd name="connsiteX730" fmla="*/ 263052 w 2951358"/>
              <a:gd name="connsiteY730" fmla="*/ 1006194 h 2269546"/>
              <a:gd name="connsiteX731" fmla="*/ 271180 w 2951358"/>
              <a:gd name="connsiteY731" fmla="*/ 987782 h 2269546"/>
              <a:gd name="connsiteX732" fmla="*/ 335205 w 2951358"/>
              <a:gd name="connsiteY732" fmla="*/ 950960 h 2269546"/>
              <a:gd name="connsiteX733" fmla="*/ 387619 w 2951358"/>
              <a:gd name="connsiteY733" fmla="*/ 925913 h 2269546"/>
              <a:gd name="connsiteX734" fmla="*/ 358758 w 2951358"/>
              <a:gd name="connsiteY734" fmla="*/ 922098 h 2269546"/>
              <a:gd name="connsiteX735" fmla="*/ 306510 w 2951358"/>
              <a:gd name="connsiteY735" fmla="*/ 942169 h 2269546"/>
              <a:gd name="connsiteX736" fmla="*/ 269687 w 2951358"/>
              <a:gd name="connsiteY736" fmla="*/ 959751 h 2269546"/>
              <a:gd name="connsiteX737" fmla="*/ 246134 w 2951358"/>
              <a:gd name="connsiteY737" fmla="*/ 966385 h 2269546"/>
              <a:gd name="connsiteX738" fmla="*/ 238670 w 2951358"/>
              <a:gd name="connsiteY738" fmla="*/ 961243 h 2269546"/>
              <a:gd name="connsiteX739" fmla="*/ 221088 w 2951358"/>
              <a:gd name="connsiteY739" fmla="*/ 953945 h 2269546"/>
              <a:gd name="connsiteX740" fmla="*/ 198861 w 2951358"/>
              <a:gd name="connsiteY740" fmla="*/ 965722 h 2269546"/>
              <a:gd name="connsiteX741" fmla="*/ 175308 w 2951358"/>
              <a:gd name="connsiteY741" fmla="*/ 986953 h 2269546"/>
              <a:gd name="connsiteX742" fmla="*/ 188577 w 2951358"/>
              <a:gd name="connsiteY742" fmla="*/ 1006194 h 2269546"/>
              <a:gd name="connsiteX743" fmla="*/ 138817 w 2951358"/>
              <a:gd name="connsiteY743" fmla="*/ 992924 h 2269546"/>
              <a:gd name="connsiteX744" fmla="*/ 61356 w 2951358"/>
              <a:gd name="connsiteY744" fmla="*/ 956765 h 2269546"/>
              <a:gd name="connsiteX745" fmla="*/ -15 w 2951358"/>
              <a:gd name="connsiteY745" fmla="*/ 951955 h 2269546"/>
              <a:gd name="connsiteX746" fmla="*/ -15 w 2951358"/>
              <a:gd name="connsiteY746" fmla="*/ 1461170 h 2269546"/>
              <a:gd name="connsiteX747" fmla="*/ 17733 w 2951358"/>
              <a:gd name="connsiteY747" fmla="*/ 1464820 h 2269546"/>
              <a:gd name="connsiteX748" fmla="*/ 48087 w 2951358"/>
              <a:gd name="connsiteY748" fmla="*/ 1459014 h 2269546"/>
              <a:gd name="connsiteX749" fmla="*/ 70811 w 2951358"/>
              <a:gd name="connsiteY749" fmla="*/ 1475601 h 2269546"/>
              <a:gd name="connsiteX750" fmla="*/ 103984 w 2951358"/>
              <a:gd name="connsiteY750" fmla="*/ 1508775 h 2269546"/>
              <a:gd name="connsiteX751" fmla="*/ 129528 w 2951358"/>
              <a:gd name="connsiteY751" fmla="*/ 1525361 h 2269546"/>
              <a:gd name="connsiteX752" fmla="*/ 160048 w 2951358"/>
              <a:gd name="connsiteY752" fmla="*/ 1501808 h 2269546"/>
              <a:gd name="connsiteX753" fmla="*/ 205164 w 2951358"/>
              <a:gd name="connsiteY753" fmla="*/ 1503799 h 2269546"/>
              <a:gd name="connsiteX754" fmla="*/ 276985 w 2951358"/>
              <a:gd name="connsiteY754" fmla="*/ 1585406 h 2269546"/>
              <a:gd name="connsiteX755" fmla="*/ 335868 w 2951358"/>
              <a:gd name="connsiteY755" fmla="*/ 1655071 h 2269546"/>
              <a:gd name="connsiteX756" fmla="*/ 367383 w 2951358"/>
              <a:gd name="connsiteY756" fmla="*/ 1690566 h 2269546"/>
              <a:gd name="connsiteX757" fmla="*/ 374184 w 2951358"/>
              <a:gd name="connsiteY757" fmla="*/ 1720920 h 2269546"/>
              <a:gd name="connsiteX758" fmla="*/ 351626 w 2951358"/>
              <a:gd name="connsiteY758" fmla="*/ 1737507 h 2269546"/>
              <a:gd name="connsiteX759" fmla="*/ 365559 w 2951358"/>
              <a:gd name="connsiteY759" fmla="*/ 1754094 h 2269546"/>
              <a:gd name="connsiteX760" fmla="*/ 356768 w 2951358"/>
              <a:gd name="connsiteY760" fmla="*/ 1768027 h 2269546"/>
              <a:gd name="connsiteX761" fmla="*/ 362739 w 2951358"/>
              <a:gd name="connsiteY761" fmla="*/ 1793073 h 2269546"/>
              <a:gd name="connsiteX762" fmla="*/ 391434 w 2951358"/>
              <a:gd name="connsiteY762" fmla="*/ 1791580 h 2269546"/>
              <a:gd name="connsiteX763" fmla="*/ 398732 w 2951358"/>
              <a:gd name="connsiteY763" fmla="*/ 1810821 h 2269546"/>
              <a:gd name="connsiteX764" fmla="*/ 400225 w 2951358"/>
              <a:gd name="connsiteY764" fmla="*/ 1823427 h 2269546"/>
              <a:gd name="connsiteX765" fmla="*/ 412831 w 2951358"/>
              <a:gd name="connsiteY765" fmla="*/ 1821934 h 2269546"/>
              <a:gd name="connsiteX766" fmla="*/ 440034 w 2951358"/>
              <a:gd name="connsiteY766" fmla="*/ 1838521 h 2269546"/>
              <a:gd name="connsiteX767" fmla="*/ 442356 w 2951358"/>
              <a:gd name="connsiteY767" fmla="*/ 1853283 h 2269546"/>
              <a:gd name="connsiteX768" fmla="*/ 440863 w 2951358"/>
              <a:gd name="connsiteY768" fmla="*/ 1873187 h 2269546"/>
              <a:gd name="connsiteX769" fmla="*/ 448161 w 2951358"/>
              <a:gd name="connsiteY769" fmla="*/ 1890769 h 2269546"/>
              <a:gd name="connsiteX770" fmla="*/ 483491 w 2951358"/>
              <a:gd name="connsiteY770" fmla="*/ 1904039 h 2269546"/>
              <a:gd name="connsiteX771" fmla="*/ 506381 w 2951358"/>
              <a:gd name="connsiteY771" fmla="*/ 1918138 h 2269546"/>
              <a:gd name="connsiteX772" fmla="*/ 535076 w 2951358"/>
              <a:gd name="connsiteY772" fmla="*/ 1926929 h 2269546"/>
              <a:gd name="connsiteX773" fmla="*/ 547682 w 2951358"/>
              <a:gd name="connsiteY773" fmla="*/ 1946833 h 2269546"/>
              <a:gd name="connsiteX774" fmla="*/ 572728 w 2951358"/>
              <a:gd name="connsiteY774" fmla="*/ 1950482 h 2269546"/>
              <a:gd name="connsiteX775" fmla="*/ 592632 w 2951358"/>
              <a:gd name="connsiteY775" fmla="*/ 1960102 h 2269546"/>
              <a:gd name="connsiteX776" fmla="*/ 618176 w 2951358"/>
              <a:gd name="connsiteY776" fmla="*/ 1991120 h 2269546"/>
              <a:gd name="connsiteX777" fmla="*/ 1534101 w 2951358"/>
              <a:gd name="connsiteY777" fmla="*/ 1986310 h 2269546"/>
              <a:gd name="connsiteX778" fmla="*/ 1545546 w 2951358"/>
              <a:gd name="connsiteY778" fmla="*/ 1971381 h 2269546"/>
              <a:gd name="connsiteX779" fmla="*/ 1559313 w 2951358"/>
              <a:gd name="connsiteY779" fmla="*/ 1996925 h 2269546"/>
              <a:gd name="connsiteX780" fmla="*/ 1587676 w 2951358"/>
              <a:gd name="connsiteY780" fmla="*/ 2006711 h 2269546"/>
              <a:gd name="connsiteX781" fmla="*/ 1618196 w 2951358"/>
              <a:gd name="connsiteY781" fmla="*/ 2007706 h 2269546"/>
              <a:gd name="connsiteX782" fmla="*/ 1645730 w 2951358"/>
              <a:gd name="connsiteY782" fmla="*/ 2018488 h 2269546"/>
              <a:gd name="connsiteX783" fmla="*/ 1674260 w 2951358"/>
              <a:gd name="connsiteY783" fmla="*/ 2023464 h 2269546"/>
              <a:gd name="connsiteX784" fmla="*/ 1721698 w 2951358"/>
              <a:gd name="connsiteY784" fmla="*/ 2030099 h 2269546"/>
              <a:gd name="connsiteX785" fmla="*/ 1765156 w 2951358"/>
              <a:gd name="connsiteY785" fmla="*/ 1989627 h 2269546"/>
              <a:gd name="connsiteX786" fmla="*/ 1835815 w 2951358"/>
              <a:gd name="connsiteY786" fmla="*/ 2018986 h 2269546"/>
              <a:gd name="connsiteX787" fmla="*/ 1871311 w 2951358"/>
              <a:gd name="connsiteY787" fmla="*/ 2044032 h 2269546"/>
              <a:gd name="connsiteX788" fmla="*/ 1889888 w 2951358"/>
              <a:gd name="connsiteY788" fmla="*/ 2090475 h 2269546"/>
              <a:gd name="connsiteX789" fmla="*/ 1908963 w 2951358"/>
              <a:gd name="connsiteY789" fmla="*/ 2103744 h 2269546"/>
              <a:gd name="connsiteX790" fmla="*/ 1959719 w 2951358"/>
              <a:gd name="connsiteY790" fmla="*/ 2110379 h 2269546"/>
              <a:gd name="connsiteX791" fmla="*/ 2021588 w 2951358"/>
              <a:gd name="connsiteY791" fmla="*/ 2126966 h 2269546"/>
              <a:gd name="connsiteX792" fmla="*/ 2033365 w 2951358"/>
              <a:gd name="connsiteY792" fmla="*/ 2172580 h 2269546"/>
              <a:gd name="connsiteX793" fmla="*/ 1990571 w 2951358"/>
              <a:gd name="connsiteY793" fmla="*/ 2162296 h 2269546"/>
              <a:gd name="connsiteX794" fmla="*/ 1980287 w 2951358"/>
              <a:gd name="connsiteY794" fmla="*/ 2191820 h 2269546"/>
              <a:gd name="connsiteX795" fmla="*/ 1956733 w 2951358"/>
              <a:gd name="connsiteY795" fmla="*/ 2243406 h 2269546"/>
              <a:gd name="connsiteX796" fmla="*/ 1955904 w 2951358"/>
              <a:gd name="connsiteY796" fmla="*/ 2243406 h 2269546"/>
              <a:gd name="connsiteX797" fmla="*/ 1961212 w 2951358"/>
              <a:gd name="connsiteY797" fmla="*/ 2269447 h 2269546"/>
              <a:gd name="connsiteX798" fmla="*/ 2002347 w 2951358"/>
              <a:gd name="connsiteY798" fmla="*/ 2248216 h 2269546"/>
              <a:gd name="connsiteX799" fmla="*/ 2045141 w 2951358"/>
              <a:gd name="connsiteY799" fmla="*/ 2252528 h 2269546"/>
              <a:gd name="connsiteX800" fmla="*/ 2065709 w 2951358"/>
              <a:gd name="connsiteY800" fmla="*/ 2245230 h 2269546"/>
              <a:gd name="connsiteX801" fmla="*/ 2065709 w 2951358"/>
              <a:gd name="connsiteY801" fmla="*/ 2248547 h 2269546"/>
              <a:gd name="connsiteX802" fmla="*/ 2075661 w 2951358"/>
              <a:gd name="connsiteY802" fmla="*/ 2240254 h 2269546"/>
              <a:gd name="connsiteX803" fmla="*/ 2073670 w 2951358"/>
              <a:gd name="connsiteY803" fmla="*/ 2227150 h 2269546"/>
              <a:gd name="connsiteX804" fmla="*/ 2050117 w 2951358"/>
              <a:gd name="connsiteY804" fmla="*/ 2220184 h 2269546"/>
              <a:gd name="connsiteX805" fmla="*/ 2117792 w 2951358"/>
              <a:gd name="connsiteY805" fmla="*/ 2193645 h 2269546"/>
              <a:gd name="connsiteX806" fmla="*/ 2163737 w 2951358"/>
              <a:gd name="connsiteY806" fmla="*/ 2190328 h 2269546"/>
              <a:gd name="connsiteX807" fmla="*/ 2208356 w 2951358"/>
              <a:gd name="connsiteY807" fmla="*/ 2157154 h 2269546"/>
              <a:gd name="connsiteX808" fmla="*/ 2322307 w 2951358"/>
              <a:gd name="connsiteY808" fmla="*/ 2156159 h 2269546"/>
              <a:gd name="connsiteX809" fmla="*/ 2363608 w 2951358"/>
              <a:gd name="connsiteY809" fmla="*/ 2112867 h 2269546"/>
              <a:gd name="connsiteX810" fmla="*/ 2405739 w 2951358"/>
              <a:gd name="connsiteY810" fmla="*/ 2053984 h 2269546"/>
              <a:gd name="connsiteX811" fmla="*/ 2450026 w 2951358"/>
              <a:gd name="connsiteY811" fmla="*/ 2066756 h 2269546"/>
              <a:gd name="connsiteX812" fmla="*/ 2478058 w 2951358"/>
              <a:gd name="connsiteY812" fmla="*/ 2159144 h 2269546"/>
              <a:gd name="connsiteX813" fmla="*/ 2512890 w 2951358"/>
              <a:gd name="connsiteY813" fmla="*/ 2144548 h 2269546"/>
              <a:gd name="connsiteX814" fmla="*/ 2551869 w 2951358"/>
              <a:gd name="connsiteY814" fmla="*/ 2116516 h 2269546"/>
              <a:gd name="connsiteX815" fmla="*/ 2554191 w 2951358"/>
              <a:gd name="connsiteY815" fmla="*/ 2130615 h 2269546"/>
              <a:gd name="connsiteX816" fmla="*/ 2584379 w 2951358"/>
              <a:gd name="connsiteY816" fmla="*/ 2142392 h 2269546"/>
              <a:gd name="connsiteX817" fmla="*/ 2559333 w 2951358"/>
              <a:gd name="connsiteY817" fmla="*/ 2149026 h 2269546"/>
              <a:gd name="connsiteX818" fmla="*/ 2516539 w 2951358"/>
              <a:gd name="connsiteY818" fmla="*/ 2171087 h 2269546"/>
              <a:gd name="connsiteX819" fmla="*/ 2512890 w 2951358"/>
              <a:gd name="connsiteY819" fmla="*/ 2207910 h 2269546"/>
              <a:gd name="connsiteX820" fmla="*/ 2556347 w 2951358"/>
              <a:gd name="connsiteY820" fmla="*/ 2199782 h 2269546"/>
              <a:gd name="connsiteX821" fmla="*/ 2588028 w 2951358"/>
              <a:gd name="connsiteY821" fmla="*/ 2172580 h 2269546"/>
              <a:gd name="connsiteX822" fmla="*/ 2664659 w 2951358"/>
              <a:gd name="connsiteY822" fmla="*/ 2152012 h 2269546"/>
              <a:gd name="connsiteX823" fmla="*/ 2671294 w 2951358"/>
              <a:gd name="connsiteY823" fmla="*/ 2135425 h 2269546"/>
              <a:gd name="connsiteX824" fmla="*/ 2715581 w 2951358"/>
              <a:gd name="connsiteY824" fmla="*/ 2118838 h 2269546"/>
              <a:gd name="connsiteX825" fmla="*/ 2701150 w 2951358"/>
              <a:gd name="connsiteY825" fmla="*/ 2107062 h 2269546"/>
              <a:gd name="connsiteX826" fmla="*/ 782883 w 2951358"/>
              <a:gd name="connsiteY826" fmla="*/ 1151826 h 2269546"/>
              <a:gd name="connsiteX827" fmla="*/ 737104 w 2951358"/>
              <a:gd name="connsiteY827" fmla="*/ 1175877 h 2269546"/>
              <a:gd name="connsiteX828" fmla="*/ 714877 w 2951358"/>
              <a:gd name="connsiteY828" fmla="*/ 1189312 h 2269546"/>
              <a:gd name="connsiteX829" fmla="*/ 704925 w 2951358"/>
              <a:gd name="connsiteY829" fmla="*/ 1206894 h 2269546"/>
              <a:gd name="connsiteX830" fmla="*/ 662795 w 2951358"/>
              <a:gd name="connsiteY830" fmla="*/ 1225637 h 2269546"/>
              <a:gd name="connsiteX831" fmla="*/ 686846 w 2951358"/>
              <a:gd name="connsiteY831" fmla="*/ 1184668 h 2269546"/>
              <a:gd name="connsiteX832" fmla="*/ 647535 w 2951358"/>
              <a:gd name="connsiteY832" fmla="*/ 1208553 h 2269546"/>
              <a:gd name="connsiteX833" fmla="*/ 617679 w 2951358"/>
              <a:gd name="connsiteY833" fmla="*/ 1218505 h 2269546"/>
              <a:gd name="connsiteX834" fmla="*/ 602916 w 2951358"/>
              <a:gd name="connsiteY834" fmla="*/ 1206231 h 2269546"/>
              <a:gd name="connsiteX835" fmla="*/ 621825 w 2951358"/>
              <a:gd name="connsiteY835" fmla="*/ 1186990 h 2269546"/>
              <a:gd name="connsiteX836" fmla="*/ 623484 w 2951358"/>
              <a:gd name="connsiteY836" fmla="*/ 1165925 h 2269546"/>
              <a:gd name="connsiteX837" fmla="*/ 659809 w 2951358"/>
              <a:gd name="connsiteY837" fmla="*/ 1160617 h 2269546"/>
              <a:gd name="connsiteX838" fmla="*/ 618176 w 2951358"/>
              <a:gd name="connsiteY838" fmla="*/ 1146021 h 2269546"/>
              <a:gd name="connsiteX839" fmla="*/ 553819 w 2951358"/>
              <a:gd name="connsiteY839" fmla="*/ 1156470 h 2269546"/>
              <a:gd name="connsiteX840" fmla="*/ 641729 w 2951358"/>
              <a:gd name="connsiteY840" fmla="*/ 1130761 h 2269546"/>
              <a:gd name="connsiteX841" fmla="*/ 723668 w 2951358"/>
              <a:gd name="connsiteY841" fmla="*/ 1114174 h 2269546"/>
              <a:gd name="connsiteX842" fmla="*/ 708409 w 2951358"/>
              <a:gd name="connsiteY842" fmla="*/ 1144196 h 2269546"/>
              <a:gd name="connsiteX843" fmla="*/ 764638 w 2951358"/>
              <a:gd name="connsiteY843" fmla="*/ 1136566 h 2269546"/>
              <a:gd name="connsiteX844" fmla="*/ 782883 w 2951358"/>
              <a:gd name="connsiteY844" fmla="*/ 1151826 h 2269546"/>
              <a:gd name="connsiteX845" fmla="*/ 969154 w 2951358"/>
              <a:gd name="connsiteY845" fmla="*/ 1388520 h 2269546"/>
              <a:gd name="connsiteX846" fmla="*/ 928184 w 2951358"/>
              <a:gd name="connsiteY846" fmla="*/ 1406600 h 2269546"/>
              <a:gd name="connsiteX847" fmla="*/ 900152 w 2951358"/>
              <a:gd name="connsiteY847" fmla="*/ 1431812 h 2269546"/>
              <a:gd name="connsiteX848" fmla="*/ 809754 w 2951358"/>
              <a:gd name="connsiteY848" fmla="*/ 1422523 h 2269546"/>
              <a:gd name="connsiteX849" fmla="*/ 842928 w 2951358"/>
              <a:gd name="connsiteY849" fmla="*/ 1411410 h 2269546"/>
              <a:gd name="connsiteX850" fmla="*/ 869301 w 2951358"/>
              <a:gd name="connsiteY850" fmla="*/ 1385535 h 2269546"/>
              <a:gd name="connsiteX851" fmla="*/ 858851 w 2951358"/>
              <a:gd name="connsiteY851" fmla="*/ 1354517 h 2269546"/>
              <a:gd name="connsiteX852" fmla="*/ 906787 w 2951358"/>
              <a:gd name="connsiteY852" fmla="*/ 1354517 h 2269546"/>
              <a:gd name="connsiteX853" fmla="*/ 957874 w 2951358"/>
              <a:gd name="connsiteY853" fmla="*/ 1373260 h 2269546"/>
              <a:gd name="connsiteX854" fmla="*/ 1048107 w 2951358"/>
              <a:gd name="connsiteY854" fmla="*/ 1340087 h 2269546"/>
              <a:gd name="connsiteX855" fmla="*/ 969154 w 2951358"/>
              <a:gd name="connsiteY855" fmla="*/ 1388520 h 2269546"/>
              <a:gd name="connsiteX856" fmla="*/ 1482184 w 2951358"/>
              <a:gd name="connsiteY856" fmla="*/ 1924275 h 2269546"/>
              <a:gd name="connsiteX857" fmla="*/ 1454153 w 2951358"/>
              <a:gd name="connsiteY857" fmla="*/ 1865226 h 2269546"/>
              <a:gd name="connsiteX858" fmla="*/ 1404392 w 2951358"/>
              <a:gd name="connsiteY858" fmla="*/ 1791580 h 2269546"/>
              <a:gd name="connsiteX859" fmla="*/ 1431611 w 2951358"/>
              <a:gd name="connsiteY859" fmla="*/ 1771178 h 2269546"/>
              <a:gd name="connsiteX860" fmla="*/ 1445527 w 2951358"/>
              <a:gd name="connsiteY860" fmla="*/ 1778311 h 2269546"/>
              <a:gd name="connsiteX861" fmla="*/ 1485336 w 2951358"/>
              <a:gd name="connsiteY861" fmla="*/ 1872690 h 2269546"/>
              <a:gd name="connsiteX862" fmla="*/ 1482184 w 2951358"/>
              <a:gd name="connsiteY862" fmla="*/ 1924275 h 226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Lst>
            <a:rect l="l" t="t" r="r" b="b"/>
            <a:pathLst>
              <a:path w="2951358" h="2269546">
                <a:moveTo>
                  <a:pt x="583012" y="1989793"/>
                </a:moveTo>
                <a:cubicBezTo>
                  <a:pt x="573392" y="1979509"/>
                  <a:pt x="548346" y="1981665"/>
                  <a:pt x="544696" y="1972045"/>
                </a:cubicBezTo>
                <a:cubicBezTo>
                  <a:pt x="541047" y="1962425"/>
                  <a:pt x="518158" y="1927924"/>
                  <a:pt x="505552" y="1928753"/>
                </a:cubicBezTo>
                <a:cubicBezTo>
                  <a:pt x="490376" y="1930992"/>
                  <a:pt x="474909" y="1927559"/>
                  <a:pt x="462094" y="1919133"/>
                </a:cubicBezTo>
                <a:cubicBezTo>
                  <a:pt x="447332" y="1908020"/>
                  <a:pt x="437877" y="1907356"/>
                  <a:pt x="427593" y="1913991"/>
                </a:cubicBezTo>
                <a:cubicBezTo>
                  <a:pt x="417310" y="1920626"/>
                  <a:pt x="438541" y="1921953"/>
                  <a:pt x="437877" y="1929417"/>
                </a:cubicBezTo>
                <a:cubicBezTo>
                  <a:pt x="437214" y="1936881"/>
                  <a:pt x="444512" y="1941193"/>
                  <a:pt x="453303" y="1939701"/>
                </a:cubicBezTo>
                <a:cubicBezTo>
                  <a:pt x="462094" y="1938208"/>
                  <a:pt x="467236" y="1956287"/>
                  <a:pt x="476193" y="1957448"/>
                </a:cubicBezTo>
                <a:cubicBezTo>
                  <a:pt x="485150" y="1958610"/>
                  <a:pt x="487970" y="1972045"/>
                  <a:pt x="498253" y="1972045"/>
                </a:cubicBezTo>
                <a:cubicBezTo>
                  <a:pt x="508537" y="1972045"/>
                  <a:pt x="510859" y="1983987"/>
                  <a:pt x="516001" y="1990622"/>
                </a:cubicBezTo>
                <a:cubicBezTo>
                  <a:pt x="521143" y="1997257"/>
                  <a:pt x="532588" y="1990622"/>
                  <a:pt x="532588" y="1997920"/>
                </a:cubicBezTo>
                <a:cubicBezTo>
                  <a:pt x="532588" y="2005219"/>
                  <a:pt x="544365" y="2009199"/>
                  <a:pt x="547350" y="2016664"/>
                </a:cubicBezTo>
                <a:cubicBezTo>
                  <a:pt x="564667" y="2019997"/>
                  <a:pt x="582448" y="2019997"/>
                  <a:pt x="599765" y="2016664"/>
                </a:cubicBezTo>
                <a:cubicBezTo>
                  <a:pt x="599914" y="2011870"/>
                  <a:pt x="601108" y="2007176"/>
                  <a:pt x="603248" y="2002896"/>
                </a:cubicBezTo>
                <a:cubicBezTo>
                  <a:pt x="608722" y="1993442"/>
                  <a:pt x="592632" y="2000077"/>
                  <a:pt x="583012" y="1989793"/>
                </a:cubicBezTo>
                <a:close/>
                <a:moveTo>
                  <a:pt x="557966" y="818431"/>
                </a:moveTo>
                <a:cubicBezTo>
                  <a:pt x="584505" y="824402"/>
                  <a:pt x="587325" y="871509"/>
                  <a:pt x="605073" y="871509"/>
                </a:cubicBezTo>
                <a:cubicBezTo>
                  <a:pt x="616849" y="871509"/>
                  <a:pt x="608058" y="856746"/>
                  <a:pt x="627299" y="856746"/>
                </a:cubicBezTo>
                <a:cubicBezTo>
                  <a:pt x="646540" y="856746"/>
                  <a:pt x="641895" y="846462"/>
                  <a:pt x="660473" y="847955"/>
                </a:cubicBezTo>
                <a:cubicBezTo>
                  <a:pt x="679050" y="849448"/>
                  <a:pt x="693646" y="843477"/>
                  <a:pt x="693646" y="822909"/>
                </a:cubicBezTo>
                <a:cubicBezTo>
                  <a:pt x="693646" y="802341"/>
                  <a:pt x="706916" y="794877"/>
                  <a:pt x="724498" y="789736"/>
                </a:cubicBezTo>
                <a:cubicBezTo>
                  <a:pt x="742080" y="784594"/>
                  <a:pt x="725991" y="763197"/>
                  <a:pt x="751037" y="756562"/>
                </a:cubicBezTo>
                <a:cubicBezTo>
                  <a:pt x="787843" y="745482"/>
                  <a:pt x="823422" y="730653"/>
                  <a:pt x="857192" y="712275"/>
                </a:cubicBezTo>
                <a:cubicBezTo>
                  <a:pt x="868969" y="703484"/>
                  <a:pt x="842430" y="691707"/>
                  <a:pt x="815891" y="675452"/>
                </a:cubicBezTo>
                <a:cubicBezTo>
                  <a:pt x="789352" y="659197"/>
                  <a:pt x="768785" y="654885"/>
                  <a:pt x="748051" y="668154"/>
                </a:cubicBezTo>
                <a:cubicBezTo>
                  <a:pt x="727318" y="681424"/>
                  <a:pt x="743738" y="653392"/>
                  <a:pt x="727483" y="660690"/>
                </a:cubicBezTo>
                <a:cubicBezTo>
                  <a:pt x="711228" y="667988"/>
                  <a:pt x="667107" y="648913"/>
                  <a:pt x="661136" y="641615"/>
                </a:cubicBezTo>
                <a:cubicBezTo>
                  <a:pt x="655165" y="634317"/>
                  <a:pt x="575714" y="658202"/>
                  <a:pt x="556473" y="658202"/>
                </a:cubicBezTo>
                <a:cubicBezTo>
                  <a:pt x="537232" y="658202"/>
                  <a:pt x="557966" y="678935"/>
                  <a:pt x="571235" y="689219"/>
                </a:cubicBezTo>
                <a:cubicBezTo>
                  <a:pt x="584505" y="699503"/>
                  <a:pt x="538062" y="732013"/>
                  <a:pt x="547682" y="738980"/>
                </a:cubicBezTo>
                <a:cubicBezTo>
                  <a:pt x="557303" y="745946"/>
                  <a:pt x="538891" y="765519"/>
                  <a:pt x="518158" y="788740"/>
                </a:cubicBezTo>
                <a:cubicBezTo>
                  <a:pt x="497424" y="811962"/>
                  <a:pt x="531427" y="812957"/>
                  <a:pt x="557966" y="818431"/>
                </a:cubicBezTo>
                <a:close/>
                <a:moveTo>
                  <a:pt x="1294919" y="939349"/>
                </a:moveTo>
                <a:cubicBezTo>
                  <a:pt x="1303710" y="929065"/>
                  <a:pt x="1340533" y="959916"/>
                  <a:pt x="1342025" y="937856"/>
                </a:cubicBezTo>
                <a:cubicBezTo>
                  <a:pt x="1343518" y="915795"/>
                  <a:pt x="1300724" y="904682"/>
                  <a:pt x="1283142" y="893569"/>
                </a:cubicBezTo>
                <a:cubicBezTo>
                  <a:pt x="1265560" y="882456"/>
                  <a:pt x="1258096" y="887764"/>
                  <a:pt x="1230064" y="867030"/>
                </a:cubicBezTo>
                <a:cubicBezTo>
                  <a:pt x="1202033" y="846296"/>
                  <a:pt x="1237363" y="836179"/>
                  <a:pt x="1216795" y="819923"/>
                </a:cubicBezTo>
                <a:cubicBezTo>
                  <a:pt x="1196227" y="803668"/>
                  <a:pt x="1188763" y="759547"/>
                  <a:pt x="1203526" y="744785"/>
                </a:cubicBezTo>
                <a:cubicBezTo>
                  <a:pt x="1218288" y="730023"/>
                  <a:pt x="1234543" y="707962"/>
                  <a:pt x="1208004" y="697679"/>
                </a:cubicBezTo>
                <a:cubicBezTo>
                  <a:pt x="1181465" y="687395"/>
                  <a:pt x="1138671" y="706470"/>
                  <a:pt x="1143149" y="712275"/>
                </a:cubicBezTo>
                <a:cubicBezTo>
                  <a:pt x="1147628" y="718080"/>
                  <a:pt x="1184451" y="738814"/>
                  <a:pt x="1184451" y="747771"/>
                </a:cubicBezTo>
                <a:cubicBezTo>
                  <a:pt x="1184451" y="756728"/>
                  <a:pt x="1150447" y="722725"/>
                  <a:pt x="1138671" y="730023"/>
                </a:cubicBezTo>
                <a:cubicBezTo>
                  <a:pt x="1126894" y="737321"/>
                  <a:pt x="1113625" y="715261"/>
                  <a:pt x="1103341" y="730023"/>
                </a:cubicBezTo>
                <a:cubicBezTo>
                  <a:pt x="1093057" y="744785"/>
                  <a:pt x="1116610" y="796370"/>
                  <a:pt x="1125401" y="811132"/>
                </a:cubicBezTo>
                <a:cubicBezTo>
                  <a:pt x="1134192" y="825895"/>
                  <a:pt x="1116610" y="825895"/>
                  <a:pt x="1104834" y="828714"/>
                </a:cubicBezTo>
                <a:cubicBezTo>
                  <a:pt x="1093057" y="831534"/>
                  <a:pt x="1091564" y="787579"/>
                  <a:pt x="1079788" y="771324"/>
                </a:cubicBezTo>
                <a:cubicBezTo>
                  <a:pt x="1068011" y="755069"/>
                  <a:pt x="1020739" y="735994"/>
                  <a:pt x="1017753" y="747771"/>
                </a:cubicBezTo>
                <a:cubicBezTo>
                  <a:pt x="1014767" y="759547"/>
                  <a:pt x="1047277" y="759547"/>
                  <a:pt x="1042799" y="775637"/>
                </a:cubicBezTo>
                <a:cubicBezTo>
                  <a:pt x="1038321" y="791726"/>
                  <a:pt x="1020739" y="765353"/>
                  <a:pt x="1004484" y="778622"/>
                </a:cubicBezTo>
                <a:cubicBezTo>
                  <a:pt x="988228" y="791892"/>
                  <a:pt x="991214" y="783101"/>
                  <a:pt x="994200" y="769831"/>
                </a:cubicBezTo>
                <a:cubicBezTo>
                  <a:pt x="997185" y="756562"/>
                  <a:pt x="970646" y="741800"/>
                  <a:pt x="941122" y="744785"/>
                </a:cubicBezTo>
                <a:cubicBezTo>
                  <a:pt x="911597" y="747771"/>
                  <a:pt x="927852" y="768338"/>
                  <a:pt x="919061" y="775637"/>
                </a:cubicBezTo>
                <a:cubicBezTo>
                  <a:pt x="910270" y="782935"/>
                  <a:pt x="865983" y="771324"/>
                  <a:pt x="894015" y="765353"/>
                </a:cubicBezTo>
                <a:cubicBezTo>
                  <a:pt x="922047" y="759382"/>
                  <a:pt x="910602" y="743292"/>
                  <a:pt x="899821" y="727037"/>
                </a:cubicBezTo>
                <a:cubicBezTo>
                  <a:pt x="889039" y="710782"/>
                  <a:pt x="861505" y="730023"/>
                  <a:pt x="815891" y="746278"/>
                </a:cubicBezTo>
                <a:cubicBezTo>
                  <a:pt x="770277" y="762533"/>
                  <a:pt x="749544" y="779452"/>
                  <a:pt x="755515" y="781608"/>
                </a:cubicBezTo>
                <a:cubicBezTo>
                  <a:pt x="761486" y="783764"/>
                  <a:pt x="762813" y="790399"/>
                  <a:pt x="745065" y="805161"/>
                </a:cubicBezTo>
                <a:cubicBezTo>
                  <a:pt x="727318" y="819923"/>
                  <a:pt x="745065" y="833193"/>
                  <a:pt x="761652" y="833193"/>
                </a:cubicBezTo>
                <a:cubicBezTo>
                  <a:pt x="778239" y="833193"/>
                  <a:pt x="763643" y="846131"/>
                  <a:pt x="774922" y="849780"/>
                </a:cubicBezTo>
                <a:cubicBezTo>
                  <a:pt x="786201" y="853429"/>
                  <a:pt x="838283" y="829046"/>
                  <a:pt x="853046" y="839330"/>
                </a:cubicBezTo>
                <a:cubicBezTo>
                  <a:pt x="867808" y="849614"/>
                  <a:pt x="766131" y="855917"/>
                  <a:pt x="766131" y="873333"/>
                </a:cubicBezTo>
                <a:cubicBezTo>
                  <a:pt x="766131" y="890749"/>
                  <a:pt x="822194" y="901365"/>
                  <a:pt x="863329" y="893901"/>
                </a:cubicBezTo>
                <a:cubicBezTo>
                  <a:pt x="904465" y="886437"/>
                  <a:pt x="976949" y="899872"/>
                  <a:pt x="976949" y="910488"/>
                </a:cubicBezTo>
                <a:cubicBezTo>
                  <a:pt x="976949" y="921103"/>
                  <a:pt x="928184" y="917952"/>
                  <a:pt x="891361" y="916459"/>
                </a:cubicBezTo>
                <a:cubicBezTo>
                  <a:pt x="854538" y="914966"/>
                  <a:pt x="791840" y="926743"/>
                  <a:pt x="794162" y="938519"/>
                </a:cubicBezTo>
                <a:cubicBezTo>
                  <a:pt x="796485" y="950296"/>
                  <a:pt x="801461" y="951789"/>
                  <a:pt x="839776" y="969537"/>
                </a:cubicBezTo>
                <a:cubicBezTo>
                  <a:pt x="878092" y="987285"/>
                  <a:pt x="917900" y="960580"/>
                  <a:pt x="916407" y="986124"/>
                </a:cubicBezTo>
                <a:cubicBezTo>
                  <a:pt x="914915" y="1011667"/>
                  <a:pt x="937141" y="1017141"/>
                  <a:pt x="988726" y="1019297"/>
                </a:cubicBezTo>
                <a:cubicBezTo>
                  <a:pt x="1040311" y="1021454"/>
                  <a:pt x="1063864" y="995744"/>
                  <a:pt x="1088247" y="997237"/>
                </a:cubicBezTo>
                <a:cubicBezTo>
                  <a:pt x="1112630" y="998729"/>
                  <a:pt x="1125070" y="994251"/>
                  <a:pt x="1136846" y="976503"/>
                </a:cubicBezTo>
                <a:cubicBezTo>
                  <a:pt x="1148623" y="958755"/>
                  <a:pt x="1158907" y="969205"/>
                  <a:pt x="1161892" y="977996"/>
                </a:cubicBezTo>
                <a:cubicBezTo>
                  <a:pt x="1164878" y="986787"/>
                  <a:pt x="1197388" y="985294"/>
                  <a:pt x="1204686" y="992758"/>
                </a:cubicBezTo>
                <a:cubicBezTo>
                  <a:pt x="1223430" y="1011501"/>
                  <a:pt x="1285796" y="1006028"/>
                  <a:pt x="1309349" y="994251"/>
                </a:cubicBezTo>
                <a:cubicBezTo>
                  <a:pt x="1332903" y="982474"/>
                  <a:pt x="1299066" y="949964"/>
                  <a:pt x="1287123" y="964727"/>
                </a:cubicBezTo>
                <a:cubicBezTo>
                  <a:pt x="1275181" y="979489"/>
                  <a:pt x="1265063" y="970698"/>
                  <a:pt x="1262077" y="963234"/>
                </a:cubicBezTo>
                <a:cubicBezTo>
                  <a:pt x="1259091" y="955770"/>
                  <a:pt x="1286128" y="949964"/>
                  <a:pt x="1294919" y="939680"/>
                </a:cubicBezTo>
                <a:close/>
                <a:moveTo>
                  <a:pt x="734782" y="576760"/>
                </a:moveTo>
                <a:cubicBezTo>
                  <a:pt x="761321" y="579746"/>
                  <a:pt x="787859" y="556027"/>
                  <a:pt x="786367" y="543587"/>
                </a:cubicBezTo>
                <a:cubicBezTo>
                  <a:pt x="784874" y="531147"/>
                  <a:pt x="721678" y="575599"/>
                  <a:pt x="734782" y="577092"/>
                </a:cubicBezTo>
                <a:close/>
                <a:moveTo>
                  <a:pt x="612537" y="536455"/>
                </a:moveTo>
                <a:cubicBezTo>
                  <a:pt x="622820" y="540933"/>
                  <a:pt x="612537" y="561501"/>
                  <a:pt x="624313" y="555695"/>
                </a:cubicBezTo>
                <a:cubicBezTo>
                  <a:pt x="636090" y="549890"/>
                  <a:pt x="639076" y="548231"/>
                  <a:pt x="647867" y="551217"/>
                </a:cubicBezTo>
                <a:cubicBezTo>
                  <a:pt x="664453" y="556525"/>
                  <a:pt x="666941" y="542426"/>
                  <a:pt x="674405" y="534630"/>
                </a:cubicBezTo>
                <a:cubicBezTo>
                  <a:pt x="681870" y="526834"/>
                  <a:pt x="678884" y="561169"/>
                  <a:pt x="697959" y="561169"/>
                </a:cubicBezTo>
                <a:cubicBezTo>
                  <a:pt x="714546" y="561169"/>
                  <a:pt x="711228" y="525839"/>
                  <a:pt x="725991" y="536123"/>
                </a:cubicBezTo>
                <a:cubicBezTo>
                  <a:pt x="740753" y="546407"/>
                  <a:pt x="745065" y="531644"/>
                  <a:pt x="748051" y="521360"/>
                </a:cubicBezTo>
                <a:cubicBezTo>
                  <a:pt x="751037" y="511077"/>
                  <a:pt x="751037" y="493329"/>
                  <a:pt x="767292" y="490509"/>
                </a:cubicBezTo>
                <a:cubicBezTo>
                  <a:pt x="783547" y="487689"/>
                  <a:pt x="770277" y="507096"/>
                  <a:pt x="777576" y="519868"/>
                </a:cubicBezTo>
                <a:cubicBezTo>
                  <a:pt x="788357" y="539274"/>
                  <a:pt x="807100" y="521360"/>
                  <a:pt x="808593" y="512569"/>
                </a:cubicBezTo>
                <a:cubicBezTo>
                  <a:pt x="810086" y="503778"/>
                  <a:pt x="836459" y="509584"/>
                  <a:pt x="835132" y="499300"/>
                </a:cubicBezTo>
                <a:cubicBezTo>
                  <a:pt x="833805" y="489016"/>
                  <a:pt x="842430" y="486031"/>
                  <a:pt x="835132" y="474254"/>
                </a:cubicBezTo>
                <a:cubicBezTo>
                  <a:pt x="827834" y="462477"/>
                  <a:pt x="846909" y="465297"/>
                  <a:pt x="855700" y="456506"/>
                </a:cubicBezTo>
                <a:cubicBezTo>
                  <a:pt x="864491" y="447715"/>
                  <a:pt x="843923" y="455013"/>
                  <a:pt x="829161" y="441744"/>
                </a:cubicBezTo>
                <a:cubicBezTo>
                  <a:pt x="814398" y="428474"/>
                  <a:pt x="808593" y="446222"/>
                  <a:pt x="808593" y="455013"/>
                </a:cubicBezTo>
                <a:cubicBezTo>
                  <a:pt x="808593" y="463804"/>
                  <a:pt x="780561" y="456506"/>
                  <a:pt x="764306" y="450701"/>
                </a:cubicBezTo>
                <a:cubicBezTo>
                  <a:pt x="748051" y="444895"/>
                  <a:pt x="727483" y="469775"/>
                  <a:pt x="703930" y="481552"/>
                </a:cubicBezTo>
                <a:cubicBezTo>
                  <a:pt x="680377" y="493329"/>
                  <a:pt x="678884" y="514726"/>
                  <a:pt x="656658" y="512569"/>
                </a:cubicBezTo>
                <a:cubicBezTo>
                  <a:pt x="634431" y="510413"/>
                  <a:pt x="602253" y="531313"/>
                  <a:pt x="612537" y="536455"/>
                </a:cubicBezTo>
                <a:close/>
                <a:moveTo>
                  <a:pt x="842430" y="529156"/>
                </a:moveTo>
                <a:cubicBezTo>
                  <a:pt x="821862" y="530483"/>
                  <a:pt x="823189" y="551217"/>
                  <a:pt x="846909" y="551217"/>
                </a:cubicBezTo>
                <a:cubicBezTo>
                  <a:pt x="870628" y="551217"/>
                  <a:pt x="877760" y="558515"/>
                  <a:pt x="843923" y="557022"/>
                </a:cubicBezTo>
                <a:cubicBezTo>
                  <a:pt x="810086" y="555529"/>
                  <a:pt x="795323" y="585054"/>
                  <a:pt x="818877" y="579249"/>
                </a:cubicBezTo>
                <a:cubicBezTo>
                  <a:pt x="842430" y="573443"/>
                  <a:pt x="870462" y="573277"/>
                  <a:pt x="852050" y="579249"/>
                </a:cubicBezTo>
                <a:cubicBezTo>
                  <a:pt x="833639" y="585220"/>
                  <a:pt x="785703" y="589201"/>
                  <a:pt x="793167" y="598323"/>
                </a:cubicBezTo>
                <a:cubicBezTo>
                  <a:pt x="797480" y="604295"/>
                  <a:pt x="816721" y="602802"/>
                  <a:pt x="835795" y="610100"/>
                </a:cubicBezTo>
                <a:cubicBezTo>
                  <a:pt x="854870" y="617398"/>
                  <a:pt x="866813" y="621877"/>
                  <a:pt x="881575" y="605787"/>
                </a:cubicBezTo>
                <a:cubicBezTo>
                  <a:pt x="896337" y="589698"/>
                  <a:pt x="914749" y="572614"/>
                  <a:pt x="908114" y="595338"/>
                </a:cubicBezTo>
                <a:cubicBezTo>
                  <a:pt x="901479" y="618062"/>
                  <a:pt x="931667" y="601309"/>
                  <a:pt x="971476" y="599816"/>
                </a:cubicBezTo>
                <a:cubicBezTo>
                  <a:pt x="1011284" y="598323"/>
                  <a:pt x="964012" y="623370"/>
                  <a:pt x="922876" y="626355"/>
                </a:cubicBezTo>
                <a:cubicBezTo>
                  <a:pt x="881741" y="629341"/>
                  <a:pt x="889703" y="649908"/>
                  <a:pt x="921383" y="657372"/>
                </a:cubicBezTo>
                <a:cubicBezTo>
                  <a:pt x="953064" y="664837"/>
                  <a:pt x="1023061" y="636639"/>
                  <a:pt x="1039316" y="620384"/>
                </a:cubicBezTo>
                <a:cubicBezTo>
                  <a:pt x="1055571" y="604129"/>
                  <a:pt x="1070167" y="629341"/>
                  <a:pt x="1086422" y="617564"/>
                </a:cubicBezTo>
                <a:cubicBezTo>
                  <a:pt x="1102678" y="605787"/>
                  <a:pt x="1133529" y="619057"/>
                  <a:pt x="1161561" y="613086"/>
                </a:cubicBezTo>
                <a:cubicBezTo>
                  <a:pt x="1189592" y="607114"/>
                  <a:pt x="1194734" y="554203"/>
                  <a:pt x="1173337" y="545246"/>
                </a:cubicBezTo>
                <a:cubicBezTo>
                  <a:pt x="1151940" y="536289"/>
                  <a:pt x="1152770" y="555695"/>
                  <a:pt x="1136515" y="558515"/>
                </a:cubicBezTo>
                <a:cubicBezTo>
                  <a:pt x="1120260" y="561335"/>
                  <a:pt x="1111469" y="540933"/>
                  <a:pt x="1098199" y="527664"/>
                </a:cubicBezTo>
                <a:cubicBezTo>
                  <a:pt x="1084930" y="514394"/>
                  <a:pt x="1093721" y="489348"/>
                  <a:pt x="1074646" y="492168"/>
                </a:cubicBezTo>
                <a:cubicBezTo>
                  <a:pt x="1055571" y="494987"/>
                  <a:pt x="1014270" y="526171"/>
                  <a:pt x="1039316" y="529156"/>
                </a:cubicBezTo>
                <a:cubicBezTo>
                  <a:pt x="1064362" y="532142"/>
                  <a:pt x="1055903" y="545743"/>
                  <a:pt x="1042135" y="551217"/>
                </a:cubicBezTo>
                <a:cubicBezTo>
                  <a:pt x="1028368" y="556691"/>
                  <a:pt x="1073153" y="567804"/>
                  <a:pt x="1067182" y="576263"/>
                </a:cubicBezTo>
                <a:cubicBezTo>
                  <a:pt x="1061211" y="584722"/>
                  <a:pt x="993536" y="577756"/>
                  <a:pt x="990550" y="562994"/>
                </a:cubicBezTo>
                <a:cubicBezTo>
                  <a:pt x="987565" y="548231"/>
                  <a:pt x="934653" y="521692"/>
                  <a:pt x="912427" y="527664"/>
                </a:cubicBezTo>
                <a:cubicBezTo>
                  <a:pt x="890200" y="533635"/>
                  <a:pt x="899157" y="509916"/>
                  <a:pt x="877097" y="508423"/>
                </a:cubicBezTo>
                <a:cubicBezTo>
                  <a:pt x="855036" y="506930"/>
                  <a:pt x="862998" y="527000"/>
                  <a:pt x="842430" y="528493"/>
                </a:cubicBezTo>
                <a:close/>
                <a:moveTo>
                  <a:pt x="919061" y="423001"/>
                </a:moveTo>
                <a:cubicBezTo>
                  <a:pt x="926359" y="405253"/>
                  <a:pt x="870296" y="408238"/>
                  <a:pt x="874774" y="414210"/>
                </a:cubicBezTo>
                <a:cubicBezTo>
                  <a:pt x="885224" y="426650"/>
                  <a:pt x="911763" y="439919"/>
                  <a:pt x="919061" y="422337"/>
                </a:cubicBezTo>
                <a:close/>
                <a:moveTo>
                  <a:pt x="1041472" y="415537"/>
                </a:moveTo>
                <a:cubicBezTo>
                  <a:pt x="1060547" y="412717"/>
                  <a:pt x="1051756" y="397955"/>
                  <a:pt x="1020739" y="402267"/>
                </a:cubicBezTo>
                <a:cubicBezTo>
                  <a:pt x="989721" y="406580"/>
                  <a:pt x="936809" y="406746"/>
                  <a:pt x="936809" y="428806"/>
                </a:cubicBezTo>
                <a:cubicBezTo>
                  <a:pt x="936809" y="446554"/>
                  <a:pt x="947093" y="455345"/>
                  <a:pt x="980930" y="458330"/>
                </a:cubicBezTo>
                <a:cubicBezTo>
                  <a:pt x="1014767" y="461316"/>
                  <a:pt x="1044292" y="428806"/>
                  <a:pt x="1028203" y="428806"/>
                </a:cubicBezTo>
                <a:cubicBezTo>
                  <a:pt x="1012113" y="428806"/>
                  <a:pt x="1022231" y="417859"/>
                  <a:pt x="1041472" y="414873"/>
                </a:cubicBezTo>
                <a:close/>
                <a:moveTo>
                  <a:pt x="969154" y="387173"/>
                </a:moveTo>
                <a:cubicBezTo>
                  <a:pt x="983916" y="392978"/>
                  <a:pt x="998678" y="373904"/>
                  <a:pt x="1008962" y="382695"/>
                </a:cubicBezTo>
                <a:cubicBezTo>
                  <a:pt x="1019246" y="391486"/>
                  <a:pt x="1065025" y="399282"/>
                  <a:pt x="1065025" y="375231"/>
                </a:cubicBezTo>
                <a:cubicBezTo>
                  <a:pt x="1065025" y="351180"/>
                  <a:pt x="1007469" y="348858"/>
                  <a:pt x="992707" y="357649"/>
                </a:cubicBezTo>
                <a:cubicBezTo>
                  <a:pt x="977945" y="366440"/>
                  <a:pt x="909773" y="369425"/>
                  <a:pt x="929345" y="384187"/>
                </a:cubicBezTo>
                <a:cubicBezTo>
                  <a:pt x="941122" y="392978"/>
                  <a:pt x="954391" y="381036"/>
                  <a:pt x="969154" y="387173"/>
                </a:cubicBezTo>
                <a:close/>
                <a:moveTo>
                  <a:pt x="1215302" y="341393"/>
                </a:moveTo>
                <a:cubicBezTo>
                  <a:pt x="1233050" y="329617"/>
                  <a:pt x="1265063" y="348858"/>
                  <a:pt x="1259589" y="361961"/>
                </a:cubicBezTo>
                <a:cubicBezTo>
                  <a:pt x="1254115" y="375065"/>
                  <a:pt x="1202696" y="359307"/>
                  <a:pt x="1206511" y="370918"/>
                </a:cubicBezTo>
                <a:cubicBezTo>
                  <a:pt x="1208004" y="375231"/>
                  <a:pt x="1213809" y="392978"/>
                  <a:pt x="1249139" y="382695"/>
                </a:cubicBezTo>
                <a:cubicBezTo>
                  <a:pt x="1279543" y="372477"/>
                  <a:pt x="1313065" y="378747"/>
                  <a:pt x="1337713" y="399282"/>
                </a:cubicBezTo>
                <a:cubicBezTo>
                  <a:pt x="1361266" y="418356"/>
                  <a:pt x="1383327" y="425820"/>
                  <a:pt x="1399582" y="406580"/>
                </a:cubicBezTo>
                <a:cubicBezTo>
                  <a:pt x="1415837" y="387339"/>
                  <a:pt x="1378848" y="384519"/>
                  <a:pt x="1386312" y="369757"/>
                </a:cubicBezTo>
                <a:cubicBezTo>
                  <a:pt x="1393776" y="354995"/>
                  <a:pt x="1362759" y="346204"/>
                  <a:pt x="1346504" y="346204"/>
                </a:cubicBezTo>
                <a:cubicBezTo>
                  <a:pt x="1330249" y="346204"/>
                  <a:pt x="1324443" y="316679"/>
                  <a:pt x="1311174" y="322650"/>
                </a:cubicBezTo>
                <a:cubicBezTo>
                  <a:pt x="1297904" y="328622"/>
                  <a:pt x="1288948" y="339237"/>
                  <a:pt x="1288948" y="319665"/>
                </a:cubicBezTo>
                <a:cubicBezTo>
                  <a:pt x="1288948" y="300092"/>
                  <a:pt x="1212317" y="298931"/>
                  <a:pt x="1193242" y="306395"/>
                </a:cubicBezTo>
                <a:cubicBezTo>
                  <a:pt x="1174167" y="313859"/>
                  <a:pt x="1197720" y="353004"/>
                  <a:pt x="1215302" y="341228"/>
                </a:cubicBezTo>
                <a:close/>
                <a:moveTo>
                  <a:pt x="1225586" y="465131"/>
                </a:moveTo>
                <a:cubicBezTo>
                  <a:pt x="1237363" y="450535"/>
                  <a:pt x="1178479" y="403262"/>
                  <a:pt x="1175825" y="425489"/>
                </a:cubicBezTo>
                <a:cubicBezTo>
                  <a:pt x="1173172" y="447715"/>
                  <a:pt x="1213146" y="480723"/>
                  <a:pt x="1224922" y="464965"/>
                </a:cubicBezTo>
                <a:close/>
                <a:moveTo>
                  <a:pt x="1417164" y="272060"/>
                </a:moveTo>
                <a:cubicBezTo>
                  <a:pt x="1427614" y="254478"/>
                  <a:pt x="1355129" y="240546"/>
                  <a:pt x="1373043" y="255474"/>
                </a:cubicBezTo>
                <a:cubicBezTo>
                  <a:pt x="1383327" y="264596"/>
                  <a:pt x="1407378" y="289643"/>
                  <a:pt x="1417164" y="271895"/>
                </a:cubicBezTo>
                <a:close/>
                <a:moveTo>
                  <a:pt x="1251295" y="606617"/>
                </a:moveTo>
                <a:cubicBezTo>
                  <a:pt x="1261745" y="594840"/>
                  <a:pt x="1229235" y="569794"/>
                  <a:pt x="1220444" y="590030"/>
                </a:cubicBezTo>
                <a:cubicBezTo>
                  <a:pt x="1211653" y="610266"/>
                  <a:pt x="1240182" y="619389"/>
                  <a:pt x="1250632" y="606451"/>
                </a:cubicBezTo>
                <a:close/>
                <a:moveTo>
                  <a:pt x="1417164" y="503613"/>
                </a:moveTo>
                <a:cubicBezTo>
                  <a:pt x="1415837" y="518209"/>
                  <a:pt x="1381834" y="500627"/>
                  <a:pt x="1355295" y="490343"/>
                </a:cubicBezTo>
                <a:cubicBezTo>
                  <a:pt x="1328756" y="480059"/>
                  <a:pt x="1345011" y="510911"/>
                  <a:pt x="1365745" y="528659"/>
                </a:cubicBezTo>
                <a:cubicBezTo>
                  <a:pt x="1386478" y="546407"/>
                  <a:pt x="1355295" y="537450"/>
                  <a:pt x="1327263" y="518209"/>
                </a:cubicBezTo>
                <a:cubicBezTo>
                  <a:pt x="1299231" y="498968"/>
                  <a:pt x="1302217" y="531478"/>
                  <a:pt x="1315487" y="541928"/>
                </a:cubicBezTo>
                <a:cubicBezTo>
                  <a:pt x="1328756" y="552378"/>
                  <a:pt x="1312667" y="566974"/>
                  <a:pt x="1294919" y="543255"/>
                </a:cubicBezTo>
                <a:cubicBezTo>
                  <a:pt x="1277171" y="519536"/>
                  <a:pt x="1268380" y="494656"/>
                  <a:pt x="1240348" y="493495"/>
                </a:cubicBezTo>
                <a:cubicBezTo>
                  <a:pt x="1212317" y="492334"/>
                  <a:pt x="1225088" y="520697"/>
                  <a:pt x="1236036" y="534796"/>
                </a:cubicBezTo>
                <a:cubicBezTo>
                  <a:pt x="1250632" y="554037"/>
                  <a:pt x="1265394" y="558349"/>
                  <a:pt x="1288948" y="571619"/>
                </a:cubicBezTo>
                <a:cubicBezTo>
                  <a:pt x="1312501" y="584888"/>
                  <a:pt x="1350982" y="565813"/>
                  <a:pt x="1368564" y="570126"/>
                </a:cubicBezTo>
                <a:cubicBezTo>
                  <a:pt x="1386146" y="574438"/>
                  <a:pt x="1349489" y="596665"/>
                  <a:pt x="1361266" y="611427"/>
                </a:cubicBezTo>
                <a:cubicBezTo>
                  <a:pt x="1373043" y="626189"/>
                  <a:pt x="1405387" y="615905"/>
                  <a:pt x="1430433" y="614413"/>
                </a:cubicBezTo>
                <a:cubicBezTo>
                  <a:pt x="1455479" y="612920"/>
                  <a:pt x="1443703" y="597826"/>
                  <a:pt x="1458465" y="587874"/>
                </a:cubicBezTo>
                <a:cubicBezTo>
                  <a:pt x="1473227" y="577922"/>
                  <a:pt x="1443703" y="579083"/>
                  <a:pt x="1455645" y="554700"/>
                </a:cubicBezTo>
                <a:cubicBezTo>
                  <a:pt x="1467588" y="530318"/>
                  <a:pt x="1418656" y="488684"/>
                  <a:pt x="1417164" y="503281"/>
                </a:cubicBezTo>
                <a:close/>
                <a:moveTo>
                  <a:pt x="1479199" y="416532"/>
                </a:moveTo>
                <a:cubicBezTo>
                  <a:pt x="1499318" y="417013"/>
                  <a:pt x="1519322" y="413513"/>
                  <a:pt x="1538082" y="406248"/>
                </a:cubicBezTo>
                <a:cubicBezTo>
                  <a:pt x="1557322" y="398950"/>
                  <a:pt x="1527798" y="398950"/>
                  <a:pt x="1541067" y="381202"/>
                </a:cubicBezTo>
                <a:cubicBezTo>
                  <a:pt x="1554337" y="363454"/>
                  <a:pt x="1507894" y="361961"/>
                  <a:pt x="1505737" y="367932"/>
                </a:cubicBezTo>
                <a:cubicBezTo>
                  <a:pt x="1503581" y="373904"/>
                  <a:pt x="1445196" y="332602"/>
                  <a:pt x="1436405" y="345872"/>
                </a:cubicBezTo>
                <a:cubicBezTo>
                  <a:pt x="1427614" y="359141"/>
                  <a:pt x="1457138" y="416366"/>
                  <a:pt x="1479199" y="416366"/>
                </a:cubicBezTo>
                <a:close/>
                <a:moveTo>
                  <a:pt x="1598458" y="423996"/>
                </a:moveTo>
                <a:cubicBezTo>
                  <a:pt x="1595638" y="415039"/>
                  <a:pt x="1483843" y="428640"/>
                  <a:pt x="1501259" y="441578"/>
                </a:cubicBezTo>
                <a:cubicBezTo>
                  <a:pt x="1530784" y="463638"/>
                  <a:pt x="1601443" y="432621"/>
                  <a:pt x="1598458" y="423830"/>
                </a:cubicBezTo>
                <a:close/>
                <a:moveTo>
                  <a:pt x="1581871" y="639625"/>
                </a:moveTo>
                <a:cubicBezTo>
                  <a:pt x="1608410" y="638132"/>
                  <a:pt x="1595141" y="606451"/>
                  <a:pt x="1565284" y="583561"/>
                </a:cubicBezTo>
                <a:cubicBezTo>
                  <a:pt x="1535428" y="560671"/>
                  <a:pt x="1469578" y="606949"/>
                  <a:pt x="1481355" y="616735"/>
                </a:cubicBezTo>
                <a:cubicBezTo>
                  <a:pt x="1513052" y="631265"/>
                  <a:pt x="1547503" y="638845"/>
                  <a:pt x="1582369" y="638961"/>
                </a:cubicBezTo>
                <a:close/>
                <a:moveTo>
                  <a:pt x="1393113" y="845965"/>
                </a:moveTo>
                <a:cubicBezTo>
                  <a:pt x="1426287" y="868025"/>
                  <a:pt x="1415339" y="828217"/>
                  <a:pt x="1452162" y="829378"/>
                </a:cubicBezTo>
                <a:cubicBezTo>
                  <a:pt x="1488985" y="830539"/>
                  <a:pt x="1490477" y="770495"/>
                  <a:pt x="1496283" y="748434"/>
                </a:cubicBezTo>
                <a:cubicBezTo>
                  <a:pt x="1502088" y="726374"/>
                  <a:pt x="1466924" y="727701"/>
                  <a:pt x="1475715" y="743956"/>
                </a:cubicBezTo>
                <a:cubicBezTo>
                  <a:pt x="1484506" y="760211"/>
                  <a:pt x="1474222" y="776300"/>
                  <a:pt x="1471237" y="757225"/>
                </a:cubicBezTo>
                <a:cubicBezTo>
                  <a:pt x="1468251" y="738150"/>
                  <a:pt x="1440385" y="755732"/>
                  <a:pt x="1429936" y="740638"/>
                </a:cubicBezTo>
                <a:cubicBezTo>
                  <a:pt x="1419486" y="725544"/>
                  <a:pt x="1463109" y="724052"/>
                  <a:pt x="1472730" y="705308"/>
                </a:cubicBezTo>
                <a:cubicBezTo>
                  <a:pt x="1482350" y="686565"/>
                  <a:pt x="1439556" y="688722"/>
                  <a:pt x="1449176" y="674291"/>
                </a:cubicBezTo>
                <a:cubicBezTo>
                  <a:pt x="1458797" y="659861"/>
                  <a:pt x="1384322" y="675784"/>
                  <a:pt x="1406382" y="684741"/>
                </a:cubicBezTo>
                <a:cubicBezTo>
                  <a:pt x="1428443" y="693698"/>
                  <a:pt x="1407875" y="705308"/>
                  <a:pt x="1387307" y="690546"/>
                </a:cubicBezTo>
                <a:cubicBezTo>
                  <a:pt x="1366740" y="675784"/>
                  <a:pt x="1309515" y="700498"/>
                  <a:pt x="1329751" y="717085"/>
                </a:cubicBezTo>
                <a:cubicBezTo>
                  <a:pt x="1346338" y="730355"/>
                  <a:pt x="1394606" y="708294"/>
                  <a:pt x="1366574" y="746610"/>
                </a:cubicBezTo>
                <a:cubicBezTo>
                  <a:pt x="1338542" y="784925"/>
                  <a:pt x="1326766" y="736326"/>
                  <a:pt x="1300227" y="740638"/>
                </a:cubicBezTo>
                <a:cubicBezTo>
                  <a:pt x="1273688" y="744951"/>
                  <a:pt x="1285630" y="777461"/>
                  <a:pt x="1325439" y="789238"/>
                </a:cubicBezTo>
                <a:cubicBezTo>
                  <a:pt x="1365247" y="801014"/>
                  <a:pt x="1361266" y="823241"/>
                  <a:pt x="1393610" y="845301"/>
                </a:cubicBezTo>
                <a:close/>
                <a:moveTo>
                  <a:pt x="1633456" y="610100"/>
                </a:moveTo>
                <a:cubicBezTo>
                  <a:pt x="1643740" y="639625"/>
                  <a:pt x="1655517" y="619057"/>
                  <a:pt x="1671772" y="630834"/>
                </a:cubicBezTo>
                <a:cubicBezTo>
                  <a:pt x="1688027" y="642610"/>
                  <a:pt x="1713073" y="649908"/>
                  <a:pt x="1726342" y="638132"/>
                </a:cubicBezTo>
                <a:cubicBezTo>
                  <a:pt x="1739612" y="626355"/>
                  <a:pt x="1745417" y="617564"/>
                  <a:pt x="1749895" y="627848"/>
                </a:cubicBezTo>
                <a:cubicBezTo>
                  <a:pt x="1757028" y="644435"/>
                  <a:pt x="1789704" y="646923"/>
                  <a:pt x="1860364" y="648416"/>
                </a:cubicBezTo>
                <a:cubicBezTo>
                  <a:pt x="1931024" y="649908"/>
                  <a:pt x="1913442" y="619057"/>
                  <a:pt x="1934175" y="630834"/>
                </a:cubicBezTo>
                <a:cubicBezTo>
                  <a:pt x="1954909" y="642610"/>
                  <a:pt x="2001849" y="642610"/>
                  <a:pt x="2022583" y="638132"/>
                </a:cubicBezTo>
                <a:cubicBezTo>
                  <a:pt x="2043317" y="633653"/>
                  <a:pt x="2053435" y="601309"/>
                  <a:pt x="2051942" y="585054"/>
                </a:cubicBezTo>
                <a:cubicBezTo>
                  <a:pt x="2050449" y="568799"/>
                  <a:pt x="1892874" y="555695"/>
                  <a:pt x="1864842" y="571785"/>
                </a:cubicBezTo>
                <a:cubicBezTo>
                  <a:pt x="1836811" y="587874"/>
                  <a:pt x="1792524" y="564486"/>
                  <a:pt x="1770463" y="576263"/>
                </a:cubicBezTo>
                <a:cubicBezTo>
                  <a:pt x="1748403" y="588040"/>
                  <a:pt x="1755701" y="561501"/>
                  <a:pt x="1715893" y="559676"/>
                </a:cubicBezTo>
                <a:cubicBezTo>
                  <a:pt x="1676084" y="557851"/>
                  <a:pt x="1718878" y="537616"/>
                  <a:pt x="1726342" y="528825"/>
                </a:cubicBezTo>
                <a:cubicBezTo>
                  <a:pt x="1733806" y="520033"/>
                  <a:pt x="1665800" y="495651"/>
                  <a:pt x="1637769" y="502286"/>
                </a:cubicBezTo>
                <a:cubicBezTo>
                  <a:pt x="1609737" y="508920"/>
                  <a:pt x="1593648" y="493329"/>
                  <a:pt x="1567109" y="481552"/>
                </a:cubicBezTo>
                <a:cubicBezTo>
                  <a:pt x="1540570" y="469775"/>
                  <a:pt x="1468583" y="472595"/>
                  <a:pt x="1483013" y="493329"/>
                </a:cubicBezTo>
                <a:cubicBezTo>
                  <a:pt x="1493463" y="508091"/>
                  <a:pt x="1578885" y="539109"/>
                  <a:pt x="1587676" y="524346"/>
                </a:cubicBezTo>
                <a:cubicBezTo>
                  <a:pt x="1596467" y="509584"/>
                  <a:pt x="1618694" y="542094"/>
                  <a:pt x="1631963" y="557520"/>
                </a:cubicBezTo>
                <a:cubicBezTo>
                  <a:pt x="1645233" y="572946"/>
                  <a:pt x="1623006" y="580078"/>
                  <a:pt x="1633954" y="609437"/>
                </a:cubicBezTo>
                <a:close/>
                <a:moveTo>
                  <a:pt x="1708594" y="436270"/>
                </a:moveTo>
                <a:cubicBezTo>
                  <a:pt x="1682055" y="423001"/>
                  <a:pt x="1648716" y="451032"/>
                  <a:pt x="1675421" y="461316"/>
                </a:cubicBezTo>
                <a:cubicBezTo>
                  <a:pt x="1700301" y="470107"/>
                  <a:pt x="1735631" y="448876"/>
                  <a:pt x="1709092" y="435607"/>
                </a:cubicBezTo>
                <a:close/>
                <a:moveTo>
                  <a:pt x="1496283" y="270402"/>
                </a:moveTo>
                <a:cubicBezTo>
                  <a:pt x="1518012" y="281183"/>
                  <a:pt x="1505240" y="295448"/>
                  <a:pt x="1529457" y="305732"/>
                </a:cubicBezTo>
                <a:cubicBezTo>
                  <a:pt x="1553674" y="316016"/>
                  <a:pt x="1620850" y="292462"/>
                  <a:pt x="1626655" y="308717"/>
                </a:cubicBezTo>
                <a:cubicBezTo>
                  <a:pt x="1632461" y="324972"/>
                  <a:pt x="1557488" y="326299"/>
                  <a:pt x="1567772" y="336583"/>
                </a:cubicBezTo>
                <a:cubicBezTo>
                  <a:pt x="1578056" y="346867"/>
                  <a:pt x="1620850" y="363122"/>
                  <a:pt x="1614879" y="372079"/>
                </a:cubicBezTo>
                <a:cubicBezTo>
                  <a:pt x="1608907" y="381036"/>
                  <a:pt x="1685705" y="405253"/>
                  <a:pt x="1693003" y="394139"/>
                </a:cubicBezTo>
                <a:cubicBezTo>
                  <a:pt x="1700301" y="383026"/>
                  <a:pt x="1721035" y="385348"/>
                  <a:pt x="1740275" y="392647"/>
                </a:cubicBezTo>
                <a:cubicBezTo>
                  <a:pt x="1759516" y="399945"/>
                  <a:pt x="1760843" y="347033"/>
                  <a:pt x="1773449" y="355824"/>
                </a:cubicBezTo>
                <a:cubicBezTo>
                  <a:pt x="1786055" y="364615"/>
                  <a:pt x="1785226" y="336583"/>
                  <a:pt x="1806623" y="327792"/>
                </a:cubicBezTo>
                <a:cubicBezTo>
                  <a:pt x="1828020" y="319001"/>
                  <a:pt x="1860696" y="318835"/>
                  <a:pt x="1862686" y="308717"/>
                </a:cubicBezTo>
                <a:cubicBezTo>
                  <a:pt x="1864179" y="301253"/>
                  <a:pt x="1856715" y="290969"/>
                  <a:pt x="1829512" y="293955"/>
                </a:cubicBezTo>
                <a:cubicBezTo>
                  <a:pt x="1802310" y="296941"/>
                  <a:pt x="1785391" y="286491"/>
                  <a:pt x="1797168" y="271729"/>
                </a:cubicBezTo>
                <a:cubicBezTo>
                  <a:pt x="1808945" y="256966"/>
                  <a:pt x="1767644" y="252654"/>
                  <a:pt x="1782406" y="240877"/>
                </a:cubicBezTo>
                <a:cubicBezTo>
                  <a:pt x="1797168" y="229101"/>
                  <a:pt x="1754374" y="217324"/>
                  <a:pt x="1758853" y="234906"/>
                </a:cubicBezTo>
                <a:cubicBezTo>
                  <a:pt x="1763331" y="252488"/>
                  <a:pt x="1732313" y="236399"/>
                  <a:pt x="1727835" y="220144"/>
                </a:cubicBezTo>
                <a:cubicBezTo>
                  <a:pt x="1723357" y="203889"/>
                  <a:pt x="1662981" y="198083"/>
                  <a:pt x="1623172" y="162753"/>
                </a:cubicBezTo>
                <a:cubicBezTo>
                  <a:pt x="1583364" y="127423"/>
                  <a:pt x="1542229" y="150977"/>
                  <a:pt x="1565782" y="155289"/>
                </a:cubicBezTo>
                <a:cubicBezTo>
                  <a:pt x="1589335" y="159602"/>
                  <a:pt x="1587842" y="171876"/>
                  <a:pt x="1568767" y="170051"/>
                </a:cubicBezTo>
                <a:cubicBezTo>
                  <a:pt x="1549693" y="168227"/>
                  <a:pt x="1515690" y="171544"/>
                  <a:pt x="1546541" y="183321"/>
                </a:cubicBezTo>
                <a:cubicBezTo>
                  <a:pt x="1577393" y="195098"/>
                  <a:pt x="1543721" y="199908"/>
                  <a:pt x="1518675" y="199908"/>
                </a:cubicBezTo>
                <a:cubicBezTo>
                  <a:pt x="1493629" y="199908"/>
                  <a:pt x="1492136" y="233081"/>
                  <a:pt x="1524481" y="236730"/>
                </a:cubicBezTo>
                <a:cubicBezTo>
                  <a:pt x="1556825" y="240380"/>
                  <a:pt x="1533272" y="260284"/>
                  <a:pt x="1506733" y="253317"/>
                </a:cubicBezTo>
                <a:cubicBezTo>
                  <a:pt x="1480194" y="246351"/>
                  <a:pt x="1473725" y="258625"/>
                  <a:pt x="1496781" y="271065"/>
                </a:cubicBezTo>
                <a:close/>
                <a:moveTo>
                  <a:pt x="1674757" y="124438"/>
                </a:moveTo>
                <a:cubicBezTo>
                  <a:pt x="1695325" y="111168"/>
                  <a:pt x="1711580" y="119959"/>
                  <a:pt x="1693832" y="128750"/>
                </a:cubicBezTo>
                <a:cubicBezTo>
                  <a:pt x="1676084" y="137541"/>
                  <a:pt x="1682055" y="143512"/>
                  <a:pt x="1707102" y="142020"/>
                </a:cubicBezTo>
                <a:cubicBezTo>
                  <a:pt x="1732148" y="140527"/>
                  <a:pt x="1696818" y="149484"/>
                  <a:pt x="1696818" y="164246"/>
                </a:cubicBezTo>
                <a:cubicBezTo>
                  <a:pt x="1696818" y="179008"/>
                  <a:pt x="1726342" y="170051"/>
                  <a:pt x="1727669" y="184814"/>
                </a:cubicBezTo>
                <a:cubicBezTo>
                  <a:pt x="1728996" y="199576"/>
                  <a:pt x="1792524" y="205547"/>
                  <a:pt x="1811765" y="187799"/>
                </a:cubicBezTo>
                <a:cubicBezTo>
                  <a:pt x="1831005" y="170051"/>
                  <a:pt x="1823541" y="192278"/>
                  <a:pt x="1822048" y="204386"/>
                </a:cubicBezTo>
                <a:cubicBezTo>
                  <a:pt x="1820556" y="216495"/>
                  <a:pt x="1911949" y="226447"/>
                  <a:pt x="1916427" y="211684"/>
                </a:cubicBezTo>
                <a:cubicBezTo>
                  <a:pt x="1920906" y="196922"/>
                  <a:pt x="1934175" y="202893"/>
                  <a:pt x="1951757" y="207206"/>
                </a:cubicBezTo>
                <a:cubicBezTo>
                  <a:pt x="1969339" y="211519"/>
                  <a:pt x="2056420" y="190619"/>
                  <a:pt x="2057913" y="174032"/>
                </a:cubicBezTo>
                <a:cubicBezTo>
                  <a:pt x="2059406" y="157445"/>
                  <a:pt x="2085945" y="182823"/>
                  <a:pt x="2057913" y="202064"/>
                </a:cubicBezTo>
                <a:cubicBezTo>
                  <a:pt x="2029881" y="221305"/>
                  <a:pt x="1973818" y="218651"/>
                  <a:pt x="1948772" y="225617"/>
                </a:cubicBezTo>
                <a:cubicBezTo>
                  <a:pt x="1923726" y="232584"/>
                  <a:pt x="1965359" y="250663"/>
                  <a:pt x="1990073" y="269904"/>
                </a:cubicBezTo>
                <a:cubicBezTo>
                  <a:pt x="2014787" y="289145"/>
                  <a:pt x="1957728" y="278695"/>
                  <a:pt x="1934175" y="253317"/>
                </a:cubicBezTo>
                <a:cubicBezTo>
                  <a:pt x="1910622" y="227939"/>
                  <a:pt x="1857378" y="228271"/>
                  <a:pt x="1829512" y="229764"/>
                </a:cubicBezTo>
                <a:cubicBezTo>
                  <a:pt x="1801647" y="231257"/>
                  <a:pt x="1810272" y="282842"/>
                  <a:pt x="1830839" y="282842"/>
                </a:cubicBezTo>
                <a:cubicBezTo>
                  <a:pt x="1851407" y="282842"/>
                  <a:pt x="1872141" y="290140"/>
                  <a:pt x="1892874" y="322650"/>
                </a:cubicBezTo>
                <a:cubicBezTo>
                  <a:pt x="1913608" y="355160"/>
                  <a:pt x="1957728" y="347696"/>
                  <a:pt x="1957728" y="362293"/>
                </a:cubicBezTo>
                <a:cubicBezTo>
                  <a:pt x="1957728" y="376889"/>
                  <a:pt x="1900172" y="350516"/>
                  <a:pt x="1867828" y="344711"/>
                </a:cubicBezTo>
                <a:cubicBezTo>
                  <a:pt x="1835484" y="338905"/>
                  <a:pt x="1783733" y="359473"/>
                  <a:pt x="1782240" y="383026"/>
                </a:cubicBezTo>
                <a:cubicBezTo>
                  <a:pt x="1780747" y="406580"/>
                  <a:pt x="1829512" y="403594"/>
                  <a:pt x="1861857" y="384519"/>
                </a:cubicBezTo>
                <a:cubicBezTo>
                  <a:pt x="1894201" y="365444"/>
                  <a:pt x="1870648" y="390325"/>
                  <a:pt x="1854559" y="405087"/>
                </a:cubicBezTo>
                <a:cubicBezTo>
                  <a:pt x="1838469" y="419849"/>
                  <a:pt x="1892874" y="431626"/>
                  <a:pt x="1892874" y="449374"/>
                </a:cubicBezTo>
                <a:cubicBezTo>
                  <a:pt x="1892874" y="467122"/>
                  <a:pt x="1853066" y="461150"/>
                  <a:pt x="1848587" y="444895"/>
                </a:cubicBezTo>
                <a:cubicBezTo>
                  <a:pt x="1844109" y="428640"/>
                  <a:pt x="1829512" y="412551"/>
                  <a:pt x="1791197" y="415371"/>
                </a:cubicBezTo>
                <a:cubicBezTo>
                  <a:pt x="1752881" y="418190"/>
                  <a:pt x="1763165" y="444895"/>
                  <a:pt x="1786718" y="448544"/>
                </a:cubicBezTo>
                <a:cubicBezTo>
                  <a:pt x="1810272" y="452193"/>
                  <a:pt x="1811765" y="469112"/>
                  <a:pt x="1785226" y="469112"/>
                </a:cubicBezTo>
                <a:cubicBezTo>
                  <a:pt x="1758686" y="469112"/>
                  <a:pt x="1698808" y="485699"/>
                  <a:pt x="1717385" y="502286"/>
                </a:cubicBezTo>
                <a:cubicBezTo>
                  <a:pt x="1735963" y="518873"/>
                  <a:pt x="1813257" y="502286"/>
                  <a:pt x="1826527" y="514062"/>
                </a:cubicBezTo>
                <a:cubicBezTo>
                  <a:pt x="1839796" y="525839"/>
                  <a:pt x="1876287" y="530649"/>
                  <a:pt x="1885410" y="517048"/>
                </a:cubicBezTo>
                <a:cubicBezTo>
                  <a:pt x="1894533" y="503447"/>
                  <a:pt x="1923726" y="509584"/>
                  <a:pt x="1953250" y="509584"/>
                </a:cubicBezTo>
                <a:cubicBezTo>
                  <a:pt x="1982775" y="509584"/>
                  <a:pt x="1990073" y="514062"/>
                  <a:pt x="2003011" y="526171"/>
                </a:cubicBezTo>
                <a:cubicBezTo>
                  <a:pt x="2015948" y="538279"/>
                  <a:pt x="2039833" y="533469"/>
                  <a:pt x="2056088" y="521692"/>
                </a:cubicBezTo>
                <a:cubicBezTo>
                  <a:pt x="2065725" y="512039"/>
                  <a:pt x="2079459" y="507643"/>
                  <a:pt x="2092911" y="509916"/>
                </a:cubicBezTo>
                <a:cubicBezTo>
                  <a:pt x="2113645" y="509916"/>
                  <a:pt x="2117957" y="496646"/>
                  <a:pt x="2107674" y="480391"/>
                </a:cubicBezTo>
                <a:cubicBezTo>
                  <a:pt x="2097390" y="464136"/>
                  <a:pt x="2070851" y="492168"/>
                  <a:pt x="2067865" y="480391"/>
                </a:cubicBezTo>
                <a:cubicBezTo>
                  <a:pt x="2064216" y="465795"/>
                  <a:pt x="2039833" y="461316"/>
                  <a:pt x="1998532" y="467122"/>
                </a:cubicBezTo>
                <a:cubicBezTo>
                  <a:pt x="1957231" y="472927"/>
                  <a:pt x="1974979" y="440583"/>
                  <a:pt x="2000025" y="448047"/>
                </a:cubicBezTo>
                <a:cubicBezTo>
                  <a:pt x="2028836" y="454399"/>
                  <a:pt x="2058792" y="453371"/>
                  <a:pt x="2087106" y="445061"/>
                </a:cubicBezTo>
                <a:cubicBezTo>
                  <a:pt x="2114972" y="437763"/>
                  <a:pt x="2092911" y="424493"/>
                  <a:pt x="2092911" y="412717"/>
                </a:cubicBezTo>
                <a:cubicBezTo>
                  <a:pt x="2092911" y="400940"/>
                  <a:pt x="2128241" y="408238"/>
                  <a:pt x="2154780" y="408238"/>
                </a:cubicBezTo>
                <a:cubicBezTo>
                  <a:pt x="2181319" y="408238"/>
                  <a:pt x="2219635" y="365444"/>
                  <a:pt x="2221127" y="340398"/>
                </a:cubicBezTo>
                <a:cubicBezTo>
                  <a:pt x="2222620" y="315352"/>
                  <a:pt x="2162244" y="321323"/>
                  <a:pt x="2132720" y="321323"/>
                </a:cubicBezTo>
                <a:cubicBezTo>
                  <a:pt x="2103195" y="321323"/>
                  <a:pt x="2151960" y="299097"/>
                  <a:pt x="2207858" y="302083"/>
                </a:cubicBezTo>
                <a:cubicBezTo>
                  <a:pt x="2263756" y="305068"/>
                  <a:pt x="2238875" y="280022"/>
                  <a:pt x="2249159" y="271231"/>
                </a:cubicBezTo>
                <a:cubicBezTo>
                  <a:pt x="2259443" y="262440"/>
                  <a:pt x="2285982" y="281515"/>
                  <a:pt x="2314014" y="275544"/>
                </a:cubicBezTo>
                <a:cubicBezTo>
                  <a:pt x="2342046" y="269572"/>
                  <a:pt x="2322805" y="246019"/>
                  <a:pt x="2342046" y="246019"/>
                </a:cubicBezTo>
                <a:cubicBezTo>
                  <a:pt x="2355647" y="246019"/>
                  <a:pt x="2386332" y="225451"/>
                  <a:pt x="2446708" y="191614"/>
                </a:cubicBezTo>
                <a:cubicBezTo>
                  <a:pt x="2507084" y="157777"/>
                  <a:pt x="2554357" y="163583"/>
                  <a:pt x="2557177" y="144342"/>
                </a:cubicBezTo>
                <a:cubicBezTo>
                  <a:pt x="2559997" y="125101"/>
                  <a:pt x="2473247" y="144342"/>
                  <a:pt x="2457656" y="138536"/>
                </a:cubicBezTo>
                <a:cubicBezTo>
                  <a:pt x="2442064" y="132731"/>
                  <a:pt x="2518032" y="116476"/>
                  <a:pt x="2535780" y="120789"/>
                </a:cubicBezTo>
                <a:cubicBezTo>
                  <a:pt x="2553528" y="125101"/>
                  <a:pt x="2577081" y="120789"/>
                  <a:pt x="2637457" y="91264"/>
                </a:cubicBezTo>
                <a:cubicBezTo>
                  <a:pt x="2697833" y="61739"/>
                  <a:pt x="2670631" y="54441"/>
                  <a:pt x="2646248" y="58090"/>
                </a:cubicBezTo>
                <a:cubicBezTo>
                  <a:pt x="2621865" y="61739"/>
                  <a:pt x="2593170" y="53612"/>
                  <a:pt x="2594663" y="37523"/>
                </a:cubicBezTo>
                <a:cubicBezTo>
                  <a:pt x="2596156" y="21433"/>
                  <a:pt x="2557840" y="36030"/>
                  <a:pt x="2556347" y="27073"/>
                </a:cubicBezTo>
                <a:cubicBezTo>
                  <a:pt x="2554854" y="18116"/>
                  <a:pt x="2519525" y="22760"/>
                  <a:pt x="2481209" y="37523"/>
                </a:cubicBezTo>
                <a:cubicBezTo>
                  <a:pt x="2442893" y="52285"/>
                  <a:pt x="2478223" y="22760"/>
                  <a:pt x="2494478" y="16789"/>
                </a:cubicBezTo>
                <a:cubicBezTo>
                  <a:pt x="2510734" y="10818"/>
                  <a:pt x="2397279" y="16789"/>
                  <a:pt x="2378371" y="3520"/>
                </a:cubicBezTo>
                <a:cubicBezTo>
                  <a:pt x="2359462" y="-9750"/>
                  <a:pt x="2337069" y="25580"/>
                  <a:pt x="2319487" y="7998"/>
                </a:cubicBezTo>
                <a:cubicBezTo>
                  <a:pt x="2301905" y="-9584"/>
                  <a:pt x="2256126" y="5012"/>
                  <a:pt x="2261931" y="18282"/>
                </a:cubicBezTo>
                <a:cubicBezTo>
                  <a:pt x="2267736" y="31551"/>
                  <a:pt x="2254633" y="31551"/>
                  <a:pt x="2236885" y="16789"/>
                </a:cubicBezTo>
                <a:cubicBezTo>
                  <a:pt x="2219137" y="2027"/>
                  <a:pt x="2185300" y="18282"/>
                  <a:pt x="2153951" y="13803"/>
                </a:cubicBezTo>
                <a:cubicBezTo>
                  <a:pt x="2122602" y="9325"/>
                  <a:pt x="2136369" y="38850"/>
                  <a:pt x="2102366" y="24253"/>
                </a:cubicBezTo>
                <a:cubicBezTo>
                  <a:pt x="2068363" y="9657"/>
                  <a:pt x="2031706" y="16789"/>
                  <a:pt x="2041990" y="21268"/>
                </a:cubicBezTo>
                <a:cubicBezTo>
                  <a:pt x="2052274" y="25746"/>
                  <a:pt x="2039004" y="34537"/>
                  <a:pt x="2024242" y="30059"/>
                </a:cubicBezTo>
                <a:cubicBezTo>
                  <a:pt x="2009480" y="25580"/>
                  <a:pt x="1996376" y="31551"/>
                  <a:pt x="2003674" y="46645"/>
                </a:cubicBezTo>
                <a:cubicBezTo>
                  <a:pt x="2010972" y="61739"/>
                  <a:pt x="1949103" y="42167"/>
                  <a:pt x="1949103" y="58422"/>
                </a:cubicBezTo>
                <a:cubicBezTo>
                  <a:pt x="1949103" y="74677"/>
                  <a:pt x="1927043" y="83468"/>
                  <a:pt x="1909295" y="68706"/>
                </a:cubicBezTo>
                <a:cubicBezTo>
                  <a:pt x="1891547" y="53944"/>
                  <a:pt x="1835650" y="49631"/>
                  <a:pt x="1851905" y="62900"/>
                </a:cubicBezTo>
                <a:cubicBezTo>
                  <a:pt x="1868160" y="76170"/>
                  <a:pt x="1802144" y="68706"/>
                  <a:pt x="1818731" y="81975"/>
                </a:cubicBezTo>
                <a:cubicBezTo>
                  <a:pt x="1835318" y="95245"/>
                  <a:pt x="1796670" y="105529"/>
                  <a:pt x="1796670" y="98562"/>
                </a:cubicBezTo>
                <a:cubicBezTo>
                  <a:pt x="1796670" y="91596"/>
                  <a:pt x="1759848" y="77829"/>
                  <a:pt x="1745085" y="91098"/>
                </a:cubicBezTo>
                <a:cubicBezTo>
                  <a:pt x="1730323" y="104368"/>
                  <a:pt x="1725845" y="120623"/>
                  <a:pt x="1718546" y="111832"/>
                </a:cubicBezTo>
                <a:cubicBezTo>
                  <a:pt x="1711248" y="103041"/>
                  <a:pt x="1678738" y="105860"/>
                  <a:pt x="1647887" y="117637"/>
                </a:cubicBezTo>
                <a:cubicBezTo>
                  <a:pt x="1617035" y="129414"/>
                  <a:pt x="1654521" y="138371"/>
                  <a:pt x="1675255" y="124603"/>
                </a:cubicBezTo>
                <a:close/>
                <a:moveTo>
                  <a:pt x="2046136" y="1396316"/>
                </a:moveTo>
                <a:cubicBezTo>
                  <a:pt x="2056420" y="1394989"/>
                  <a:pt x="2076988" y="1358000"/>
                  <a:pt x="2050449" y="1359493"/>
                </a:cubicBezTo>
                <a:cubicBezTo>
                  <a:pt x="2023910" y="1360986"/>
                  <a:pt x="2030545" y="1398970"/>
                  <a:pt x="2046634" y="1396482"/>
                </a:cubicBezTo>
                <a:close/>
                <a:moveTo>
                  <a:pt x="1916427" y="1363972"/>
                </a:moveTo>
                <a:cubicBezTo>
                  <a:pt x="1939981" y="1378734"/>
                  <a:pt x="1975311" y="1338926"/>
                  <a:pt x="1972491" y="1327149"/>
                </a:cubicBezTo>
                <a:cubicBezTo>
                  <a:pt x="1969671" y="1315372"/>
                  <a:pt x="1888396" y="1346390"/>
                  <a:pt x="1916925" y="1364137"/>
                </a:cubicBezTo>
                <a:close/>
                <a:moveTo>
                  <a:pt x="2022583" y="1282862"/>
                </a:moveTo>
                <a:cubicBezTo>
                  <a:pt x="2025403" y="1268100"/>
                  <a:pt x="1973818" y="1262294"/>
                  <a:pt x="1976803" y="1246039"/>
                </a:cubicBezTo>
                <a:cubicBezTo>
                  <a:pt x="1979789" y="1229784"/>
                  <a:pt x="1928204" y="1216515"/>
                  <a:pt x="1911949" y="1207724"/>
                </a:cubicBezTo>
                <a:cubicBezTo>
                  <a:pt x="1895694" y="1198933"/>
                  <a:pt x="1870648" y="1194454"/>
                  <a:pt x="1870648" y="1176872"/>
                </a:cubicBezTo>
                <a:cubicBezTo>
                  <a:pt x="1870648" y="1159290"/>
                  <a:pt x="1835318" y="1172394"/>
                  <a:pt x="1833825" y="1198933"/>
                </a:cubicBezTo>
                <a:cubicBezTo>
                  <a:pt x="1832332" y="1225471"/>
                  <a:pt x="1817238" y="1219500"/>
                  <a:pt x="1825034" y="1244546"/>
                </a:cubicBezTo>
                <a:cubicBezTo>
                  <a:pt x="1832830" y="1269592"/>
                  <a:pt x="1791860" y="1275564"/>
                  <a:pt x="1797002" y="1288833"/>
                </a:cubicBezTo>
                <a:cubicBezTo>
                  <a:pt x="1802144" y="1302103"/>
                  <a:pt x="1820556" y="1287341"/>
                  <a:pt x="1838303" y="1287341"/>
                </a:cubicBezTo>
                <a:cubicBezTo>
                  <a:pt x="1856051" y="1287341"/>
                  <a:pt x="1833493" y="1312055"/>
                  <a:pt x="1856051" y="1313879"/>
                </a:cubicBezTo>
                <a:cubicBezTo>
                  <a:pt x="1878012" y="1311192"/>
                  <a:pt x="1898049" y="1300079"/>
                  <a:pt x="1911949" y="1282862"/>
                </a:cubicBezTo>
                <a:cubicBezTo>
                  <a:pt x="1919413" y="1271085"/>
                  <a:pt x="1934175" y="1266275"/>
                  <a:pt x="1954743" y="1281369"/>
                </a:cubicBezTo>
                <a:cubicBezTo>
                  <a:pt x="1975311" y="1296463"/>
                  <a:pt x="2020095" y="1297790"/>
                  <a:pt x="2023081" y="1282862"/>
                </a:cubicBezTo>
                <a:close/>
                <a:moveTo>
                  <a:pt x="2503601" y="1153153"/>
                </a:moveTo>
                <a:cubicBezTo>
                  <a:pt x="2521349" y="1154646"/>
                  <a:pt x="2524335" y="1176872"/>
                  <a:pt x="2552366" y="1200425"/>
                </a:cubicBezTo>
                <a:cubicBezTo>
                  <a:pt x="2580398" y="1223979"/>
                  <a:pt x="2583218" y="1207724"/>
                  <a:pt x="2587696" y="1191469"/>
                </a:cubicBezTo>
                <a:cubicBezTo>
                  <a:pt x="2592175" y="1175213"/>
                  <a:pt x="2623026" y="1188649"/>
                  <a:pt x="2620870" y="1172394"/>
                </a:cubicBezTo>
                <a:cubicBezTo>
                  <a:pt x="2618714" y="1156139"/>
                  <a:pt x="2645916" y="1137064"/>
                  <a:pt x="2663664" y="1129600"/>
                </a:cubicBezTo>
                <a:cubicBezTo>
                  <a:pt x="2681412" y="1122136"/>
                  <a:pt x="2648902" y="1104554"/>
                  <a:pt x="2625348" y="1106046"/>
                </a:cubicBezTo>
                <a:cubicBezTo>
                  <a:pt x="2612693" y="1108667"/>
                  <a:pt x="2600319" y="1100539"/>
                  <a:pt x="2597698" y="1087884"/>
                </a:cubicBezTo>
                <a:cubicBezTo>
                  <a:pt x="2597234" y="1085628"/>
                  <a:pt x="2597101" y="1083306"/>
                  <a:pt x="2597317" y="1081000"/>
                </a:cubicBezTo>
                <a:cubicBezTo>
                  <a:pt x="2597317" y="1070717"/>
                  <a:pt x="2553196" y="1045670"/>
                  <a:pt x="2538434" y="1049983"/>
                </a:cubicBezTo>
                <a:cubicBezTo>
                  <a:pt x="2523671" y="1054295"/>
                  <a:pt x="2498625" y="1030908"/>
                  <a:pt x="2479385" y="1029415"/>
                </a:cubicBezTo>
                <a:cubicBezTo>
                  <a:pt x="2460144" y="1027922"/>
                  <a:pt x="2432278" y="1012828"/>
                  <a:pt x="2435263" y="992592"/>
                </a:cubicBezTo>
                <a:cubicBezTo>
                  <a:pt x="2438249" y="972356"/>
                  <a:pt x="2473579" y="998398"/>
                  <a:pt x="2480877" y="982309"/>
                </a:cubicBezTo>
                <a:cubicBezTo>
                  <a:pt x="2488176" y="966219"/>
                  <a:pt x="2444054" y="974844"/>
                  <a:pt x="2442562" y="963068"/>
                </a:cubicBezTo>
                <a:cubicBezTo>
                  <a:pt x="2441069" y="951291"/>
                  <a:pt x="2452845" y="955770"/>
                  <a:pt x="2461803" y="948306"/>
                </a:cubicBezTo>
                <a:cubicBezTo>
                  <a:pt x="2470759" y="940842"/>
                  <a:pt x="2454338" y="926245"/>
                  <a:pt x="2444054" y="920274"/>
                </a:cubicBezTo>
                <a:cubicBezTo>
                  <a:pt x="2433771" y="914303"/>
                  <a:pt x="2430785" y="932051"/>
                  <a:pt x="2420501" y="932051"/>
                </a:cubicBezTo>
                <a:cubicBezTo>
                  <a:pt x="2410217" y="932051"/>
                  <a:pt x="2419008" y="915464"/>
                  <a:pt x="2426306" y="905512"/>
                </a:cubicBezTo>
                <a:cubicBezTo>
                  <a:pt x="2433605" y="895559"/>
                  <a:pt x="2393133" y="883451"/>
                  <a:pt x="2374722" y="888925"/>
                </a:cubicBezTo>
                <a:cubicBezTo>
                  <a:pt x="2356310" y="894398"/>
                  <a:pt x="2351168" y="884446"/>
                  <a:pt x="2351168" y="872338"/>
                </a:cubicBezTo>
                <a:cubicBezTo>
                  <a:pt x="2351168" y="860230"/>
                  <a:pt x="2320151" y="872338"/>
                  <a:pt x="2308374" y="881129"/>
                </a:cubicBezTo>
                <a:cubicBezTo>
                  <a:pt x="2296598" y="889920"/>
                  <a:pt x="2281835" y="872338"/>
                  <a:pt x="2296598" y="870845"/>
                </a:cubicBezTo>
                <a:cubicBezTo>
                  <a:pt x="2311360" y="869352"/>
                  <a:pt x="2329771" y="857576"/>
                  <a:pt x="2324629" y="844306"/>
                </a:cubicBezTo>
                <a:cubicBezTo>
                  <a:pt x="2319487" y="831037"/>
                  <a:pt x="2281835" y="829544"/>
                  <a:pt x="2274869" y="845799"/>
                </a:cubicBezTo>
                <a:cubicBezTo>
                  <a:pt x="2267902" y="862054"/>
                  <a:pt x="2236553" y="828051"/>
                  <a:pt x="2236553" y="814782"/>
                </a:cubicBezTo>
                <a:cubicBezTo>
                  <a:pt x="2236553" y="801512"/>
                  <a:pt x="2189447" y="813289"/>
                  <a:pt x="2195252" y="791228"/>
                </a:cubicBezTo>
                <a:cubicBezTo>
                  <a:pt x="2201058" y="769168"/>
                  <a:pt x="2140681" y="763197"/>
                  <a:pt x="2124592" y="763197"/>
                </a:cubicBezTo>
                <a:cubicBezTo>
                  <a:pt x="2108503" y="763197"/>
                  <a:pt x="2084784" y="776466"/>
                  <a:pt x="2087769" y="791228"/>
                </a:cubicBezTo>
                <a:cubicBezTo>
                  <a:pt x="2090755" y="805991"/>
                  <a:pt x="2070021" y="800019"/>
                  <a:pt x="2067036" y="783930"/>
                </a:cubicBezTo>
                <a:cubicBezTo>
                  <a:pt x="2064050" y="767841"/>
                  <a:pt x="2024242" y="801512"/>
                  <a:pt x="2012465" y="801512"/>
                </a:cubicBezTo>
                <a:cubicBezTo>
                  <a:pt x="2000689" y="801512"/>
                  <a:pt x="2019929" y="758884"/>
                  <a:pt x="2013958" y="745615"/>
                </a:cubicBezTo>
                <a:cubicBezTo>
                  <a:pt x="2005283" y="732859"/>
                  <a:pt x="1997404" y="719557"/>
                  <a:pt x="1990405" y="705806"/>
                </a:cubicBezTo>
                <a:cubicBezTo>
                  <a:pt x="1981614" y="683746"/>
                  <a:pt x="1937327" y="692537"/>
                  <a:pt x="1925550" y="705806"/>
                </a:cubicBezTo>
                <a:cubicBezTo>
                  <a:pt x="1913773" y="719075"/>
                  <a:pt x="1875790" y="713104"/>
                  <a:pt x="1854890" y="733838"/>
                </a:cubicBezTo>
                <a:cubicBezTo>
                  <a:pt x="1833991" y="754571"/>
                  <a:pt x="1856217" y="774973"/>
                  <a:pt x="1865174" y="782437"/>
                </a:cubicBezTo>
                <a:cubicBezTo>
                  <a:pt x="1874131" y="789901"/>
                  <a:pt x="1834157" y="801512"/>
                  <a:pt x="1847426" y="813289"/>
                </a:cubicBezTo>
                <a:cubicBezTo>
                  <a:pt x="1860696" y="825065"/>
                  <a:pt x="1880600" y="819260"/>
                  <a:pt x="1882756" y="838335"/>
                </a:cubicBezTo>
                <a:cubicBezTo>
                  <a:pt x="1884912" y="857410"/>
                  <a:pt x="1834157" y="832530"/>
                  <a:pt x="1826858" y="816274"/>
                </a:cubicBezTo>
                <a:cubicBezTo>
                  <a:pt x="1819560" y="800019"/>
                  <a:pt x="1829678" y="785423"/>
                  <a:pt x="1819394" y="773646"/>
                </a:cubicBezTo>
                <a:cubicBezTo>
                  <a:pt x="1809111" y="761870"/>
                  <a:pt x="1817902" y="747107"/>
                  <a:pt x="1837142" y="726374"/>
                </a:cubicBezTo>
                <a:cubicBezTo>
                  <a:pt x="1856383" y="705640"/>
                  <a:pt x="1870316" y="708792"/>
                  <a:pt x="1870316" y="697015"/>
                </a:cubicBezTo>
                <a:cubicBezTo>
                  <a:pt x="1870316" y="685238"/>
                  <a:pt x="1787382" y="685073"/>
                  <a:pt x="1739114" y="729359"/>
                </a:cubicBezTo>
                <a:cubicBezTo>
                  <a:pt x="1708047" y="758834"/>
                  <a:pt x="1696138" y="803237"/>
                  <a:pt x="1708263" y="844306"/>
                </a:cubicBezTo>
                <a:cubicBezTo>
                  <a:pt x="1711248" y="856083"/>
                  <a:pt x="1753876" y="850277"/>
                  <a:pt x="1778922" y="857576"/>
                </a:cubicBezTo>
                <a:cubicBezTo>
                  <a:pt x="1803969" y="864874"/>
                  <a:pt x="1790699" y="875323"/>
                  <a:pt x="1771624" y="872338"/>
                </a:cubicBezTo>
                <a:cubicBezTo>
                  <a:pt x="1752549" y="869352"/>
                  <a:pt x="1720039" y="863547"/>
                  <a:pt x="1721864" y="876816"/>
                </a:cubicBezTo>
                <a:cubicBezTo>
                  <a:pt x="1723689" y="890086"/>
                  <a:pt x="1763165" y="915132"/>
                  <a:pt x="1786718" y="909161"/>
                </a:cubicBezTo>
                <a:cubicBezTo>
                  <a:pt x="1810272" y="903189"/>
                  <a:pt x="1810272" y="903355"/>
                  <a:pt x="1819892" y="916625"/>
                </a:cubicBezTo>
                <a:cubicBezTo>
                  <a:pt x="1829512" y="929894"/>
                  <a:pt x="1858207" y="925416"/>
                  <a:pt x="1886239" y="926908"/>
                </a:cubicBezTo>
                <a:cubicBezTo>
                  <a:pt x="1911004" y="930010"/>
                  <a:pt x="1935585" y="934439"/>
                  <a:pt x="1959885" y="940178"/>
                </a:cubicBezTo>
                <a:cubicBezTo>
                  <a:pt x="1972906" y="940875"/>
                  <a:pt x="1985511" y="935418"/>
                  <a:pt x="1993888" y="925416"/>
                </a:cubicBezTo>
                <a:cubicBezTo>
                  <a:pt x="1998200" y="917952"/>
                  <a:pt x="2052771" y="937192"/>
                  <a:pt x="2069026" y="935700"/>
                </a:cubicBezTo>
                <a:cubicBezTo>
                  <a:pt x="2085281" y="934207"/>
                  <a:pt x="2074832" y="919113"/>
                  <a:pt x="2064548" y="915132"/>
                </a:cubicBezTo>
                <a:cubicBezTo>
                  <a:pt x="2054264" y="911151"/>
                  <a:pt x="2058742" y="891579"/>
                  <a:pt x="2072012" y="898545"/>
                </a:cubicBezTo>
                <a:cubicBezTo>
                  <a:pt x="2085281" y="905512"/>
                  <a:pt x="2107342" y="910322"/>
                  <a:pt x="2111820" y="923591"/>
                </a:cubicBezTo>
                <a:cubicBezTo>
                  <a:pt x="2116299" y="936861"/>
                  <a:pt x="2128407" y="929562"/>
                  <a:pt x="2129402" y="940178"/>
                </a:cubicBezTo>
                <a:cubicBezTo>
                  <a:pt x="2130397" y="950794"/>
                  <a:pt x="2178002" y="962238"/>
                  <a:pt x="2179163" y="973352"/>
                </a:cubicBezTo>
                <a:cubicBezTo>
                  <a:pt x="2180324" y="984465"/>
                  <a:pt x="2133549" y="991100"/>
                  <a:pt x="2145989" y="1001383"/>
                </a:cubicBezTo>
                <a:cubicBezTo>
                  <a:pt x="2158429" y="1011667"/>
                  <a:pt x="2179163" y="988114"/>
                  <a:pt x="2197574" y="986621"/>
                </a:cubicBezTo>
                <a:cubicBezTo>
                  <a:pt x="2215986" y="985128"/>
                  <a:pt x="2215322" y="1024937"/>
                  <a:pt x="2228426" y="1019795"/>
                </a:cubicBezTo>
                <a:cubicBezTo>
                  <a:pt x="2246505" y="1011667"/>
                  <a:pt x="2261599" y="1027093"/>
                  <a:pt x="2278186" y="1052969"/>
                </a:cubicBezTo>
                <a:cubicBezTo>
                  <a:pt x="2294773" y="1078844"/>
                  <a:pt x="2276693" y="1101568"/>
                  <a:pt x="2278186" y="1110525"/>
                </a:cubicBezTo>
                <a:cubicBezTo>
                  <a:pt x="2279679" y="1119482"/>
                  <a:pt x="2313516" y="1116330"/>
                  <a:pt x="2332591" y="1106046"/>
                </a:cubicBezTo>
                <a:cubicBezTo>
                  <a:pt x="2351666" y="1095763"/>
                  <a:pt x="2369580" y="1117823"/>
                  <a:pt x="2384176" y="1131093"/>
                </a:cubicBezTo>
                <a:cubicBezTo>
                  <a:pt x="2398773" y="1144362"/>
                  <a:pt x="2329771" y="1166422"/>
                  <a:pt x="2335577" y="1154646"/>
                </a:cubicBezTo>
                <a:cubicBezTo>
                  <a:pt x="2341382" y="1142869"/>
                  <a:pt x="2294275" y="1107539"/>
                  <a:pt x="2251647" y="1123794"/>
                </a:cubicBezTo>
                <a:cubicBezTo>
                  <a:pt x="2209019" y="1140049"/>
                  <a:pt x="2238378" y="1164930"/>
                  <a:pt x="2242690" y="1179692"/>
                </a:cubicBezTo>
                <a:cubicBezTo>
                  <a:pt x="2247003" y="1194454"/>
                  <a:pt x="2204375" y="1209216"/>
                  <a:pt x="2164566" y="1196279"/>
                </a:cubicBezTo>
                <a:cubicBezTo>
                  <a:pt x="2124758" y="1183341"/>
                  <a:pt x="2136701" y="1205070"/>
                  <a:pt x="2120446" y="1205070"/>
                </a:cubicBezTo>
                <a:cubicBezTo>
                  <a:pt x="2104190" y="1205070"/>
                  <a:pt x="2086442" y="1230116"/>
                  <a:pt x="2101205" y="1246371"/>
                </a:cubicBezTo>
                <a:cubicBezTo>
                  <a:pt x="2115967" y="1262626"/>
                  <a:pt x="2148477" y="1247864"/>
                  <a:pt x="2175016" y="1249357"/>
                </a:cubicBezTo>
                <a:cubicBezTo>
                  <a:pt x="2201555" y="1250850"/>
                  <a:pt x="2204375" y="1258148"/>
                  <a:pt x="2208190" y="1243385"/>
                </a:cubicBezTo>
                <a:cubicBezTo>
                  <a:pt x="2212005" y="1228623"/>
                  <a:pt x="2239207" y="1236087"/>
                  <a:pt x="2257950" y="1240566"/>
                </a:cubicBezTo>
                <a:cubicBezTo>
                  <a:pt x="2276693" y="1245044"/>
                  <a:pt x="2272712" y="1271417"/>
                  <a:pt x="2296266" y="1273739"/>
                </a:cubicBezTo>
                <a:cubicBezTo>
                  <a:pt x="2319819" y="1276061"/>
                  <a:pt x="2300744" y="1300278"/>
                  <a:pt x="2315507" y="1316533"/>
                </a:cubicBezTo>
                <a:cubicBezTo>
                  <a:pt x="2330269" y="1332788"/>
                  <a:pt x="2377375" y="1323831"/>
                  <a:pt x="2395123" y="1341579"/>
                </a:cubicBezTo>
                <a:cubicBezTo>
                  <a:pt x="2412871" y="1359327"/>
                  <a:pt x="2487678" y="1394491"/>
                  <a:pt x="2498293" y="1381388"/>
                </a:cubicBezTo>
                <a:cubicBezTo>
                  <a:pt x="2508909" y="1368284"/>
                  <a:pt x="2433439" y="1298454"/>
                  <a:pt x="2411213" y="1292814"/>
                </a:cubicBezTo>
                <a:cubicBezTo>
                  <a:pt x="2388986" y="1287174"/>
                  <a:pt x="2433439" y="1279710"/>
                  <a:pt x="2460973" y="1301771"/>
                </a:cubicBezTo>
                <a:cubicBezTo>
                  <a:pt x="2488507" y="1323831"/>
                  <a:pt x="2530140" y="1334945"/>
                  <a:pt x="2550874" y="1307576"/>
                </a:cubicBezTo>
                <a:cubicBezTo>
                  <a:pt x="2571607" y="1280208"/>
                  <a:pt x="2533126" y="1288501"/>
                  <a:pt x="2533126" y="1269261"/>
                </a:cubicBezTo>
                <a:cubicBezTo>
                  <a:pt x="2533126" y="1250020"/>
                  <a:pt x="2519856" y="1223647"/>
                  <a:pt x="2499952" y="1223647"/>
                </a:cubicBezTo>
                <a:cubicBezTo>
                  <a:pt x="2480048" y="1223647"/>
                  <a:pt x="2426141" y="1182346"/>
                  <a:pt x="2445381" y="1173886"/>
                </a:cubicBezTo>
                <a:cubicBezTo>
                  <a:pt x="2464622" y="1165427"/>
                  <a:pt x="2439410" y="1153153"/>
                  <a:pt x="2454172" y="1137064"/>
                </a:cubicBezTo>
                <a:cubicBezTo>
                  <a:pt x="2468935" y="1120975"/>
                  <a:pt x="2487346" y="1151826"/>
                  <a:pt x="2504928" y="1153319"/>
                </a:cubicBezTo>
                <a:close/>
                <a:moveTo>
                  <a:pt x="2192598" y="1082493"/>
                </a:moveTo>
                <a:cubicBezTo>
                  <a:pt x="2210346" y="1079508"/>
                  <a:pt x="2207029" y="1052139"/>
                  <a:pt x="2197077" y="1038206"/>
                </a:cubicBezTo>
                <a:cubicBezTo>
                  <a:pt x="2189778" y="1027922"/>
                  <a:pt x="2170538" y="1026429"/>
                  <a:pt x="2154283" y="1027922"/>
                </a:cubicBezTo>
                <a:cubicBezTo>
                  <a:pt x="2138028" y="1029415"/>
                  <a:pt x="2110162" y="1054461"/>
                  <a:pt x="2124924" y="1079508"/>
                </a:cubicBezTo>
                <a:cubicBezTo>
                  <a:pt x="2139686" y="1104554"/>
                  <a:pt x="2176343" y="1085645"/>
                  <a:pt x="2193925" y="1082659"/>
                </a:cubicBezTo>
                <a:close/>
                <a:moveTo>
                  <a:pt x="2008484" y="699171"/>
                </a:moveTo>
                <a:cubicBezTo>
                  <a:pt x="1999527" y="718412"/>
                  <a:pt x="2027559" y="718412"/>
                  <a:pt x="2029052" y="740473"/>
                </a:cubicBezTo>
                <a:cubicBezTo>
                  <a:pt x="2030545" y="762533"/>
                  <a:pt x="2058576" y="769997"/>
                  <a:pt x="2078812" y="757059"/>
                </a:cubicBezTo>
                <a:cubicBezTo>
                  <a:pt x="2099048" y="744122"/>
                  <a:pt x="2158429" y="761040"/>
                  <a:pt x="2158429" y="743790"/>
                </a:cubicBezTo>
                <a:cubicBezTo>
                  <a:pt x="2158429" y="726540"/>
                  <a:pt x="2096560" y="698176"/>
                  <a:pt x="2074500" y="702489"/>
                </a:cubicBezTo>
                <a:cubicBezTo>
                  <a:pt x="2052439" y="706801"/>
                  <a:pt x="2018602" y="680262"/>
                  <a:pt x="2009811" y="699337"/>
                </a:cubicBezTo>
                <a:close/>
                <a:moveTo>
                  <a:pt x="2561157" y="1953634"/>
                </a:moveTo>
                <a:cubicBezTo>
                  <a:pt x="2564143" y="1965410"/>
                  <a:pt x="2649565" y="2000740"/>
                  <a:pt x="2652551" y="1984485"/>
                </a:cubicBezTo>
                <a:cubicBezTo>
                  <a:pt x="2655537" y="1968230"/>
                  <a:pt x="2559997" y="1943681"/>
                  <a:pt x="2562484" y="1953799"/>
                </a:cubicBezTo>
                <a:close/>
                <a:moveTo>
                  <a:pt x="2935025" y="2041544"/>
                </a:moveTo>
                <a:cubicBezTo>
                  <a:pt x="2929219" y="2052325"/>
                  <a:pt x="2920262" y="2033582"/>
                  <a:pt x="2933034" y="2023796"/>
                </a:cubicBezTo>
                <a:cubicBezTo>
                  <a:pt x="2945806" y="2014010"/>
                  <a:pt x="2931044" y="2010029"/>
                  <a:pt x="2919267" y="2016000"/>
                </a:cubicBezTo>
                <a:cubicBezTo>
                  <a:pt x="2907491" y="2021971"/>
                  <a:pt x="2910476" y="1989461"/>
                  <a:pt x="2921258" y="1982826"/>
                </a:cubicBezTo>
                <a:cubicBezTo>
                  <a:pt x="2932039" y="1976192"/>
                  <a:pt x="2894719" y="1965244"/>
                  <a:pt x="2894719" y="1976026"/>
                </a:cubicBezTo>
                <a:cubicBezTo>
                  <a:pt x="2894719" y="1986807"/>
                  <a:pt x="2868180" y="1979841"/>
                  <a:pt x="2865194" y="1970054"/>
                </a:cubicBezTo>
                <a:cubicBezTo>
                  <a:pt x="2862209" y="1960268"/>
                  <a:pt x="2843631" y="1957283"/>
                  <a:pt x="2850598" y="1950482"/>
                </a:cubicBezTo>
                <a:cubicBezTo>
                  <a:pt x="2857564" y="1943681"/>
                  <a:pt x="2827874" y="1939701"/>
                  <a:pt x="2825054" y="1951477"/>
                </a:cubicBezTo>
                <a:cubicBezTo>
                  <a:pt x="2822234" y="1963254"/>
                  <a:pt x="2813277" y="1943516"/>
                  <a:pt x="2827874" y="1927924"/>
                </a:cubicBezTo>
                <a:cubicBezTo>
                  <a:pt x="2842470" y="1912332"/>
                  <a:pt x="2837826" y="1898399"/>
                  <a:pt x="2851593" y="1890438"/>
                </a:cubicBezTo>
                <a:cubicBezTo>
                  <a:pt x="2865360" y="1882476"/>
                  <a:pt x="2850598" y="1873851"/>
                  <a:pt x="2835006" y="1879656"/>
                </a:cubicBezTo>
                <a:cubicBezTo>
                  <a:pt x="2819415" y="1885462"/>
                  <a:pt x="2780933" y="1939701"/>
                  <a:pt x="2780933" y="1954297"/>
                </a:cubicBezTo>
                <a:cubicBezTo>
                  <a:pt x="2780933" y="1968893"/>
                  <a:pt x="2779938" y="1987471"/>
                  <a:pt x="2766171" y="1985812"/>
                </a:cubicBezTo>
                <a:cubicBezTo>
                  <a:pt x="2752404" y="1984153"/>
                  <a:pt x="2736646" y="1997589"/>
                  <a:pt x="2747594" y="2005384"/>
                </a:cubicBezTo>
                <a:cubicBezTo>
                  <a:pt x="2758541" y="2013180"/>
                  <a:pt x="2718898" y="2035738"/>
                  <a:pt x="2737641" y="2045690"/>
                </a:cubicBezTo>
                <a:cubicBezTo>
                  <a:pt x="2750413" y="2052657"/>
                  <a:pt x="2770815" y="2042871"/>
                  <a:pt x="2788729" y="2044695"/>
                </a:cubicBezTo>
                <a:cubicBezTo>
                  <a:pt x="2804884" y="2048660"/>
                  <a:pt x="2821969" y="2045856"/>
                  <a:pt x="2836001" y="2036899"/>
                </a:cubicBezTo>
                <a:cubicBezTo>
                  <a:pt x="2850764" y="2026118"/>
                  <a:pt x="2850764" y="2046686"/>
                  <a:pt x="2866355" y="2044695"/>
                </a:cubicBezTo>
                <a:cubicBezTo>
                  <a:pt x="2881947" y="2042705"/>
                  <a:pt x="2857564" y="2057467"/>
                  <a:pt x="2858559" y="2068414"/>
                </a:cubicBezTo>
                <a:cubicBezTo>
                  <a:pt x="2859555" y="2079362"/>
                  <a:pt x="2875146" y="2062443"/>
                  <a:pt x="2887089" y="2056638"/>
                </a:cubicBezTo>
                <a:cubicBezTo>
                  <a:pt x="2899031" y="2050832"/>
                  <a:pt x="2913628" y="2056638"/>
                  <a:pt x="2907656" y="2066424"/>
                </a:cubicBezTo>
                <a:cubicBezTo>
                  <a:pt x="2901685" y="2076210"/>
                  <a:pt x="2940830" y="2085996"/>
                  <a:pt x="2948958" y="2070239"/>
                </a:cubicBezTo>
                <a:cubicBezTo>
                  <a:pt x="2957085" y="2054481"/>
                  <a:pt x="2942323" y="2030928"/>
                  <a:pt x="2936351" y="2041710"/>
                </a:cubicBezTo>
                <a:close/>
                <a:moveTo>
                  <a:pt x="272341" y="1770847"/>
                </a:moveTo>
                <a:cubicBezTo>
                  <a:pt x="245802" y="1784945"/>
                  <a:pt x="309495" y="1852288"/>
                  <a:pt x="322101" y="1843829"/>
                </a:cubicBezTo>
                <a:cubicBezTo>
                  <a:pt x="331224" y="1838023"/>
                  <a:pt x="305514" y="1810655"/>
                  <a:pt x="305514" y="1792409"/>
                </a:cubicBezTo>
                <a:cubicBezTo>
                  <a:pt x="305514" y="1774164"/>
                  <a:pt x="298714" y="1756748"/>
                  <a:pt x="272341" y="1770847"/>
                </a:cubicBezTo>
                <a:close/>
                <a:moveTo>
                  <a:pt x="2701150" y="2107062"/>
                </a:moveTo>
                <a:cubicBezTo>
                  <a:pt x="2690867" y="2108555"/>
                  <a:pt x="2698994" y="2092299"/>
                  <a:pt x="2701150" y="2084172"/>
                </a:cubicBezTo>
                <a:cubicBezTo>
                  <a:pt x="2703307" y="2076044"/>
                  <a:pt x="2679090" y="2087821"/>
                  <a:pt x="2678260" y="2097441"/>
                </a:cubicBezTo>
                <a:cubicBezTo>
                  <a:pt x="2677431" y="2107062"/>
                  <a:pt x="2661674" y="2110711"/>
                  <a:pt x="2661674" y="2116516"/>
                </a:cubicBezTo>
                <a:cubicBezTo>
                  <a:pt x="2661674" y="2133103"/>
                  <a:pt x="2659517" y="2124644"/>
                  <a:pt x="2647575" y="2130615"/>
                </a:cubicBezTo>
                <a:cubicBezTo>
                  <a:pt x="2635632" y="2136586"/>
                  <a:pt x="2590184" y="2130615"/>
                  <a:pt x="2588692" y="2120331"/>
                </a:cubicBezTo>
                <a:cubicBezTo>
                  <a:pt x="2587199" y="2110047"/>
                  <a:pt x="2554025" y="2104740"/>
                  <a:pt x="2552532" y="2090807"/>
                </a:cubicBezTo>
                <a:cubicBezTo>
                  <a:pt x="2551039" y="2076874"/>
                  <a:pt x="2534950" y="2072395"/>
                  <a:pt x="2548220" y="2057633"/>
                </a:cubicBezTo>
                <a:cubicBezTo>
                  <a:pt x="2561489" y="2042871"/>
                  <a:pt x="2545898" y="2034743"/>
                  <a:pt x="2533457" y="2046520"/>
                </a:cubicBezTo>
                <a:cubicBezTo>
                  <a:pt x="2521017" y="2058296"/>
                  <a:pt x="2513553" y="2039885"/>
                  <a:pt x="2530472" y="2033250"/>
                </a:cubicBezTo>
                <a:cubicBezTo>
                  <a:pt x="2547390" y="2026615"/>
                  <a:pt x="2579071" y="2019981"/>
                  <a:pt x="2563646" y="1990456"/>
                </a:cubicBezTo>
                <a:cubicBezTo>
                  <a:pt x="2548220" y="1960932"/>
                  <a:pt x="2445713" y="1999247"/>
                  <a:pt x="2419838" y="2014010"/>
                </a:cubicBezTo>
                <a:cubicBezTo>
                  <a:pt x="2393962" y="2028772"/>
                  <a:pt x="2361618" y="2076044"/>
                  <a:pt x="2347685" y="2076044"/>
                </a:cubicBezTo>
                <a:cubicBezTo>
                  <a:pt x="2333752" y="2076044"/>
                  <a:pt x="2371902" y="2050832"/>
                  <a:pt x="2377873" y="2041378"/>
                </a:cubicBezTo>
                <a:cubicBezTo>
                  <a:pt x="2383844" y="2031923"/>
                  <a:pt x="2376380" y="2022137"/>
                  <a:pt x="2384508" y="2025786"/>
                </a:cubicBezTo>
                <a:cubicBezTo>
                  <a:pt x="2392635" y="2029435"/>
                  <a:pt x="2415359" y="1994105"/>
                  <a:pt x="2430951" y="1982329"/>
                </a:cubicBezTo>
                <a:cubicBezTo>
                  <a:pt x="2446542" y="1970552"/>
                  <a:pt x="2464125" y="1982329"/>
                  <a:pt x="2465617" y="1972045"/>
                </a:cubicBezTo>
                <a:cubicBezTo>
                  <a:pt x="2467110" y="1961761"/>
                  <a:pt x="2475072" y="1955458"/>
                  <a:pt x="2489834" y="1942686"/>
                </a:cubicBezTo>
                <a:cubicBezTo>
                  <a:pt x="2504596" y="1929914"/>
                  <a:pt x="2680749" y="1931573"/>
                  <a:pt x="2697667" y="1932236"/>
                </a:cubicBezTo>
                <a:cubicBezTo>
                  <a:pt x="2714586" y="1932900"/>
                  <a:pt x="2747427" y="1910176"/>
                  <a:pt x="2757380" y="1895414"/>
                </a:cubicBezTo>
                <a:cubicBezTo>
                  <a:pt x="2767332" y="1880651"/>
                  <a:pt x="2779440" y="1880651"/>
                  <a:pt x="2803159" y="1882144"/>
                </a:cubicBezTo>
                <a:cubicBezTo>
                  <a:pt x="2826879" y="1883637"/>
                  <a:pt x="2837660" y="1862240"/>
                  <a:pt x="2849437" y="1854113"/>
                </a:cubicBezTo>
                <a:cubicBezTo>
                  <a:pt x="2861213" y="1845985"/>
                  <a:pt x="2856901" y="1842336"/>
                  <a:pt x="2846617" y="1840180"/>
                </a:cubicBezTo>
                <a:cubicBezTo>
                  <a:pt x="2836333" y="1838023"/>
                  <a:pt x="2826713" y="1831389"/>
                  <a:pt x="2836997" y="1830559"/>
                </a:cubicBezTo>
                <a:cubicBezTo>
                  <a:pt x="2847280" y="1829730"/>
                  <a:pt x="2852422" y="1823924"/>
                  <a:pt x="2856901" y="1810655"/>
                </a:cubicBezTo>
                <a:cubicBezTo>
                  <a:pt x="2861379" y="1797386"/>
                  <a:pt x="2853252" y="1803357"/>
                  <a:pt x="2839153" y="1784945"/>
                </a:cubicBezTo>
                <a:cubicBezTo>
                  <a:pt x="2825054" y="1766534"/>
                  <a:pt x="2817756" y="1790751"/>
                  <a:pt x="2803823" y="1789258"/>
                </a:cubicBezTo>
                <a:cubicBezTo>
                  <a:pt x="2789890" y="1787765"/>
                  <a:pt x="2813443" y="1770183"/>
                  <a:pt x="2801666" y="1762719"/>
                </a:cubicBezTo>
                <a:cubicBezTo>
                  <a:pt x="2789890" y="1755255"/>
                  <a:pt x="2768493" y="1760563"/>
                  <a:pt x="2750081" y="1775325"/>
                </a:cubicBezTo>
                <a:cubicBezTo>
                  <a:pt x="2731670" y="1790087"/>
                  <a:pt x="2733495" y="1774496"/>
                  <a:pt x="2718401" y="1789258"/>
                </a:cubicBezTo>
                <a:cubicBezTo>
                  <a:pt x="2703307" y="1804020"/>
                  <a:pt x="2702809" y="1781960"/>
                  <a:pt x="2710273" y="1775988"/>
                </a:cubicBezTo>
                <a:cubicBezTo>
                  <a:pt x="2717737" y="1770017"/>
                  <a:pt x="2722713" y="1776818"/>
                  <a:pt x="2729348" y="1768027"/>
                </a:cubicBezTo>
                <a:cubicBezTo>
                  <a:pt x="2735983" y="1759236"/>
                  <a:pt x="2742617" y="1768027"/>
                  <a:pt x="2759536" y="1756914"/>
                </a:cubicBezTo>
                <a:cubicBezTo>
                  <a:pt x="2776454" y="1745801"/>
                  <a:pt x="2791217" y="1750942"/>
                  <a:pt x="2796525" y="1742815"/>
                </a:cubicBezTo>
                <a:cubicBezTo>
                  <a:pt x="2801833" y="1734687"/>
                  <a:pt x="2788397" y="1723740"/>
                  <a:pt x="2772142" y="1727389"/>
                </a:cubicBezTo>
                <a:cubicBezTo>
                  <a:pt x="2755887" y="1731038"/>
                  <a:pt x="2744940" y="1705329"/>
                  <a:pt x="2734490" y="1712627"/>
                </a:cubicBezTo>
                <a:cubicBezTo>
                  <a:pt x="2724040" y="1719925"/>
                  <a:pt x="2726362" y="1701680"/>
                  <a:pt x="2714586" y="1708978"/>
                </a:cubicBezTo>
                <a:cubicBezTo>
                  <a:pt x="2702809" y="1716276"/>
                  <a:pt x="2696174" y="1706821"/>
                  <a:pt x="2691032" y="1692391"/>
                </a:cubicBezTo>
                <a:cubicBezTo>
                  <a:pt x="2685890" y="1677960"/>
                  <a:pt x="2654210" y="1655568"/>
                  <a:pt x="2634969" y="1649763"/>
                </a:cubicBezTo>
                <a:cubicBezTo>
                  <a:pt x="2615728" y="1643957"/>
                  <a:pt x="2628500" y="1633176"/>
                  <a:pt x="2638784" y="1640806"/>
                </a:cubicBezTo>
                <a:cubicBezTo>
                  <a:pt x="2649068" y="1648436"/>
                  <a:pt x="2660844" y="1633508"/>
                  <a:pt x="2665323" y="1626044"/>
                </a:cubicBezTo>
                <a:cubicBezTo>
                  <a:pt x="2669801" y="1618580"/>
                  <a:pt x="2657859" y="1612111"/>
                  <a:pt x="2652053" y="1611447"/>
                </a:cubicBezTo>
                <a:cubicBezTo>
                  <a:pt x="2646248" y="1610784"/>
                  <a:pt x="2646082" y="1600997"/>
                  <a:pt x="2647575" y="1593699"/>
                </a:cubicBezTo>
                <a:cubicBezTo>
                  <a:pt x="2649068" y="1586401"/>
                  <a:pt x="2627007" y="1577112"/>
                  <a:pt x="2626178" y="1569317"/>
                </a:cubicBezTo>
                <a:cubicBezTo>
                  <a:pt x="2625348" y="1561521"/>
                  <a:pt x="2612908" y="1556877"/>
                  <a:pt x="2613738" y="1550242"/>
                </a:cubicBezTo>
                <a:cubicBezTo>
                  <a:pt x="2614567" y="1543607"/>
                  <a:pt x="2601132" y="1533655"/>
                  <a:pt x="2601132" y="1525030"/>
                </a:cubicBezTo>
                <a:cubicBezTo>
                  <a:pt x="2601132" y="1516405"/>
                  <a:pt x="2579071" y="1498657"/>
                  <a:pt x="2578242" y="1488207"/>
                </a:cubicBezTo>
                <a:cubicBezTo>
                  <a:pt x="2577412" y="1477757"/>
                  <a:pt x="2565802" y="1470625"/>
                  <a:pt x="2561655" y="1458019"/>
                </a:cubicBezTo>
                <a:cubicBezTo>
                  <a:pt x="2557508" y="1445413"/>
                  <a:pt x="2551371" y="1451384"/>
                  <a:pt x="2546893" y="1469132"/>
                </a:cubicBezTo>
                <a:cubicBezTo>
                  <a:pt x="2542414" y="1486880"/>
                  <a:pt x="2526989" y="1485719"/>
                  <a:pt x="2531467" y="1492022"/>
                </a:cubicBezTo>
                <a:cubicBezTo>
                  <a:pt x="2540590" y="1504130"/>
                  <a:pt x="2533623" y="1504462"/>
                  <a:pt x="2526989" y="1511926"/>
                </a:cubicBezTo>
                <a:cubicBezTo>
                  <a:pt x="2520354" y="1519390"/>
                  <a:pt x="2531467" y="1530338"/>
                  <a:pt x="2520354" y="1530338"/>
                </a:cubicBezTo>
                <a:cubicBezTo>
                  <a:pt x="2509241" y="1530338"/>
                  <a:pt x="2514549" y="1553061"/>
                  <a:pt x="2508577" y="1542778"/>
                </a:cubicBezTo>
                <a:cubicBezTo>
                  <a:pt x="2506603" y="1537453"/>
                  <a:pt x="2500682" y="1534750"/>
                  <a:pt x="2495358" y="1536723"/>
                </a:cubicBezTo>
                <a:cubicBezTo>
                  <a:pt x="2491526" y="1538150"/>
                  <a:pt x="2488905" y="1541699"/>
                  <a:pt x="2488673" y="1545763"/>
                </a:cubicBezTo>
                <a:cubicBezTo>
                  <a:pt x="2488673" y="1556047"/>
                  <a:pt x="2465120" y="1565668"/>
                  <a:pt x="2455499" y="1564838"/>
                </a:cubicBezTo>
                <a:cubicBezTo>
                  <a:pt x="2445879" y="1564009"/>
                  <a:pt x="2446045" y="1544270"/>
                  <a:pt x="2437917" y="1550242"/>
                </a:cubicBezTo>
                <a:cubicBezTo>
                  <a:pt x="2429790" y="1556213"/>
                  <a:pt x="2431283" y="1533655"/>
                  <a:pt x="2418677" y="1533655"/>
                </a:cubicBezTo>
                <a:cubicBezTo>
                  <a:pt x="2406071" y="1533655"/>
                  <a:pt x="2397279" y="1532826"/>
                  <a:pt x="2401095" y="1521878"/>
                </a:cubicBezTo>
                <a:cubicBezTo>
                  <a:pt x="2404910" y="1510931"/>
                  <a:pt x="2379697" y="1505291"/>
                  <a:pt x="2387825" y="1498988"/>
                </a:cubicBezTo>
                <a:cubicBezTo>
                  <a:pt x="2395953" y="1492685"/>
                  <a:pt x="2385503" y="1480577"/>
                  <a:pt x="2384010" y="1461336"/>
                </a:cubicBezTo>
                <a:cubicBezTo>
                  <a:pt x="2382517" y="1442096"/>
                  <a:pt x="2395123" y="1440769"/>
                  <a:pt x="2395123" y="1433470"/>
                </a:cubicBezTo>
                <a:cubicBezTo>
                  <a:pt x="2395123" y="1426172"/>
                  <a:pt x="2386332" y="1426006"/>
                  <a:pt x="2377375" y="1431978"/>
                </a:cubicBezTo>
                <a:cubicBezTo>
                  <a:pt x="2368419" y="1437949"/>
                  <a:pt x="2368584" y="1423850"/>
                  <a:pt x="2358964" y="1424513"/>
                </a:cubicBezTo>
                <a:cubicBezTo>
                  <a:pt x="2349344" y="1425177"/>
                  <a:pt x="2320648" y="1424513"/>
                  <a:pt x="2319156" y="1410581"/>
                </a:cubicBezTo>
                <a:cubicBezTo>
                  <a:pt x="2317663" y="1396648"/>
                  <a:pt x="2308208" y="1403946"/>
                  <a:pt x="2303730" y="1391340"/>
                </a:cubicBezTo>
                <a:cubicBezTo>
                  <a:pt x="2299252" y="1378734"/>
                  <a:pt x="2287143" y="1388520"/>
                  <a:pt x="2287143" y="1379563"/>
                </a:cubicBezTo>
                <a:cubicBezTo>
                  <a:pt x="2287143" y="1370606"/>
                  <a:pt x="2282001" y="1367123"/>
                  <a:pt x="2273210" y="1366294"/>
                </a:cubicBezTo>
                <a:cubicBezTo>
                  <a:pt x="2264419" y="1365464"/>
                  <a:pt x="2261434" y="1356010"/>
                  <a:pt x="2249657" y="1354517"/>
                </a:cubicBezTo>
                <a:cubicBezTo>
                  <a:pt x="2237830" y="1355363"/>
                  <a:pt x="2226419" y="1359178"/>
                  <a:pt x="2216483" y="1365630"/>
                </a:cubicBezTo>
                <a:cubicBezTo>
                  <a:pt x="2209849" y="1368616"/>
                  <a:pt x="2192930" y="1355346"/>
                  <a:pt x="2186295" y="1360488"/>
                </a:cubicBezTo>
                <a:cubicBezTo>
                  <a:pt x="2179660" y="1365630"/>
                  <a:pt x="2178168" y="1356839"/>
                  <a:pt x="2159756" y="1351697"/>
                </a:cubicBezTo>
                <a:cubicBezTo>
                  <a:pt x="2141345" y="1346555"/>
                  <a:pt x="2116962" y="1344897"/>
                  <a:pt x="2115469" y="1351697"/>
                </a:cubicBezTo>
                <a:cubicBezTo>
                  <a:pt x="2113977" y="1358498"/>
                  <a:pt x="2098883" y="1360488"/>
                  <a:pt x="2101537" y="1375914"/>
                </a:cubicBezTo>
                <a:cubicBezTo>
                  <a:pt x="2104190" y="1391340"/>
                  <a:pt x="2119119" y="1388520"/>
                  <a:pt x="2122933" y="1398804"/>
                </a:cubicBezTo>
                <a:cubicBezTo>
                  <a:pt x="2126748" y="1409088"/>
                  <a:pt x="2115469" y="1405439"/>
                  <a:pt x="2114806" y="1415391"/>
                </a:cubicBezTo>
                <a:cubicBezTo>
                  <a:pt x="2114142" y="1425343"/>
                  <a:pt x="2104522" y="1424182"/>
                  <a:pt x="2104522" y="1430817"/>
                </a:cubicBezTo>
                <a:cubicBezTo>
                  <a:pt x="2104522" y="1437451"/>
                  <a:pt x="2111157" y="1435958"/>
                  <a:pt x="2114806" y="1449228"/>
                </a:cubicBezTo>
                <a:cubicBezTo>
                  <a:pt x="2118455" y="1462497"/>
                  <a:pt x="2125753" y="1461668"/>
                  <a:pt x="2128075" y="1479416"/>
                </a:cubicBezTo>
                <a:cubicBezTo>
                  <a:pt x="2130397" y="1497164"/>
                  <a:pt x="2122104" y="1493515"/>
                  <a:pt x="2114806" y="1496003"/>
                </a:cubicBezTo>
                <a:cubicBezTo>
                  <a:pt x="2107508" y="1498491"/>
                  <a:pt x="2114806" y="1506950"/>
                  <a:pt x="2105186" y="1518893"/>
                </a:cubicBezTo>
                <a:cubicBezTo>
                  <a:pt x="2095565" y="1530835"/>
                  <a:pt x="2085945" y="1543109"/>
                  <a:pt x="2094072" y="1550573"/>
                </a:cubicBezTo>
                <a:cubicBezTo>
                  <a:pt x="2102200" y="1558037"/>
                  <a:pt x="2132388" y="1570478"/>
                  <a:pt x="2143833" y="1590382"/>
                </a:cubicBezTo>
                <a:cubicBezTo>
                  <a:pt x="2154150" y="1613255"/>
                  <a:pt x="2156754" y="1638865"/>
                  <a:pt x="2151297" y="1663364"/>
                </a:cubicBezTo>
                <a:cubicBezTo>
                  <a:pt x="2147648" y="1685424"/>
                  <a:pt x="2122602" y="1690566"/>
                  <a:pt x="2104190" y="1709641"/>
                </a:cubicBezTo>
                <a:cubicBezTo>
                  <a:pt x="2091916" y="1721750"/>
                  <a:pt x="2074914" y="1727837"/>
                  <a:pt x="2057747" y="1726228"/>
                </a:cubicBezTo>
                <a:cubicBezTo>
                  <a:pt x="2048790" y="1726228"/>
                  <a:pt x="2053932" y="1744639"/>
                  <a:pt x="2066538" y="1758572"/>
                </a:cubicBezTo>
                <a:cubicBezTo>
                  <a:pt x="2079144" y="1772505"/>
                  <a:pt x="2068694" y="1776984"/>
                  <a:pt x="2075329" y="1791746"/>
                </a:cubicBezTo>
                <a:cubicBezTo>
                  <a:pt x="2081964" y="1806508"/>
                  <a:pt x="2075329" y="1818285"/>
                  <a:pt x="2084950" y="1831554"/>
                </a:cubicBezTo>
                <a:cubicBezTo>
                  <a:pt x="2094570" y="1844824"/>
                  <a:pt x="2088599" y="1849966"/>
                  <a:pt x="2077651" y="1859586"/>
                </a:cubicBezTo>
                <a:cubicBezTo>
                  <a:pt x="2066704" y="1869207"/>
                  <a:pt x="2081964" y="1864064"/>
                  <a:pt x="2082793" y="1876173"/>
                </a:cubicBezTo>
                <a:cubicBezTo>
                  <a:pt x="2083623" y="1888281"/>
                  <a:pt x="2077651" y="1881315"/>
                  <a:pt x="2068031" y="1874680"/>
                </a:cubicBezTo>
                <a:cubicBezTo>
                  <a:pt x="2058411" y="1868045"/>
                  <a:pt x="2049620" y="1887286"/>
                  <a:pt x="2049620" y="1895248"/>
                </a:cubicBezTo>
                <a:cubicBezTo>
                  <a:pt x="2049620" y="1903209"/>
                  <a:pt x="2026730" y="1884300"/>
                  <a:pt x="2021588" y="1884964"/>
                </a:cubicBezTo>
                <a:cubicBezTo>
                  <a:pt x="2016446" y="1885627"/>
                  <a:pt x="2023081" y="1872524"/>
                  <a:pt x="2009811" y="1862240"/>
                </a:cubicBezTo>
                <a:cubicBezTo>
                  <a:pt x="1996542" y="1851956"/>
                  <a:pt x="1986258" y="1849634"/>
                  <a:pt x="1986258" y="1839350"/>
                </a:cubicBezTo>
                <a:cubicBezTo>
                  <a:pt x="1986258" y="1829066"/>
                  <a:pt x="1963368" y="1821602"/>
                  <a:pt x="1963368" y="1809826"/>
                </a:cubicBezTo>
                <a:cubicBezTo>
                  <a:pt x="1963368" y="1798049"/>
                  <a:pt x="1966354" y="1767861"/>
                  <a:pt x="1961212" y="1759070"/>
                </a:cubicBezTo>
                <a:cubicBezTo>
                  <a:pt x="1957480" y="1750229"/>
                  <a:pt x="1958873" y="1740045"/>
                  <a:pt x="1964861" y="1732531"/>
                </a:cubicBezTo>
                <a:cubicBezTo>
                  <a:pt x="1969173" y="1724403"/>
                  <a:pt x="1959719" y="1711797"/>
                  <a:pt x="1946450" y="1711797"/>
                </a:cubicBezTo>
                <a:cubicBezTo>
                  <a:pt x="1929929" y="1709907"/>
                  <a:pt x="1913326" y="1708911"/>
                  <a:pt x="1896689" y="1708812"/>
                </a:cubicBezTo>
                <a:cubicBezTo>
                  <a:pt x="1884713" y="1711300"/>
                  <a:pt x="1872240" y="1708911"/>
                  <a:pt x="1862023" y="1702177"/>
                </a:cubicBezTo>
                <a:cubicBezTo>
                  <a:pt x="1848438" y="1691760"/>
                  <a:pt x="1832846" y="1684263"/>
                  <a:pt x="1816243" y="1680117"/>
                </a:cubicBezTo>
                <a:cubicBezTo>
                  <a:pt x="1801331" y="1677994"/>
                  <a:pt x="1788261" y="1669037"/>
                  <a:pt x="1780913" y="1655900"/>
                </a:cubicBezTo>
                <a:cubicBezTo>
                  <a:pt x="1778757" y="1649265"/>
                  <a:pt x="1755867" y="1643957"/>
                  <a:pt x="1750725" y="1637489"/>
                </a:cubicBezTo>
                <a:cubicBezTo>
                  <a:pt x="1740142" y="1630257"/>
                  <a:pt x="1727304" y="1627089"/>
                  <a:pt x="1714566" y="1628532"/>
                </a:cubicBezTo>
                <a:cubicBezTo>
                  <a:pt x="1705775" y="1630024"/>
                  <a:pt x="1683714" y="1610120"/>
                  <a:pt x="1670445" y="1610950"/>
                </a:cubicBezTo>
                <a:cubicBezTo>
                  <a:pt x="1653543" y="1614682"/>
                  <a:pt x="1636923" y="1619558"/>
                  <a:pt x="1620684" y="1625546"/>
                </a:cubicBezTo>
                <a:cubicBezTo>
                  <a:pt x="1615542" y="1626375"/>
                  <a:pt x="1620684" y="1614599"/>
                  <a:pt x="1625163" y="1608959"/>
                </a:cubicBezTo>
                <a:cubicBezTo>
                  <a:pt x="1629641" y="1603320"/>
                  <a:pt x="1614050" y="1581591"/>
                  <a:pt x="1610400" y="1566828"/>
                </a:cubicBezTo>
                <a:cubicBezTo>
                  <a:pt x="1606751" y="1552066"/>
                  <a:pt x="1601443" y="1535977"/>
                  <a:pt x="1586018" y="1538133"/>
                </a:cubicBezTo>
                <a:cubicBezTo>
                  <a:pt x="1573130" y="1538996"/>
                  <a:pt x="1560291" y="1535927"/>
                  <a:pt x="1549195" y="1529342"/>
                </a:cubicBezTo>
                <a:cubicBezTo>
                  <a:pt x="1544716" y="1526357"/>
                  <a:pt x="1544053" y="1484392"/>
                  <a:pt x="1547702" y="1466644"/>
                </a:cubicBezTo>
                <a:cubicBezTo>
                  <a:pt x="1551351" y="1448896"/>
                  <a:pt x="1570592" y="1422357"/>
                  <a:pt x="1570592" y="1411410"/>
                </a:cubicBezTo>
                <a:cubicBezTo>
                  <a:pt x="1570592" y="1400463"/>
                  <a:pt x="1583032" y="1394823"/>
                  <a:pt x="1594145" y="1392169"/>
                </a:cubicBezTo>
                <a:cubicBezTo>
                  <a:pt x="1605258" y="1389515"/>
                  <a:pt x="1596302" y="1367953"/>
                  <a:pt x="1607415" y="1366460"/>
                </a:cubicBezTo>
                <a:cubicBezTo>
                  <a:pt x="1618528" y="1364967"/>
                  <a:pt x="1619191" y="1360488"/>
                  <a:pt x="1621348" y="1351697"/>
                </a:cubicBezTo>
                <a:cubicBezTo>
                  <a:pt x="1623504" y="1342906"/>
                  <a:pt x="1636939" y="1348712"/>
                  <a:pt x="1629475" y="1341414"/>
                </a:cubicBezTo>
                <a:cubicBezTo>
                  <a:pt x="1622011" y="1334115"/>
                  <a:pt x="1627982" y="1331793"/>
                  <a:pt x="1644901" y="1331793"/>
                </a:cubicBezTo>
                <a:cubicBezTo>
                  <a:pt x="1661819" y="1331793"/>
                  <a:pt x="1687032" y="1325822"/>
                  <a:pt x="1683382" y="1308903"/>
                </a:cubicBezTo>
                <a:cubicBezTo>
                  <a:pt x="1679733" y="1291985"/>
                  <a:pt x="1635446" y="1304591"/>
                  <a:pt x="1635446" y="1290492"/>
                </a:cubicBezTo>
                <a:cubicBezTo>
                  <a:pt x="1635446" y="1276393"/>
                  <a:pt x="1579383" y="1275730"/>
                  <a:pt x="1583032" y="1267602"/>
                </a:cubicBezTo>
                <a:cubicBezTo>
                  <a:pt x="1586681" y="1259475"/>
                  <a:pt x="1639096" y="1273573"/>
                  <a:pt x="1658170" y="1280872"/>
                </a:cubicBezTo>
                <a:cubicBezTo>
                  <a:pt x="1670627" y="1286544"/>
                  <a:pt x="1684411" y="1288618"/>
                  <a:pt x="1697979" y="1286843"/>
                </a:cubicBezTo>
                <a:cubicBezTo>
                  <a:pt x="1713571" y="1286843"/>
                  <a:pt x="1703121" y="1266109"/>
                  <a:pt x="1706106" y="1258148"/>
                </a:cubicBezTo>
                <a:cubicBezTo>
                  <a:pt x="1709092" y="1250186"/>
                  <a:pt x="1739280" y="1270588"/>
                  <a:pt x="1755867" y="1266109"/>
                </a:cubicBezTo>
                <a:cubicBezTo>
                  <a:pt x="1772454" y="1261631"/>
                  <a:pt x="1789040" y="1227130"/>
                  <a:pt x="1802974" y="1217510"/>
                </a:cubicBezTo>
                <a:cubicBezTo>
                  <a:pt x="1816906" y="1207889"/>
                  <a:pt x="1804466" y="1199098"/>
                  <a:pt x="1777264" y="1200923"/>
                </a:cubicBezTo>
                <a:cubicBezTo>
                  <a:pt x="1756248" y="1202731"/>
                  <a:pt x="1735415" y="1195764"/>
                  <a:pt x="1719708" y="1181682"/>
                </a:cubicBezTo>
                <a:cubicBezTo>
                  <a:pt x="1704945" y="1170569"/>
                  <a:pt x="1706438" y="1161778"/>
                  <a:pt x="1722030" y="1163271"/>
                </a:cubicBezTo>
                <a:cubicBezTo>
                  <a:pt x="1737621" y="1164764"/>
                  <a:pt x="1774278" y="1194952"/>
                  <a:pt x="1788377" y="1195615"/>
                </a:cubicBezTo>
                <a:cubicBezTo>
                  <a:pt x="1802476" y="1196279"/>
                  <a:pt x="1826693" y="1168413"/>
                  <a:pt x="1838138" y="1159622"/>
                </a:cubicBezTo>
                <a:cubicBezTo>
                  <a:pt x="1849583" y="1150831"/>
                  <a:pt x="1827024" y="1147016"/>
                  <a:pt x="1818897" y="1140381"/>
                </a:cubicBezTo>
                <a:cubicBezTo>
                  <a:pt x="1810769" y="1133746"/>
                  <a:pt x="1832830" y="1129434"/>
                  <a:pt x="1844772" y="1129434"/>
                </a:cubicBezTo>
                <a:cubicBezTo>
                  <a:pt x="1856715" y="1129434"/>
                  <a:pt x="1861359" y="1139718"/>
                  <a:pt x="1866003" y="1144859"/>
                </a:cubicBezTo>
                <a:cubicBezTo>
                  <a:pt x="1870648" y="1150002"/>
                  <a:pt x="1891050" y="1141211"/>
                  <a:pt x="1901499" y="1141211"/>
                </a:cubicBezTo>
                <a:cubicBezTo>
                  <a:pt x="1911949" y="1141211"/>
                  <a:pt x="1900006" y="1124624"/>
                  <a:pt x="1883088" y="1117491"/>
                </a:cubicBezTo>
                <a:cubicBezTo>
                  <a:pt x="1866169" y="1110359"/>
                  <a:pt x="1883088" y="1098417"/>
                  <a:pt x="1888893" y="1108700"/>
                </a:cubicBezTo>
                <a:cubicBezTo>
                  <a:pt x="1894699" y="1118984"/>
                  <a:pt x="1905480" y="1116828"/>
                  <a:pt x="1911783" y="1128604"/>
                </a:cubicBezTo>
                <a:cubicBezTo>
                  <a:pt x="1920408" y="1145191"/>
                  <a:pt x="1925716" y="1134576"/>
                  <a:pt x="1940478" y="1128604"/>
                </a:cubicBezTo>
                <a:cubicBezTo>
                  <a:pt x="1952421" y="1123828"/>
                  <a:pt x="1962837" y="1115916"/>
                  <a:pt x="1970666" y="1105715"/>
                </a:cubicBezTo>
                <a:cubicBezTo>
                  <a:pt x="1978794" y="1096924"/>
                  <a:pt x="1980287" y="1107208"/>
                  <a:pt x="1989907" y="1093109"/>
                </a:cubicBezTo>
                <a:cubicBezTo>
                  <a:pt x="1999527" y="1079010"/>
                  <a:pt x="1985429" y="1065906"/>
                  <a:pt x="1973320" y="1057115"/>
                </a:cubicBezTo>
                <a:cubicBezTo>
                  <a:pt x="1961212" y="1048324"/>
                  <a:pt x="1973320" y="1039367"/>
                  <a:pt x="1962207" y="1033562"/>
                </a:cubicBezTo>
                <a:cubicBezTo>
                  <a:pt x="1951094" y="1027756"/>
                  <a:pt x="1948274" y="1016975"/>
                  <a:pt x="1963036" y="1019463"/>
                </a:cubicBezTo>
                <a:cubicBezTo>
                  <a:pt x="1975476" y="1023162"/>
                  <a:pt x="1988895" y="1018402"/>
                  <a:pt x="1996210" y="1007687"/>
                </a:cubicBezTo>
                <a:cubicBezTo>
                  <a:pt x="2002845" y="997402"/>
                  <a:pt x="1974150" y="995080"/>
                  <a:pt x="1987419" y="987782"/>
                </a:cubicBezTo>
                <a:cubicBezTo>
                  <a:pt x="2000689" y="980484"/>
                  <a:pt x="1989575" y="973020"/>
                  <a:pt x="1976306" y="973020"/>
                </a:cubicBezTo>
                <a:cubicBezTo>
                  <a:pt x="1963036" y="973020"/>
                  <a:pt x="1951923" y="966385"/>
                  <a:pt x="1951260" y="955438"/>
                </a:cubicBezTo>
                <a:cubicBezTo>
                  <a:pt x="1950596" y="944491"/>
                  <a:pt x="1927706" y="951623"/>
                  <a:pt x="1913608" y="944988"/>
                </a:cubicBezTo>
                <a:cubicBezTo>
                  <a:pt x="1896656" y="940095"/>
                  <a:pt x="1878891" y="938619"/>
                  <a:pt x="1861359" y="940676"/>
                </a:cubicBezTo>
                <a:cubicBezTo>
                  <a:pt x="1853895" y="940676"/>
                  <a:pt x="1853232" y="971527"/>
                  <a:pt x="1864345" y="972356"/>
                </a:cubicBezTo>
                <a:cubicBezTo>
                  <a:pt x="1875458" y="973186"/>
                  <a:pt x="1884083" y="984797"/>
                  <a:pt x="1874629" y="988943"/>
                </a:cubicBezTo>
                <a:cubicBezTo>
                  <a:pt x="1865174" y="993090"/>
                  <a:pt x="1876121" y="1004535"/>
                  <a:pt x="1868657" y="1003706"/>
                </a:cubicBezTo>
                <a:cubicBezTo>
                  <a:pt x="1861193" y="1002876"/>
                  <a:pt x="1849583" y="999393"/>
                  <a:pt x="1847260" y="1018468"/>
                </a:cubicBezTo>
                <a:cubicBezTo>
                  <a:pt x="1844938" y="1037543"/>
                  <a:pt x="1843611" y="1045007"/>
                  <a:pt x="1830674" y="1051642"/>
                </a:cubicBezTo>
                <a:cubicBezTo>
                  <a:pt x="1817736" y="1058276"/>
                  <a:pt x="1827688" y="1030245"/>
                  <a:pt x="1815911" y="1031074"/>
                </a:cubicBezTo>
                <a:cubicBezTo>
                  <a:pt x="1804134" y="1031903"/>
                  <a:pt x="1802642" y="1054627"/>
                  <a:pt x="1811433" y="1056783"/>
                </a:cubicBezTo>
                <a:cubicBezTo>
                  <a:pt x="1820224" y="1058940"/>
                  <a:pt x="1821716" y="1066404"/>
                  <a:pt x="1824039" y="1077517"/>
                </a:cubicBezTo>
                <a:cubicBezTo>
                  <a:pt x="1826361" y="1088630"/>
                  <a:pt x="1807452" y="1080337"/>
                  <a:pt x="1800320" y="1094104"/>
                </a:cubicBezTo>
                <a:cubicBezTo>
                  <a:pt x="1793187" y="1107871"/>
                  <a:pt x="1792358" y="1088299"/>
                  <a:pt x="1781908" y="1079342"/>
                </a:cubicBezTo>
                <a:cubicBezTo>
                  <a:pt x="1771458" y="1070385"/>
                  <a:pt x="1759184" y="1055788"/>
                  <a:pt x="1759848" y="1044841"/>
                </a:cubicBezTo>
                <a:cubicBezTo>
                  <a:pt x="1759748" y="1036912"/>
                  <a:pt x="1766018" y="1030344"/>
                  <a:pt x="1773947" y="1030079"/>
                </a:cubicBezTo>
                <a:cubicBezTo>
                  <a:pt x="1781908" y="1028586"/>
                  <a:pt x="1773947" y="1021122"/>
                  <a:pt x="1773117" y="1008018"/>
                </a:cubicBezTo>
                <a:cubicBezTo>
                  <a:pt x="1772288" y="994915"/>
                  <a:pt x="1762833" y="999061"/>
                  <a:pt x="1751057" y="985128"/>
                </a:cubicBezTo>
                <a:cubicBezTo>
                  <a:pt x="1739280" y="971196"/>
                  <a:pt x="1726674" y="971029"/>
                  <a:pt x="1720039" y="977664"/>
                </a:cubicBezTo>
                <a:cubicBezTo>
                  <a:pt x="1713405" y="984299"/>
                  <a:pt x="1717883" y="996905"/>
                  <a:pt x="1707599" y="1001218"/>
                </a:cubicBezTo>
                <a:cubicBezTo>
                  <a:pt x="1697315" y="1005530"/>
                  <a:pt x="1701628" y="1026264"/>
                  <a:pt x="1692837" y="1027756"/>
                </a:cubicBezTo>
                <a:cubicBezTo>
                  <a:pt x="1684046" y="1029249"/>
                  <a:pt x="1689188" y="991763"/>
                  <a:pt x="1681724" y="987948"/>
                </a:cubicBezTo>
                <a:cubicBezTo>
                  <a:pt x="1674260" y="984133"/>
                  <a:pt x="1675089" y="975508"/>
                  <a:pt x="1686202" y="974015"/>
                </a:cubicBezTo>
                <a:cubicBezTo>
                  <a:pt x="1697315" y="972522"/>
                  <a:pt x="1703784" y="960746"/>
                  <a:pt x="1694330" y="960746"/>
                </a:cubicBezTo>
                <a:cubicBezTo>
                  <a:pt x="1682619" y="958158"/>
                  <a:pt x="1671423" y="953680"/>
                  <a:pt x="1661156" y="947476"/>
                </a:cubicBezTo>
                <a:cubicBezTo>
                  <a:pt x="1654521" y="944491"/>
                  <a:pt x="1643408" y="960082"/>
                  <a:pt x="1636110" y="954111"/>
                </a:cubicBezTo>
                <a:cubicBezTo>
                  <a:pt x="1628812" y="948140"/>
                  <a:pt x="1636110" y="933543"/>
                  <a:pt x="1637603" y="925416"/>
                </a:cubicBezTo>
                <a:cubicBezTo>
                  <a:pt x="1639096" y="917288"/>
                  <a:pt x="1649379" y="929065"/>
                  <a:pt x="1656678" y="918781"/>
                </a:cubicBezTo>
                <a:cubicBezTo>
                  <a:pt x="1663976" y="908497"/>
                  <a:pt x="1636110" y="908497"/>
                  <a:pt x="1636110" y="897384"/>
                </a:cubicBezTo>
                <a:cubicBezTo>
                  <a:pt x="1636110" y="886271"/>
                  <a:pt x="1613884" y="883451"/>
                  <a:pt x="1606585" y="879636"/>
                </a:cubicBezTo>
                <a:cubicBezTo>
                  <a:pt x="1599287" y="875821"/>
                  <a:pt x="1611727" y="857576"/>
                  <a:pt x="1608078" y="850277"/>
                </a:cubicBezTo>
                <a:cubicBezTo>
                  <a:pt x="1604429" y="842979"/>
                  <a:pt x="1577061" y="818596"/>
                  <a:pt x="1565284" y="820753"/>
                </a:cubicBezTo>
                <a:cubicBezTo>
                  <a:pt x="1553507" y="822909"/>
                  <a:pt x="1550522" y="805327"/>
                  <a:pt x="1557157" y="805991"/>
                </a:cubicBezTo>
                <a:cubicBezTo>
                  <a:pt x="1563791" y="806654"/>
                  <a:pt x="1568933" y="802341"/>
                  <a:pt x="1581539" y="788243"/>
                </a:cubicBezTo>
                <a:cubicBezTo>
                  <a:pt x="1594145" y="774144"/>
                  <a:pt x="1595472" y="769831"/>
                  <a:pt x="1586681" y="767011"/>
                </a:cubicBezTo>
                <a:cubicBezTo>
                  <a:pt x="1577890" y="764192"/>
                  <a:pt x="1573412" y="755235"/>
                  <a:pt x="1588838" y="755898"/>
                </a:cubicBezTo>
                <a:cubicBezTo>
                  <a:pt x="1604263" y="756562"/>
                  <a:pt x="1631632" y="767011"/>
                  <a:pt x="1640423" y="760377"/>
                </a:cubicBezTo>
                <a:cubicBezTo>
                  <a:pt x="1657806" y="739311"/>
                  <a:pt x="1673812" y="717151"/>
                  <a:pt x="1688358" y="694029"/>
                </a:cubicBezTo>
                <a:cubicBezTo>
                  <a:pt x="1699472" y="678604"/>
                  <a:pt x="1680231" y="677443"/>
                  <a:pt x="1653692" y="679267"/>
                </a:cubicBezTo>
                <a:cubicBezTo>
                  <a:pt x="1627153" y="681092"/>
                  <a:pt x="1621348" y="668983"/>
                  <a:pt x="1599121" y="667490"/>
                </a:cubicBezTo>
                <a:cubicBezTo>
                  <a:pt x="1576895" y="665998"/>
                  <a:pt x="1535760" y="671969"/>
                  <a:pt x="1529954" y="678604"/>
                </a:cubicBezTo>
                <a:cubicBezTo>
                  <a:pt x="1524149" y="685238"/>
                  <a:pt x="1541067" y="691044"/>
                  <a:pt x="1538745" y="698508"/>
                </a:cubicBezTo>
                <a:cubicBezTo>
                  <a:pt x="1536423" y="705972"/>
                  <a:pt x="1523320" y="693366"/>
                  <a:pt x="1517348" y="696352"/>
                </a:cubicBezTo>
                <a:cubicBezTo>
                  <a:pt x="1511377" y="699337"/>
                  <a:pt x="1519670" y="708792"/>
                  <a:pt x="1517348" y="734667"/>
                </a:cubicBezTo>
                <a:cubicBezTo>
                  <a:pt x="1514064" y="748351"/>
                  <a:pt x="1518974" y="762699"/>
                  <a:pt x="1529954" y="771490"/>
                </a:cubicBezTo>
                <a:cubicBezTo>
                  <a:pt x="1537252" y="780945"/>
                  <a:pt x="1535760" y="793550"/>
                  <a:pt x="1535760" y="809805"/>
                </a:cubicBezTo>
                <a:cubicBezTo>
                  <a:pt x="1535760" y="826061"/>
                  <a:pt x="1520334" y="825231"/>
                  <a:pt x="1515192" y="828880"/>
                </a:cubicBezTo>
                <a:cubicBezTo>
                  <a:pt x="1510050" y="832530"/>
                  <a:pt x="1528461" y="838501"/>
                  <a:pt x="1525476" y="848785"/>
                </a:cubicBezTo>
                <a:cubicBezTo>
                  <a:pt x="1522490" y="859068"/>
                  <a:pt x="1507064" y="842979"/>
                  <a:pt x="1498273" y="845799"/>
                </a:cubicBezTo>
                <a:cubicBezTo>
                  <a:pt x="1489482" y="848619"/>
                  <a:pt x="1481686" y="873831"/>
                  <a:pt x="1491639" y="881958"/>
                </a:cubicBezTo>
                <a:cubicBezTo>
                  <a:pt x="1501591" y="890086"/>
                  <a:pt x="1504908" y="888593"/>
                  <a:pt x="1497444" y="898545"/>
                </a:cubicBezTo>
                <a:cubicBezTo>
                  <a:pt x="1489980" y="908497"/>
                  <a:pt x="1482018" y="922098"/>
                  <a:pt x="1499766" y="936031"/>
                </a:cubicBezTo>
                <a:cubicBezTo>
                  <a:pt x="1517514" y="949964"/>
                  <a:pt x="1549527" y="948637"/>
                  <a:pt x="1566114" y="959751"/>
                </a:cubicBezTo>
                <a:cubicBezTo>
                  <a:pt x="1582700" y="970864"/>
                  <a:pt x="1558815" y="964063"/>
                  <a:pt x="1566114" y="976337"/>
                </a:cubicBezTo>
                <a:cubicBezTo>
                  <a:pt x="1573412" y="988611"/>
                  <a:pt x="1555000" y="992924"/>
                  <a:pt x="1555664" y="1002876"/>
                </a:cubicBezTo>
                <a:cubicBezTo>
                  <a:pt x="1556327" y="1012828"/>
                  <a:pt x="1563128" y="1007355"/>
                  <a:pt x="1572251" y="991100"/>
                </a:cubicBezTo>
                <a:cubicBezTo>
                  <a:pt x="1581373" y="974844"/>
                  <a:pt x="1587676" y="995412"/>
                  <a:pt x="1587013" y="1009511"/>
                </a:cubicBezTo>
                <a:cubicBezTo>
                  <a:pt x="1586349" y="1023610"/>
                  <a:pt x="1573743" y="1015316"/>
                  <a:pt x="1564123" y="1029415"/>
                </a:cubicBezTo>
                <a:cubicBezTo>
                  <a:pt x="1558085" y="1041208"/>
                  <a:pt x="1544352" y="1046831"/>
                  <a:pt x="1531779" y="1042685"/>
                </a:cubicBezTo>
                <a:cubicBezTo>
                  <a:pt x="1517680" y="1039699"/>
                  <a:pt x="1525808" y="1062589"/>
                  <a:pt x="1531779" y="1075029"/>
                </a:cubicBezTo>
                <a:cubicBezTo>
                  <a:pt x="1537750" y="1087469"/>
                  <a:pt x="1530286" y="1091616"/>
                  <a:pt x="1514031" y="1087635"/>
                </a:cubicBezTo>
                <a:cubicBezTo>
                  <a:pt x="1497776" y="1083654"/>
                  <a:pt x="1488321" y="1072873"/>
                  <a:pt x="1496283" y="1060267"/>
                </a:cubicBezTo>
                <a:cubicBezTo>
                  <a:pt x="1504245" y="1047661"/>
                  <a:pt x="1510382" y="1033064"/>
                  <a:pt x="1500761" y="1034557"/>
                </a:cubicBezTo>
                <a:cubicBezTo>
                  <a:pt x="1491141" y="1036050"/>
                  <a:pt x="1469081" y="1034557"/>
                  <a:pt x="1462446" y="1023444"/>
                </a:cubicBezTo>
                <a:cubicBezTo>
                  <a:pt x="1455811" y="1012331"/>
                  <a:pt x="1466924" y="1017638"/>
                  <a:pt x="1486828" y="1019795"/>
                </a:cubicBezTo>
                <a:cubicBezTo>
                  <a:pt x="1506733" y="1021951"/>
                  <a:pt x="1489814" y="1006525"/>
                  <a:pt x="1504411" y="1006525"/>
                </a:cubicBezTo>
                <a:cubicBezTo>
                  <a:pt x="1519007" y="1006525"/>
                  <a:pt x="1530286" y="1014653"/>
                  <a:pt x="1542726" y="1003540"/>
                </a:cubicBezTo>
                <a:cubicBezTo>
                  <a:pt x="1555166" y="992427"/>
                  <a:pt x="1534764" y="971196"/>
                  <a:pt x="1524315" y="974844"/>
                </a:cubicBezTo>
                <a:cubicBezTo>
                  <a:pt x="1513865" y="978494"/>
                  <a:pt x="1497776" y="982972"/>
                  <a:pt x="1497776" y="972688"/>
                </a:cubicBezTo>
                <a:cubicBezTo>
                  <a:pt x="1497776" y="962404"/>
                  <a:pt x="1515524" y="969703"/>
                  <a:pt x="1525144" y="967546"/>
                </a:cubicBezTo>
                <a:cubicBezTo>
                  <a:pt x="1534764" y="965390"/>
                  <a:pt x="1520002" y="951955"/>
                  <a:pt x="1505240" y="955770"/>
                </a:cubicBezTo>
                <a:cubicBezTo>
                  <a:pt x="1492501" y="961343"/>
                  <a:pt x="1477623" y="958059"/>
                  <a:pt x="1468417" y="947642"/>
                </a:cubicBezTo>
                <a:cubicBezTo>
                  <a:pt x="1456640" y="935036"/>
                  <a:pt x="1435243" y="927738"/>
                  <a:pt x="1430101" y="956433"/>
                </a:cubicBezTo>
                <a:cubicBezTo>
                  <a:pt x="1424960" y="985128"/>
                  <a:pt x="1404226" y="969703"/>
                  <a:pt x="1396099" y="979323"/>
                </a:cubicBezTo>
                <a:cubicBezTo>
                  <a:pt x="1387971" y="988943"/>
                  <a:pt x="1405719" y="995910"/>
                  <a:pt x="1425623" y="995910"/>
                </a:cubicBezTo>
                <a:cubicBezTo>
                  <a:pt x="1445527" y="995910"/>
                  <a:pt x="1460290" y="1014985"/>
                  <a:pt x="1450669" y="1014985"/>
                </a:cubicBezTo>
                <a:cubicBezTo>
                  <a:pt x="1441049" y="1014985"/>
                  <a:pt x="1445527" y="1029083"/>
                  <a:pt x="1435243" y="1023942"/>
                </a:cubicBezTo>
                <a:cubicBezTo>
                  <a:pt x="1424960" y="1018800"/>
                  <a:pt x="1414510" y="1023942"/>
                  <a:pt x="1421974" y="1032733"/>
                </a:cubicBezTo>
                <a:cubicBezTo>
                  <a:pt x="1429438" y="1041524"/>
                  <a:pt x="1418988" y="1045173"/>
                  <a:pt x="1419652" y="1054130"/>
                </a:cubicBezTo>
                <a:cubicBezTo>
                  <a:pt x="1420315" y="1063086"/>
                  <a:pt x="1404226" y="1054130"/>
                  <a:pt x="1388800" y="1053300"/>
                </a:cubicBezTo>
                <a:cubicBezTo>
                  <a:pt x="1366939" y="1053433"/>
                  <a:pt x="1345160" y="1056170"/>
                  <a:pt x="1323946" y="1061428"/>
                </a:cubicBezTo>
                <a:cubicBezTo>
                  <a:pt x="1305485" y="1065608"/>
                  <a:pt x="1286144" y="1061013"/>
                  <a:pt x="1271531" y="1048988"/>
                </a:cubicBezTo>
                <a:cubicBezTo>
                  <a:pt x="1262740" y="1039367"/>
                  <a:pt x="1250964" y="1040860"/>
                  <a:pt x="1236201" y="1040860"/>
                </a:cubicBezTo>
                <a:cubicBezTo>
                  <a:pt x="1221439" y="1040860"/>
                  <a:pt x="1225918" y="1026761"/>
                  <a:pt x="1206677" y="1026098"/>
                </a:cubicBezTo>
                <a:cubicBezTo>
                  <a:pt x="1187436" y="1025434"/>
                  <a:pt x="1191915" y="1009511"/>
                  <a:pt x="1190090" y="999559"/>
                </a:cubicBezTo>
                <a:cubicBezTo>
                  <a:pt x="1188265" y="989607"/>
                  <a:pt x="1149618" y="992924"/>
                  <a:pt x="1135519" y="1001715"/>
                </a:cubicBezTo>
                <a:cubicBezTo>
                  <a:pt x="1121421" y="1010506"/>
                  <a:pt x="1094384" y="1007023"/>
                  <a:pt x="1086920" y="1023112"/>
                </a:cubicBezTo>
                <a:cubicBezTo>
                  <a:pt x="1079456" y="1039201"/>
                  <a:pt x="1093555" y="1037211"/>
                  <a:pt x="1101682" y="1037211"/>
                </a:cubicBezTo>
                <a:cubicBezTo>
                  <a:pt x="1112961" y="1037211"/>
                  <a:pt x="1111966" y="1023942"/>
                  <a:pt x="1132700" y="1026761"/>
                </a:cubicBezTo>
                <a:cubicBezTo>
                  <a:pt x="1153433" y="1029581"/>
                  <a:pt x="1168030" y="1005530"/>
                  <a:pt x="1176821" y="1014321"/>
                </a:cubicBezTo>
                <a:cubicBezTo>
                  <a:pt x="1185612" y="1023112"/>
                  <a:pt x="1141491" y="1040031"/>
                  <a:pt x="1122250" y="1043016"/>
                </a:cubicBezTo>
                <a:cubicBezTo>
                  <a:pt x="1103009" y="1046002"/>
                  <a:pt x="1107653" y="1061428"/>
                  <a:pt x="1126065" y="1088796"/>
                </a:cubicBezTo>
                <a:cubicBezTo>
                  <a:pt x="1144476" y="1116164"/>
                  <a:pt x="1117937" y="1100573"/>
                  <a:pt x="1117937" y="1113842"/>
                </a:cubicBezTo>
                <a:cubicBezTo>
                  <a:pt x="1117937" y="1127112"/>
                  <a:pt x="1083271" y="1109364"/>
                  <a:pt x="1097204" y="1104885"/>
                </a:cubicBezTo>
                <a:cubicBezTo>
                  <a:pt x="1111137" y="1100407"/>
                  <a:pt x="1104668" y="1086474"/>
                  <a:pt x="1093555" y="1077683"/>
                </a:cubicBezTo>
                <a:cubicBezTo>
                  <a:pt x="1082442" y="1068892"/>
                  <a:pt x="1075143" y="1077683"/>
                  <a:pt x="1076968" y="1068063"/>
                </a:cubicBezTo>
                <a:cubicBezTo>
                  <a:pt x="1078793" y="1058442"/>
                  <a:pt x="1065191" y="1068892"/>
                  <a:pt x="1054907" y="1060764"/>
                </a:cubicBezTo>
                <a:cubicBezTo>
                  <a:pt x="1044624" y="1052637"/>
                  <a:pt x="1039316" y="1046002"/>
                  <a:pt x="1025383" y="1053300"/>
                </a:cubicBezTo>
                <a:cubicBezTo>
                  <a:pt x="1011450" y="1060599"/>
                  <a:pt x="995195" y="1058608"/>
                  <a:pt x="964177" y="1063750"/>
                </a:cubicBezTo>
                <a:cubicBezTo>
                  <a:pt x="933160" y="1068892"/>
                  <a:pt x="876433" y="1067399"/>
                  <a:pt x="866149" y="1057115"/>
                </a:cubicBezTo>
                <a:cubicBezTo>
                  <a:pt x="855865" y="1046831"/>
                  <a:pt x="892688" y="1028254"/>
                  <a:pt x="903801" y="1031240"/>
                </a:cubicBezTo>
                <a:cubicBezTo>
                  <a:pt x="914915" y="1034225"/>
                  <a:pt x="908114" y="1019463"/>
                  <a:pt x="891195" y="1006194"/>
                </a:cubicBezTo>
                <a:cubicBezTo>
                  <a:pt x="874277" y="992924"/>
                  <a:pt x="836791" y="984797"/>
                  <a:pt x="837454" y="992924"/>
                </a:cubicBezTo>
                <a:cubicBezTo>
                  <a:pt x="838118" y="1001052"/>
                  <a:pt x="816057" y="993754"/>
                  <a:pt x="788855" y="988446"/>
                </a:cubicBezTo>
                <a:cubicBezTo>
                  <a:pt x="761652" y="983138"/>
                  <a:pt x="757837" y="973683"/>
                  <a:pt x="740089" y="973020"/>
                </a:cubicBezTo>
                <a:cubicBezTo>
                  <a:pt x="716752" y="972356"/>
                  <a:pt x="694144" y="964660"/>
                  <a:pt x="675235" y="950960"/>
                </a:cubicBezTo>
                <a:cubicBezTo>
                  <a:pt x="654667" y="934373"/>
                  <a:pt x="606068" y="939183"/>
                  <a:pt x="600097" y="953945"/>
                </a:cubicBezTo>
                <a:cubicBezTo>
                  <a:pt x="594125" y="968707"/>
                  <a:pt x="578036" y="967878"/>
                  <a:pt x="561781" y="967878"/>
                </a:cubicBezTo>
                <a:cubicBezTo>
                  <a:pt x="545526" y="967878"/>
                  <a:pt x="569079" y="949633"/>
                  <a:pt x="563274" y="946481"/>
                </a:cubicBezTo>
                <a:cubicBezTo>
                  <a:pt x="557468" y="943330"/>
                  <a:pt x="563274" y="922098"/>
                  <a:pt x="552161" y="920771"/>
                </a:cubicBezTo>
                <a:cubicBezTo>
                  <a:pt x="541047" y="919444"/>
                  <a:pt x="529437" y="969371"/>
                  <a:pt x="507210" y="967878"/>
                </a:cubicBezTo>
                <a:cubicBezTo>
                  <a:pt x="484984" y="966385"/>
                  <a:pt x="475529" y="914800"/>
                  <a:pt x="457450" y="901531"/>
                </a:cubicBezTo>
                <a:cubicBezTo>
                  <a:pt x="439370" y="888261"/>
                  <a:pt x="422120" y="887598"/>
                  <a:pt x="437546" y="907502"/>
                </a:cubicBezTo>
                <a:cubicBezTo>
                  <a:pt x="452971" y="927406"/>
                  <a:pt x="424276" y="913307"/>
                  <a:pt x="425769" y="926577"/>
                </a:cubicBezTo>
                <a:cubicBezTo>
                  <a:pt x="427262" y="939846"/>
                  <a:pt x="400723" y="955438"/>
                  <a:pt x="401552" y="947974"/>
                </a:cubicBezTo>
                <a:cubicBezTo>
                  <a:pt x="402382" y="940510"/>
                  <a:pt x="386790" y="932548"/>
                  <a:pt x="368379" y="953116"/>
                </a:cubicBezTo>
                <a:cubicBezTo>
                  <a:pt x="349967" y="973683"/>
                  <a:pt x="338190" y="970864"/>
                  <a:pt x="336698" y="963400"/>
                </a:cubicBezTo>
                <a:cubicBezTo>
                  <a:pt x="335205" y="955935"/>
                  <a:pt x="282956" y="982640"/>
                  <a:pt x="285113" y="991431"/>
                </a:cubicBezTo>
                <a:cubicBezTo>
                  <a:pt x="287269" y="1000222"/>
                  <a:pt x="276985" y="1007023"/>
                  <a:pt x="263052" y="1006194"/>
                </a:cubicBezTo>
                <a:cubicBezTo>
                  <a:pt x="249119" y="1005364"/>
                  <a:pt x="260067" y="993754"/>
                  <a:pt x="271180" y="987782"/>
                </a:cubicBezTo>
                <a:cubicBezTo>
                  <a:pt x="282293" y="981811"/>
                  <a:pt x="317623" y="954609"/>
                  <a:pt x="335205" y="950960"/>
                </a:cubicBezTo>
                <a:cubicBezTo>
                  <a:pt x="352787" y="947310"/>
                  <a:pt x="386790" y="934373"/>
                  <a:pt x="387619" y="925913"/>
                </a:cubicBezTo>
                <a:cubicBezTo>
                  <a:pt x="388449" y="917454"/>
                  <a:pt x="371032" y="924421"/>
                  <a:pt x="358758" y="922098"/>
                </a:cubicBezTo>
                <a:cubicBezTo>
                  <a:pt x="346484" y="919776"/>
                  <a:pt x="325584" y="933212"/>
                  <a:pt x="306510" y="942169"/>
                </a:cubicBezTo>
                <a:cubicBezTo>
                  <a:pt x="287435" y="951125"/>
                  <a:pt x="263716" y="947974"/>
                  <a:pt x="269687" y="959751"/>
                </a:cubicBezTo>
                <a:cubicBezTo>
                  <a:pt x="275658" y="971527"/>
                  <a:pt x="251276" y="958258"/>
                  <a:pt x="246134" y="966385"/>
                </a:cubicBezTo>
                <a:cubicBezTo>
                  <a:pt x="240992" y="974513"/>
                  <a:pt x="231371" y="966385"/>
                  <a:pt x="238670" y="961243"/>
                </a:cubicBezTo>
                <a:cubicBezTo>
                  <a:pt x="245968" y="956101"/>
                  <a:pt x="221088" y="948637"/>
                  <a:pt x="221088" y="953945"/>
                </a:cubicBezTo>
                <a:cubicBezTo>
                  <a:pt x="221088" y="959253"/>
                  <a:pt x="216609" y="965722"/>
                  <a:pt x="198861" y="965722"/>
                </a:cubicBezTo>
                <a:cubicBezTo>
                  <a:pt x="181113" y="965722"/>
                  <a:pt x="163531" y="978162"/>
                  <a:pt x="175308" y="986953"/>
                </a:cubicBezTo>
                <a:cubicBezTo>
                  <a:pt x="187084" y="995744"/>
                  <a:pt x="194548" y="1000222"/>
                  <a:pt x="188577" y="1006194"/>
                </a:cubicBezTo>
                <a:cubicBezTo>
                  <a:pt x="182606" y="1012165"/>
                  <a:pt x="164195" y="990768"/>
                  <a:pt x="138817" y="992924"/>
                </a:cubicBezTo>
                <a:cubicBezTo>
                  <a:pt x="113439" y="995080"/>
                  <a:pt x="61356" y="964229"/>
                  <a:pt x="61356" y="956765"/>
                </a:cubicBezTo>
                <a:cubicBezTo>
                  <a:pt x="61356" y="949301"/>
                  <a:pt x="25197" y="954609"/>
                  <a:pt x="-15" y="951955"/>
                </a:cubicBezTo>
                <a:lnTo>
                  <a:pt x="-15" y="1461170"/>
                </a:lnTo>
                <a:cubicBezTo>
                  <a:pt x="-15" y="1461170"/>
                  <a:pt x="12757" y="1470791"/>
                  <a:pt x="17733" y="1464820"/>
                </a:cubicBezTo>
                <a:cubicBezTo>
                  <a:pt x="22709" y="1458848"/>
                  <a:pt x="31500" y="1466810"/>
                  <a:pt x="48087" y="1459014"/>
                </a:cubicBezTo>
                <a:cubicBezTo>
                  <a:pt x="64674" y="1451218"/>
                  <a:pt x="70811" y="1467805"/>
                  <a:pt x="70811" y="1475601"/>
                </a:cubicBezTo>
                <a:cubicBezTo>
                  <a:pt x="70811" y="1483397"/>
                  <a:pt x="94364" y="1496334"/>
                  <a:pt x="103984" y="1508775"/>
                </a:cubicBezTo>
                <a:cubicBezTo>
                  <a:pt x="113605" y="1521215"/>
                  <a:pt x="118747" y="1532328"/>
                  <a:pt x="129528" y="1525361"/>
                </a:cubicBezTo>
                <a:cubicBezTo>
                  <a:pt x="140310" y="1518395"/>
                  <a:pt x="160048" y="1514580"/>
                  <a:pt x="160048" y="1501808"/>
                </a:cubicBezTo>
                <a:cubicBezTo>
                  <a:pt x="160048" y="1489036"/>
                  <a:pt x="205164" y="1487046"/>
                  <a:pt x="205164" y="1503799"/>
                </a:cubicBezTo>
                <a:cubicBezTo>
                  <a:pt x="205164" y="1520551"/>
                  <a:pt x="251441" y="1540124"/>
                  <a:pt x="276985" y="1585406"/>
                </a:cubicBezTo>
                <a:cubicBezTo>
                  <a:pt x="302529" y="1630688"/>
                  <a:pt x="298548" y="1640474"/>
                  <a:pt x="335868" y="1655071"/>
                </a:cubicBezTo>
                <a:cubicBezTo>
                  <a:pt x="373189" y="1669667"/>
                  <a:pt x="372193" y="1677794"/>
                  <a:pt x="367383" y="1690566"/>
                </a:cubicBezTo>
                <a:cubicBezTo>
                  <a:pt x="362573" y="1703338"/>
                  <a:pt x="389941" y="1710139"/>
                  <a:pt x="374184" y="1720920"/>
                </a:cubicBezTo>
                <a:lnTo>
                  <a:pt x="351626" y="1737507"/>
                </a:lnTo>
                <a:cubicBezTo>
                  <a:pt x="351626" y="1743976"/>
                  <a:pt x="358095" y="1748123"/>
                  <a:pt x="365559" y="1754094"/>
                </a:cubicBezTo>
                <a:cubicBezTo>
                  <a:pt x="373023" y="1760065"/>
                  <a:pt x="348972" y="1761392"/>
                  <a:pt x="356768" y="1768027"/>
                </a:cubicBezTo>
                <a:cubicBezTo>
                  <a:pt x="364563" y="1774661"/>
                  <a:pt x="355275" y="1784614"/>
                  <a:pt x="362739" y="1793073"/>
                </a:cubicBezTo>
                <a:cubicBezTo>
                  <a:pt x="371265" y="1800023"/>
                  <a:pt x="383675" y="1799376"/>
                  <a:pt x="391434" y="1791580"/>
                </a:cubicBezTo>
                <a:cubicBezTo>
                  <a:pt x="399562" y="1784945"/>
                  <a:pt x="405367" y="1799708"/>
                  <a:pt x="398732" y="1810821"/>
                </a:cubicBezTo>
                <a:cubicBezTo>
                  <a:pt x="395664" y="1814719"/>
                  <a:pt x="396332" y="1820358"/>
                  <a:pt x="400225" y="1823427"/>
                </a:cubicBezTo>
                <a:cubicBezTo>
                  <a:pt x="404118" y="1826495"/>
                  <a:pt x="409763" y="1825832"/>
                  <a:pt x="412831" y="1821934"/>
                </a:cubicBezTo>
                <a:cubicBezTo>
                  <a:pt x="419466" y="1813806"/>
                  <a:pt x="433399" y="1835204"/>
                  <a:pt x="440034" y="1838521"/>
                </a:cubicBezTo>
                <a:cubicBezTo>
                  <a:pt x="446668" y="1841838"/>
                  <a:pt x="453303" y="1853283"/>
                  <a:pt x="442356" y="1853283"/>
                </a:cubicBezTo>
                <a:cubicBezTo>
                  <a:pt x="431409" y="1853283"/>
                  <a:pt x="432735" y="1872358"/>
                  <a:pt x="440863" y="1873187"/>
                </a:cubicBezTo>
                <a:cubicBezTo>
                  <a:pt x="448991" y="1874017"/>
                  <a:pt x="448161" y="1884135"/>
                  <a:pt x="448161" y="1890769"/>
                </a:cubicBezTo>
                <a:cubicBezTo>
                  <a:pt x="448161" y="1897404"/>
                  <a:pt x="473871" y="1907356"/>
                  <a:pt x="483491" y="1904039"/>
                </a:cubicBezTo>
                <a:cubicBezTo>
                  <a:pt x="493111" y="1900721"/>
                  <a:pt x="501903" y="1910010"/>
                  <a:pt x="506381" y="1918138"/>
                </a:cubicBezTo>
                <a:cubicBezTo>
                  <a:pt x="510859" y="1926265"/>
                  <a:pt x="528441" y="1932071"/>
                  <a:pt x="535076" y="1926929"/>
                </a:cubicBezTo>
                <a:cubicBezTo>
                  <a:pt x="541711" y="1921787"/>
                  <a:pt x="546189" y="1936549"/>
                  <a:pt x="547682" y="1946833"/>
                </a:cubicBezTo>
                <a:cubicBezTo>
                  <a:pt x="549175" y="1957117"/>
                  <a:pt x="564269" y="1951311"/>
                  <a:pt x="572728" y="1950482"/>
                </a:cubicBezTo>
                <a:cubicBezTo>
                  <a:pt x="581188" y="1949653"/>
                  <a:pt x="586661" y="1962259"/>
                  <a:pt x="592632" y="1960102"/>
                </a:cubicBezTo>
                <a:cubicBezTo>
                  <a:pt x="605570" y="1955126"/>
                  <a:pt x="609219" y="1977850"/>
                  <a:pt x="618176" y="1991120"/>
                </a:cubicBezTo>
                <a:lnTo>
                  <a:pt x="1534101" y="1986310"/>
                </a:lnTo>
                <a:cubicBezTo>
                  <a:pt x="1534101" y="1986310"/>
                  <a:pt x="1534101" y="1963585"/>
                  <a:pt x="1545546" y="1971381"/>
                </a:cubicBezTo>
                <a:cubicBezTo>
                  <a:pt x="1556991" y="1979177"/>
                  <a:pt x="1546541" y="1991949"/>
                  <a:pt x="1559313" y="1996925"/>
                </a:cubicBezTo>
                <a:cubicBezTo>
                  <a:pt x="1572085" y="2001901"/>
                  <a:pt x="1580876" y="2009697"/>
                  <a:pt x="1587676" y="2006711"/>
                </a:cubicBezTo>
                <a:cubicBezTo>
                  <a:pt x="1594477" y="2003726"/>
                  <a:pt x="1606420" y="1993939"/>
                  <a:pt x="1618196" y="2007706"/>
                </a:cubicBezTo>
                <a:cubicBezTo>
                  <a:pt x="1629973" y="2021474"/>
                  <a:pt x="1638764" y="2009697"/>
                  <a:pt x="1645730" y="2018488"/>
                </a:cubicBezTo>
                <a:cubicBezTo>
                  <a:pt x="1652697" y="2027279"/>
                  <a:pt x="1665303" y="2034246"/>
                  <a:pt x="1674260" y="2023464"/>
                </a:cubicBezTo>
                <a:cubicBezTo>
                  <a:pt x="1683217" y="2012683"/>
                  <a:pt x="1708594" y="2025288"/>
                  <a:pt x="1721698" y="2030099"/>
                </a:cubicBezTo>
                <a:cubicBezTo>
                  <a:pt x="1738285" y="2017161"/>
                  <a:pt x="1750725" y="1989627"/>
                  <a:pt x="1765156" y="1989627"/>
                </a:cubicBezTo>
                <a:cubicBezTo>
                  <a:pt x="1784230" y="1989627"/>
                  <a:pt x="1832830" y="1993939"/>
                  <a:pt x="1835815" y="2018986"/>
                </a:cubicBezTo>
                <a:cubicBezTo>
                  <a:pt x="1838801" y="2044032"/>
                  <a:pt x="1868989" y="2020478"/>
                  <a:pt x="1871311" y="2044032"/>
                </a:cubicBezTo>
                <a:cubicBezTo>
                  <a:pt x="1873799" y="2064102"/>
                  <a:pt x="1893206" y="2079859"/>
                  <a:pt x="1889888" y="2090475"/>
                </a:cubicBezTo>
                <a:cubicBezTo>
                  <a:pt x="1896523" y="2094489"/>
                  <a:pt x="1902892" y="2098918"/>
                  <a:pt x="1908963" y="2103744"/>
                </a:cubicBezTo>
                <a:cubicBezTo>
                  <a:pt x="1926164" y="2101936"/>
                  <a:pt x="1943563" y="2104209"/>
                  <a:pt x="1959719" y="2110379"/>
                </a:cubicBezTo>
                <a:cubicBezTo>
                  <a:pt x="1980287" y="2117843"/>
                  <a:pt x="2011304" y="2101588"/>
                  <a:pt x="2021588" y="2126966"/>
                </a:cubicBezTo>
                <a:cubicBezTo>
                  <a:pt x="2031872" y="2152344"/>
                  <a:pt x="2055757" y="2170921"/>
                  <a:pt x="2033365" y="2172580"/>
                </a:cubicBezTo>
                <a:cubicBezTo>
                  <a:pt x="2014124" y="2174072"/>
                  <a:pt x="1989078" y="2147534"/>
                  <a:pt x="1990571" y="2162296"/>
                </a:cubicBezTo>
                <a:cubicBezTo>
                  <a:pt x="1992063" y="2177058"/>
                  <a:pt x="1980287" y="2169760"/>
                  <a:pt x="1980287" y="2191820"/>
                </a:cubicBezTo>
                <a:cubicBezTo>
                  <a:pt x="1980287" y="2213881"/>
                  <a:pt x="1965524" y="2244898"/>
                  <a:pt x="1956733" y="2243406"/>
                </a:cubicBezTo>
                <a:lnTo>
                  <a:pt x="1955904" y="2243406"/>
                </a:lnTo>
                <a:cubicBezTo>
                  <a:pt x="1953366" y="2252429"/>
                  <a:pt x="1955340" y="2262132"/>
                  <a:pt x="1961212" y="2269447"/>
                </a:cubicBezTo>
                <a:cubicBezTo>
                  <a:pt x="1972491" y="2261319"/>
                  <a:pt x="1988580" y="2247220"/>
                  <a:pt x="2002347" y="2248216"/>
                </a:cubicBezTo>
                <a:cubicBezTo>
                  <a:pt x="2024574" y="2249543"/>
                  <a:pt x="2030379" y="2262978"/>
                  <a:pt x="2045141" y="2252528"/>
                </a:cubicBezTo>
                <a:cubicBezTo>
                  <a:pt x="2059903" y="2242079"/>
                  <a:pt x="2062889" y="2237932"/>
                  <a:pt x="2065709" y="2245230"/>
                </a:cubicBezTo>
                <a:cubicBezTo>
                  <a:pt x="2066273" y="2246258"/>
                  <a:pt x="2066273" y="2247519"/>
                  <a:pt x="2065709" y="2248547"/>
                </a:cubicBezTo>
                <a:cubicBezTo>
                  <a:pt x="2071348" y="2245562"/>
                  <a:pt x="2075329" y="2242576"/>
                  <a:pt x="2075661" y="2240254"/>
                </a:cubicBezTo>
                <a:cubicBezTo>
                  <a:pt x="2075761" y="2235809"/>
                  <a:pt x="2075080" y="2231380"/>
                  <a:pt x="2073670" y="2227150"/>
                </a:cubicBezTo>
                <a:cubicBezTo>
                  <a:pt x="2058908" y="2229307"/>
                  <a:pt x="2054098" y="2230302"/>
                  <a:pt x="2050117" y="2220184"/>
                </a:cubicBezTo>
                <a:cubicBezTo>
                  <a:pt x="2044146" y="2205422"/>
                  <a:pt x="2094238" y="2190659"/>
                  <a:pt x="2117792" y="2193645"/>
                </a:cubicBezTo>
                <a:cubicBezTo>
                  <a:pt x="2141345" y="2196631"/>
                  <a:pt x="2155941" y="2180707"/>
                  <a:pt x="2163737" y="2190328"/>
                </a:cubicBezTo>
                <a:cubicBezTo>
                  <a:pt x="2176857" y="2177091"/>
                  <a:pt x="2191902" y="2165912"/>
                  <a:pt x="2208356" y="2157154"/>
                </a:cubicBezTo>
                <a:lnTo>
                  <a:pt x="2322307" y="2156159"/>
                </a:lnTo>
                <a:cubicBezTo>
                  <a:pt x="2322307" y="2156159"/>
                  <a:pt x="2358632" y="2133601"/>
                  <a:pt x="2363608" y="2112867"/>
                </a:cubicBezTo>
                <a:cubicBezTo>
                  <a:pt x="2368584" y="2092133"/>
                  <a:pt x="2391972" y="2043037"/>
                  <a:pt x="2405739" y="2053984"/>
                </a:cubicBezTo>
                <a:cubicBezTo>
                  <a:pt x="2419506" y="2064931"/>
                  <a:pt x="2449031" y="2056804"/>
                  <a:pt x="2450026" y="2066756"/>
                </a:cubicBezTo>
                <a:cubicBezTo>
                  <a:pt x="2445796" y="2100145"/>
                  <a:pt x="2455997" y="2133733"/>
                  <a:pt x="2478058" y="2159144"/>
                </a:cubicBezTo>
                <a:cubicBezTo>
                  <a:pt x="2488308" y="2151514"/>
                  <a:pt x="2500267" y="2146505"/>
                  <a:pt x="2512890" y="2144548"/>
                </a:cubicBezTo>
                <a:cubicBezTo>
                  <a:pt x="2526159" y="2145377"/>
                  <a:pt x="2546063" y="2127961"/>
                  <a:pt x="2551869" y="2116516"/>
                </a:cubicBezTo>
                <a:cubicBezTo>
                  <a:pt x="2557674" y="2105071"/>
                  <a:pt x="2565968" y="2126966"/>
                  <a:pt x="2554191" y="2130615"/>
                </a:cubicBezTo>
                <a:cubicBezTo>
                  <a:pt x="2542414" y="2134264"/>
                  <a:pt x="2563811" y="2143055"/>
                  <a:pt x="2584379" y="2142392"/>
                </a:cubicBezTo>
                <a:cubicBezTo>
                  <a:pt x="2604947" y="2141728"/>
                  <a:pt x="2574759" y="2149690"/>
                  <a:pt x="2559333" y="2149026"/>
                </a:cubicBezTo>
                <a:cubicBezTo>
                  <a:pt x="2543907" y="2148363"/>
                  <a:pt x="2537272" y="2150519"/>
                  <a:pt x="2516539" y="2171087"/>
                </a:cubicBezTo>
                <a:cubicBezTo>
                  <a:pt x="2495805" y="2191654"/>
                  <a:pt x="2501113" y="2197626"/>
                  <a:pt x="2512890" y="2207910"/>
                </a:cubicBezTo>
                <a:cubicBezTo>
                  <a:pt x="2524666" y="2218193"/>
                  <a:pt x="2540092" y="2213881"/>
                  <a:pt x="2556347" y="2199782"/>
                </a:cubicBezTo>
                <a:cubicBezTo>
                  <a:pt x="2572602" y="2185683"/>
                  <a:pt x="2571773" y="2171916"/>
                  <a:pt x="2588028" y="2172580"/>
                </a:cubicBezTo>
                <a:cubicBezTo>
                  <a:pt x="2614235" y="2168499"/>
                  <a:pt x="2639928" y="2161599"/>
                  <a:pt x="2664659" y="2152012"/>
                </a:cubicBezTo>
                <a:cubicBezTo>
                  <a:pt x="2683071" y="2146041"/>
                  <a:pt x="2671294" y="2143055"/>
                  <a:pt x="2671294" y="2135425"/>
                </a:cubicBezTo>
                <a:cubicBezTo>
                  <a:pt x="2671294" y="2127795"/>
                  <a:pt x="2704468" y="2127463"/>
                  <a:pt x="2715581" y="2118838"/>
                </a:cubicBezTo>
                <a:cubicBezTo>
                  <a:pt x="2726694" y="2110213"/>
                  <a:pt x="2711268" y="2105569"/>
                  <a:pt x="2701150" y="2107062"/>
                </a:cubicBezTo>
                <a:close/>
                <a:moveTo>
                  <a:pt x="782883" y="1151826"/>
                </a:moveTo>
                <a:cubicBezTo>
                  <a:pt x="763477" y="1175877"/>
                  <a:pt x="757174" y="1179360"/>
                  <a:pt x="737104" y="1175877"/>
                </a:cubicBezTo>
                <a:cubicBezTo>
                  <a:pt x="717034" y="1172394"/>
                  <a:pt x="704925" y="1182180"/>
                  <a:pt x="714877" y="1189312"/>
                </a:cubicBezTo>
                <a:cubicBezTo>
                  <a:pt x="724829" y="1196445"/>
                  <a:pt x="725493" y="1202250"/>
                  <a:pt x="704925" y="1206894"/>
                </a:cubicBezTo>
                <a:cubicBezTo>
                  <a:pt x="684358" y="1211539"/>
                  <a:pt x="670922" y="1227462"/>
                  <a:pt x="662795" y="1225637"/>
                </a:cubicBezTo>
                <a:cubicBezTo>
                  <a:pt x="654667" y="1223813"/>
                  <a:pt x="697959" y="1192464"/>
                  <a:pt x="686846" y="1184668"/>
                </a:cubicBezTo>
                <a:cubicBezTo>
                  <a:pt x="675732" y="1176872"/>
                  <a:pt x="648032" y="1198767"/>
                  <a:pt x="647535" y="1208553"/>
                </a:cubicBezTo>
                <a:cubicBezTo>
                  <a:pt x="647037" y="1218339"/>
                  <a:pt x="628792" y="1219169"/>
                  <a:pt x="617679" y="1218505"/>
                </a:cubicBezTo>
                <a:cubicBezTo>
                  <a:pt x="606565" y="1217842"/>
                  <a:pt x="591803" y="1207392"/>
                  <a:pt x="602916" y="1206231"/>
                </a:cubicBezTo>
                <a:cubicBezTo>
                  <a:pt x="614029" y="1205070"/>
                  <a:pt x="606565" y="1192796"/>
                  <a:pt x="621825" y="1186990"/>
                </a:cubicBezTo>
                <a:cubicBezTo>
                  <a:pt x="637085" y="1181185"/>
                  <a:pt x="618840" y="1172394"/>
                  <a:pt x="623484" y="1165925"/>
                </a:cubicBezTo>
                <a:cubicBezTo>
                  <a:pt x="628128" y="1159456"/>
                  <a:pt x="659312" y="1172394"/>
                  <a:pt x="659809" y="1160617"/>
                </a:cubicBezTo>
                <a:cubicBezTo>
                  <a:pt x="660307" y="1148840"/>
                  <a:pt x="628792" y="1138888"/>
                  <a:pt x="618176" y="1146021"/>
                </a:cubicBezTo>
                <a:cubicBezTo>
                  <a:pt x="600130" y="1160750"/>
                  <a:pt x="575598" y="1164731"/>
                  <a:pt x="553819" y="1156470"/>
                </a:cubicBezTo>
                <a:cubicBezTo>
                  <a:pt x="544531" y="1152490"/>
                  <a:pt x="627631" y="1143698"/>
                  <a:pt x="641729" y="1130761"/>
                </a:cubicBezTo>
                <a:cubicBezTo>
                  <a:pt x="655828" y="1117823"/>
                  <a:pt x="719024" y="1103227"/>
                  <a:pt x="723668" y="1114174"/>
                </a:cubicBezTo>
                <a:cubicBezTo>
                  <a:pt x="728313" y="1125121"/>
                  <a:pt x="690495" y="1133581"/>
                  <a:pt x="708409" y="1144196"/>
                </a:cubicBezTo>
                <a:cubicBezTo>
                  <a:pt x="726322" y="1154812"/>
                  <a:pt x="758169" y="1147679"/>
                  <a:pt x="764638" y="1136566"/>
                </a:cubicBezTo>
                <a:cubicBezTo>
                  <a:pt x="771107" y="1125453"/>
                  <a:pt x="802290" y="1127775"/>
                  <a:pt x="782883" y="1151826"/>
                </a:cubicBezTo>
                <a:close/>
                <a:moveTo>
                  <a:pt x="969154" y="1388520"/>
                </a:moveTo>
                <a:cubicBezTo>
                  <a:pt x="946430" y="1408424"/>
                  <a:pt x="948088" y="1403117"/>
                  <a:pt x="928184" y="1406600"/>
                </a:cubicBezTo>
                <a:cubicBezTo>
                  <a:pt x="908280" y="1410083"/>
                  <a:pt x="924037" y="1430153"/>
                  <a:pt x="900152" y="1431812"/>
                </a:cubicBezTo>
                <a:cubicBezTo>
                  <a:pt x="876267" y="1433470"/>
                  <a:pt x="817218" y="1435958"/>
                  <a:pt x="809754" y="1422523"/>
                </a:cubicBezTo>
                <a:cubicBezTo>
                  <a:pt x="807100" y="1418045"/>
                  <a:pt x="841435" y="1421362"/>
                  <a:pt x="842928" y="1411410"/>
                </a:cubicBezTo>
                <a:cubicBezTo>
                  <a:pt x="844420" y="1401458"/>
                  <a:pt x="854704" y="1385535"/>
                  <a:pt x="869301" y="1385535"/>
                </a:cubicBezTo>
                <a:cubicBezTo>
                  <a:pt x="883897" y="1385535"/>
                  <a:pt x="882902" y="1366294"/>
                  <a:pt x="858851" y="1354517"/>
                </a:cubicBezTo>
                <a:cubicBezTo>
                  <a:pt x="834800" y="1342740"/>
                  <a:pt x="893352" y="1335110"/>
                  <a:pt x="906787" y="1354517"/>
                </a:cubicBezTo>
                <a:cubicBezTo>
                  <a:pt x="920222" y="1373924"/>
                  <a:pt x="944439" y="1386695"/>
                  <a:pt x="957874" y="1373260"/>
                </a:cubicBezTo>
                <a:cubicBezTo>
                  <a:pt x="971310" y="1359825"/>
                  <a:pt x="1048107" y="1322173"/>
                  <a:pt x="1048107" y="1340087"/>
                </a:cubicBezTo>
                <a:cubicBezTo>
                  <a:pt x="1048107" y="1358000"/>
                  <a:pt x="992707" y="1368616"/>
                  <a:pt x="969154" y="1388520"/>
                </a:cubicBezTo>
                <a:close/>
                <a:moveTo>
                  <a:pt x="1482184" y="1924275"/>
                </a:moveTo>
                <a:cubicBezTo>
                  <a:pt x="1465597" y="1926099"/>
                  <a:pt x="1483511" y="1881481"/>
                  <a:pt x="1454153" y="1865226"/>
                </a:cubicBezTo>
                <a:cubicBezTo>
                  <a:pt x="1426436" y="1850380"/>
                  <a:pt x="1407825" y="1822830"/>
                  <a:pt x="1404392" y="1791580"/>
                </a:cubicBezTo>
                <a:cubicBezTo>
                  <a:pt x="1406283" y="1778427"/>
                  <a:pt x="1418458" y="1769304"/>
                  <a:pt x="1431611" y="1771178"/>
                </a:cubicBezTo>
                <a:cubicBezTo>
                  <a:pt x="1436919" y="1771941"/>
                  <a:pt x="1441812" y="1774446"/>
                  <a:pt x="1445527" y="1778311"/>
                </a:cubicBezTo>
                <a:cubicBezTo>
                  <a:pt x="1457304" y="1793073"/>
                  <a:pt x="1475052" y="1853449"/>
                  <a:pt x="1485336" y="1872690"/>
                </a:cubicBezTo>
                <a:cubicBezTo>
                  <a:pt x="1495620" y="1891930"/>
                  <a:pt x="1495288" y="1922782"/>
                  <a:pt x="1482184" y="1924275"/>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514" name="Freeform: Shape 513">
            <a:extLst>
              <a:ext uri="{FF2B5EF4-FFF2-40B4-BE49-F238E27FC236}">
                <a16:creationId xmlns:a16="http://schemas.microsoft.com/office/drawing/2014/main" id="{5A5B8A07-0804-4900-9B11-7069F6679B68}"/>
              </a:ext>
            </a:extLst>
          </p:cNvPr>
          <p:cNvSpPr/>
          <p:nvPr/>
        </p:nvSpPr>
        <p:spPr>
          <a:xfrm>
            <a:off x="875602" y="2398654"/>
            <a:ext cx="2675232" cy="1777547"/>
          </a:xfrm>
          <a:custGeom>
            <a:avLst/>
            <a:gdLst>
              <a:gd name="connsiteX0" fmla="*/ 1264435 w 3374128"/>
              <a:gd name="connsiteY0" fmla="*/ 838837 h 2285795"/>
              <a:gd name="connsiteX1" fmla="*/ 1232920 w 3374128"/>
              <a:gd name="connsiteY1" fmla="*/ 803341 h 2285795"/>
              <a:gd name="connsiteX2" fmla="*/ 1174037 w 3374128"/>
              <a:gd name="connsiteY2" fmla="*/ 733677 h 2285795"/>
              <a:gd name="connsiteX3" fmla="*/ 1102216 w 3374128"/>
              <a:gd name="connsiteY3" fmla="*/ 652069 h 2285795"/>
              <a:gd name="connsiteX4" fmla="*/ 1057099 w 3374128"/>
              <a:gd name="connsiteY4" fmla="*/ 650079 h 2285795"/>
              <a:gd name="connsiteX5" fmla="*/ 1026580 w 3374128"/>
              <a:gd name="connsiteY5" fmla="*/ 673632 h 2285795"/>
              <a:gd name="connsiteX6" fmla="*/ 1001036 w 3374128"/>
              <a:gd name="connsiteY6" fmla="*/ 657045 h 2285795"/>
              <a:gd name="connsiteX7" fmla="*/ 967862 w 3374128"/>
              <a:gd name="connsiteY7" fmla="*/ 623872 h 2285795"/>
              <a:gd name="connsiteX8" fmla="*/ 945138 w 3374128"/>
              <a:gd name="connsiteY8" fmla="*/ 607285 h 2285795"/>
              <a:gd name="connsiteX9" fmla="*/ 914784 w 3374128"/>
              <a:gd name="connsiteY9" fmla="*/ 613090 h 2285795"/>
              <a:gd name="connsiteX10" fmla="*/ 897036 w 3374128"/>
              <a:gd name="connsiteY10" fmla="*/ 609441 h 2285795"/>
              <a:gd name="connsiteX11" fmla="*/ 897036 w 3374128"/>
              <a:gd name="connsiteY11" fmla="*/ 100225 h 2285795"/>
              <a:gd name="connsiteX12" fmla="*/ 881777 w 3374128"/>
              <a:gd name="connsiteY12" fmla="*/ 96908 h 2285795"/>
              <a:gd name="connsiteX13" fmla="*/ 811780 w 3374128"/>
              <a:gd name="connsiteY13" fmla="*/ 77833 h 2285795"/>
              <a:gd name="connsiteX14" fmla="*/ 749248 w 3374128"/>
              <a:gd name="connsiteY14" fmla="*/ 79989 h 2285795"/>
              <a:gd name="connsiteX15" fmla="*/ 696834 w 3374128"/>
              <a:gd name="connsiteY15" fmla="*/ 72691 h 2285795"/>
              <a:gd name="connsiteX16" fmla="*/ 626174 w 3374128"/>
              <a:gd name="connsiteY16" fmla="*/ 51958 h 2285795"/>
              <a:gd name="connsiteX17" fmla="*/ 541415 w 3374128"/>
              <a:gd name="connsiteY17" fmla="*/ 57929 h 2285795"/>
              <a:gd name="connsiteX18" fmla="*/ 520018 w 3374128"/>
              <a:gd name="connsiteY18" fmla="*/ 48309 h 2285795"/>
              <a:gd name="connsiteX19" fmla="*/ 509734 w 3374128"/>
              <a:gd name="connsiteY19" fmla="*/ 31722 h 2285795"/>
              <a:gd name="connsiteX20" fmla="*/ 452178 w 3374128"/>
              <a:gd name="connsiteY20" fmla="*/ 31722 h 2285795"/>
              <a:gd name="connsiteX21" fmla="*/ 435591 w 3374128"/>
              <a:gd name="connsiteY21" fmla="*/ 18452 h 2285795"/>
              <a:gd name="connsiteX22" fmla="*/ 419004 w 3374128"/>
              <a:gd name="connsiteY22" fmla="*/ 22931 h 2285795"/>
              <a:gd name="connsiteX23" fmla="*/ 393362 w 3374128"/>
              <a:gd name="connsiteY23" fmla="*/ 27459 h 2285795"/>
              <a:gd name="connsiteX24" fmla="*/ 393294 w 3374128"/>
              <a:gd name="connsiteY24" fmla="*/ 27409 h 2285795"/>
              <a:gd name="connsiteX25" fmla="*/ 406564 w 3374128"/>
              <a:gd name="connsiteY25" fmla="*/ 12647 h 2285795"/>
              <a:gd name="connsiteX26" fmla="*/ 380025 w 3374128"/>
              <a:gd name="connsiteY26" fmla="*/ 207 h 2285795"/>
              <a:gd name="connsiteX27" fmla="*/ 345359 w 3374128"/>
              <a:gd name="connsiteY27" fmla="*/ 21438 h 2285795"/>
              <a:gd name="connsiteX28" fmla="*/ 292944 w 3374128"/>
              <a:gd name="connsiteY28" fmla="*/ 32551 h 2285795"/>
              <a:gd name="connsiteX29" fmla="*/ 262093 w 3374128"/>
              <a:gd name="connsiteY29" fmla="*/ 42171 h 2285795"/>
              <a:gd name="connsiteX30" fmla="*/ 269391 w 3374128"/>
              <a:gd name="connsiteY30" fmla="*/ 59753 h 2285795"/>
              <a:gd name="connsiteX31" fmla="*/ 245174 w 3374128"/>
              <a:gd name="connsiteY31" fmla="*/ 56934 h 2285795"/>
              <a:gd name="connsiteX32" fmla="*/ 196409 w 3374128"/>
              <a:gd name="connsiteY32" fmla="*/ 65725 h 2285795"/>
              <a:gd name="connsiteX33" fmla="*/ 157430 w 3374128"/>
              <a:gd name="connsiteY33" fmla="*/ 98069 h 2285795"/>
              <a:gd name="connsiteX34" fmla="*/ 143331 w 3374128"/>
              <a:gd name="connsiteY34" fmla="*/ 133565 h 2285795"/>
              <a:gd name="connsiteX35" fmla="*/ 59402 w 3374128"/>
              <a:gd name="connsiteY35" fmla="*/ 150152 h 2285795"/>
              <a:gd name="connsiteX36" fmla="*/ 50611 w 3374128"/>
              <a:gd name="connsiteY36" fmla="*/ 170719 h 2285795"/>
              <a:gd name="connsiteX37" fmla="*/ 87433 w 3374128"/>
              <a:gd name="connsiteY37" fmla="*/ 194273 h 2285795"/>
              <a:gd name="connsiteX38" fmla="*/ 142004 w 3374128"/>
              <a:gd name="connsiteY38" fmla="*/ 251829 h 2285795"/>
              <a:gd name="connsiteX39" fmla="*/ 197902 w 3374128"/>
              <a:gd name="connsiteY39" fmla="*/ 253322 h 2285795"/>
              <a:gd name="connsiteX40" fmla="*/ 209015 w 3374128"/>
              <a:gd name="connsiteY40" fmla="*/ 282017 h 2285795"/>
              <a:gd name="connsiteX41" fmla="*/ 244345 w 3374128"/>
              <a:gd name="connsiteY41" fmla="*/ 289315 h 2285795"/>
              <a:gd name="connsiteX42" fmla="*/ 204536 w 3374128"/>
              <a:gd name="connsiteY42" fmla="*/ 300428 h 2285795"/>
              <a:gd name="connsiteX43" fmla="*/ 176505 w 3374128"/>
              <a:gd name="connsiteY43" fmla="*/ 308556 h 2285795"/>
              <a:gd name="connsiteX44" fmla="*/ 133876 w 3374128"/>
              <a:gd name="connsiteY44" fmla="*/ 307063 h 2285795"/>
              <a:gd name="connsiteX45" fmla="*/ 133876 w 3374128"/>
              <a:gd name="connsiteY45" fmla="*/ 284173 h 2285795"/>
              <a:gd name="connsiteX46" fmla="*/ 92575 w 3374128"/>
              <a:gd name="connsiteY46" fmla="*/ 285666 h 2285795"/>
              <a:gd name="connsiteX47" fmla="*/ 74164 w 3374128"/>
              <a:gd name="connsiteY47" fmla="*/ 305570 h 2285795"/>
              <a:gd name="connsiteX48" fmla="*/ 45469 w 3374128"/>
              <a:gd name="connsiteY48" fmla="*/ 308556 h 2285795"/>
              <a:gd name="connsiteX49" fmla="*/ 352 w 3374128"/>
              <a:gd name="connsiteY49" fmla="*/ 334431 h 2285795"/>
              <a:gd name="connsiteX50" fmla="*/ 48288 w 3374128"/>
              <a:gd name="connsiteY50" fmla="*/ 353506 h 2285795"/>
              <a:gd name="connsiteX51" fmla="*/ 42483 w 3374128"/>
              <a:gd name="connsiteY51" fmla="*/ 370093 h 2285795"/>
              <a:gd name="connsiteX52" fmla="*/ 67529 w 3374128"/>
              <a:gd name="connsiteY52" fmla="*/ 394476 h 2285795"/>
              <a:gd name="connsiteX53" fmla="*/ 138189 w 3374128"/>
              <a:gd name="connsiteY53" fmla="*/ 394476 h 2285795"/>
              <a:gd name="connsiteX54" fmla="*/ 168377 w 3374128"/>
              <a:gd name="connsiteY54" fmla="*/ 398125 h 2285795"/>
              <a:gd name="connsiteX55" fmla="*/ 227426 w 3374128"/>
              <a:gd name="connsiteY55" fmla="*/ 377391 h 2285795"/>
              <a:gd name="connsiteX56" fmla="*/ 217806 w 3374128"/>
              <a:gd name="connsiteY56" fmla="*/ 400281 h 2285795"/>
              <a:gd name="connsiteX57" fmla="*/ 221455 w 3374128"/>
              <a:gd name="connsiteY57" fmla="*/ 444568 h 2285795"/>
              <a:gd name="connsiteX58" fmla="*/ 180983 w 3374128"/>
              <a:gd name="connsiteY58" fmla="*/ 447388 h 2285795"/>
              <a:gd name="connsiteX59" fmla="*/ 163235 w 3374128"/>
              <a:gd name="connsiteY59" fmla="*/ 474756 h 2285795"/>
              <a:gd name="connsiteX60" fmla="*/ 121270 w 3374128"/>
              <a:gd name="connsiteY60" fmla="*/ 462979 h 2285795"/>
              <a:gd name="connsiteX61" fmla="*/ 108001 w 3374128"/>
              <a:gd name="connsiteY61" fmla="*/ 496153 h 2285795"/>
              <a:gd name="connsiteX62" fmla="*/ 74827 w 3374128"/>
              <a:gd name="connsiteY62" fmla="*/ 520536 h 2285795"/>
              <a:gd name="connsiteX63" fmla="*/ 58241 w 3374128"/>
              <a:gd name="connsiteY63" fmla="*/ 549894 h 2285795"/>
              <a:gd name="connsiteX64" fmla="*/ 88594 w 3374128"/>
              <a:gd name="connsiteY64" fmla="*/ 569799 h 2285795"/>
              <a:gd name="connsiteX65" fmla="*/ 87102 w 3374128"/>
              <a:gd name="connsiteY65" fmla="*/ 601479 h 2285795"/>
              <a:gd name="connsiteX66" fmla="*/ 128403 w 3374128"/>
              <a:gd name="connsiteY66" fmla="*/ 640624 h 2285795"/>
              <a:gd name="connsiteX67" fmla="*/ 167382 w 3374128"/>
              <a:gd name="connsiteY67" fmla="*/ 634653 h 2285795"/>
              <a:gd name="connsiteX68" fmla="*/ 183969 w 3374128"/>
              <a:gd name="connsiteY68" fmla="*/ 620720 h 2285795"/>
              <a:gd name="connsiteX69" fmla="*/ 197238 w 3374128"/>
              <a:gd name="connsiteY69" fmla="*/ 658206 h 2285795"/>
              <a:gd name="connsiteX70" fmla="*/ 194253 w 3374128"/>
              <a:gd name="connsiteY70" fmla="*/ 691380 h 2285795"/>
              <a:gd name="connsiteX71" fmla="*/ 230412 w 3374128"/>
              <a:gd name="connsiteY71" fmla="*/ 687068 h 2285795"/>
              <a:gd name="connsiteX72" fmla="*/ 276191 w 3374128"/>
              <a:gd name="connsiteY72" fmla="*/ 690716 h 2285795"/>
              <a:gd name="connsiteX73" fmla="*/ 296759 w 3374128"/>
              <a:gd name="connsiteY73" fmla="*/ 697351 h 2285795"/>
              <a:gd name="connsiteX74" fmla="*/ 310692 w 3374128"/>
              <a:gd name="connsiteY74" fmla="*/ 680765 h 2285795"/>
              <a:gd name="connsiteX75" fmla="*/ 346851 w 3374128"/>
              <a:gd name="connsiteY75" fmla="*/ 684414 h 2285795"/>
              <a:gd name="connsiteX76" fmla="*/ 346851 w 3374128"/>
              <a:gd name="connsiteY76" fmla="*/ 699839 h 2285795"/>
              <a:gd name="connsiteX77" fmla="*/ 335075 w 3374128"/>
              <a:gd name="connsiteY77" fmla="*/ 752917 h 2285795"/>
              <a:gd name="connsiteX78" fmla="*/ 294437 w 3374128"/>
              <a:gd name="connsiteY78" fmla="*/ 788413 h 2285795"/>
              <a:gd name="connsiteX79" fmla="*/ 238374 w 3374128"/>
              <a:gd name="connsiteY79" fmla="*/ 832534 h 2285795"/>
              <a:gd name="connsiteX80" fmla="*/ 186954 w 3374128"/>
              <a:gd name="connsiteY80" fmla="*/ 837676 h 2285795"/>
              <a:gd name="connsiteX81" fmla="*/ 162572 w 3374128"/>
              <a:gd name="connsiteY81" fmla="*/ 873835 h 2285795"/>
              <a:gd name="connsiteX82" fmla="*/ 202380 w 3374128"/>
              <a:gd name="connsiteY82" fmla="*/ 852438 h 2285795"/>
              <a:gd name="connsiteX83" fmla="*/ 214157 w 3374128"/>
              <a:gd name="connsiteY83" fmla="*/ 852438 h 2285795"/>
              <a:gd name="connsiteX84" fmla="*/ 241359 w 3374128"/>
              <a:gd name="connsiteY84" fmla="*/ 843481 h 2285795"/>
              <a:gd name="connsiteX85" fmla="*/ 265742 w 3374128"/>
              <a:gd name="connsiteY85" fmla="*/ 840662 h 2285795"/>
              <a:gd name="connsiteX86" fmla="*/ 295266 w 3374128"/>
              <a:gd name="connsiteY86" fmla="*/ 828719 h 2285795"/>
              <a:gd name="connsiteX87" fmla="*/ 315171 w 3374128"/>
              <a:gd name="connsiteY87" fmla="*/ 808981 h 2285795"/>
              <a:gd name="connsiteX88" fmla="*/ 375547 w 3374128"/>
              <a:gd name="connsiteY88" fmla="*/ 774314 h 2285795"/>
              <a:gd name="connsiteX89" fmla="*/ 388816 w 3374128"/>
              <a:gd name="connsiteY89" fmla="*/ 756566 h 2285795"/>
              <a:gd name="connsiteX90" fmla="*/ 425639 w 3374128"/>
              <a:gd name="connsiteY90" fmla="*/ 733677 h 2285795"/>
              <a:gd name="connsiteX91" fmla="*/ 450685 w 3374128"/>
              <a:gd name="connsiteY91" fmla="*/ 724056 h 2285795"/>
              <a:gd name="connsiteX92" fmla="*/ 462462 w 3374128"/>
              <a:gd name="connsiteY92" fmla="*/ 699839 h 2285795"/>
              <a:gd name="connsiteX93" fmla="*/ 479048 w 3374128"/>
              <a:gd name="connsiteY93" fmla="*/ 683252 h 2285795"/>
              <a:gd name="connsiteX94" fmla="*/ 452509 w 3374128"/>
              <a:gd name="connsiteY94" fmla="*/ 669983 h 2285795"/>
              <a:gd name="connsiteX95" fmla="*/ 481371 w 3374128"/>
              <a:gd name="connsiteY95" fmla="*/ 645601 h 2285795"/>
              <a:gd name="connsiteX96" fmla="*/ 503431 w 3374128"/>
              <a:gd name="connsiteY96" fmla="*/ 625862 h 2285795"/>
              <a:gd name="connsiteX97" fmla="*/ 525492 w 3374128"/>
              <a:gd name="connsiteY97" fmla="*/ 601479 h 2285795"/>
              <a:gd name="connsiteX98" fmla="*/ 542078 w 3374128"/>
              <a:gd name="connsiteY98" fmla="*/ 581575 h 2285795"/>
              <a:gd name="connsiteX99" fmla="*/ 570774 w 3374128"/>
              <a:gd name="connsiteY99" fmla="*/ 561671 h 2285795"/>
              <a:gd name="connsiteX100" fmla="*/ 590678 w 3374128"/>
              <a:gd name="connsiteY100" fmla="*/ 569799 h 2285795"/>
              <a:gd name="connsiteX101" fmla="*/ 590678 w 3374128"/>
              <a:gd name="connsiteY101" fmla="*/ 582239 h 2285795"/>
              <a:gd name="connsiteX102" fmla="*/ 556011 w 3374128"/>
              <a:gd name="connsiteY102" fmla="*/ 588873 h 2285795"/>
              <a:gd name="connsiteX103" fmla="*/ 542742 w 3374128"/>
              <a:gd name="connsiteY103" fmla="*/ 619227 h 2285795"/>
              <a:gd name="connsiteX104" fmla="*/ 545064 w 3374128"/>
              <a:gd name="connsiteY104" fmla="*/ 643444 h 2285795"/>
              <a:gd name="connsiteX105" fmla="*/ 533287 w 3374128"/>
              <a:gd name="connsiteY105" fmla="*/ 658206 h 2285795"/>
              <a:gd name="connsiteX106" fmla="*/ 546557 w 3374128"/>
              <a:gd name="connsiteY106" fmla="*/ 669320 h 2285795"/>
              <a:gd name="connsiteX107" fmla="*/ 612904 w 3374128"/>
              <a:gd name="connsiteY107" fmla="*/ 633160 h 2285795"/>
              <a:gd name="connsiteX108" fmla="*/ 660840 w 3374128"/>
              <a:gd name="connsiteY108" fmla="*/ 631004 h 2285795"/>
              <a:gd name="connsiteX109" fmla="*/ 660840 w 3374128"/>
              <a:gd name="connsiteY109" fmla="*/ 614417 h 2285795"/>
              <a:gd name="connsiteX110" fmla="*/ 646078 w 3374128"/>
              <a:gd name="connsiteY110" fmla="*/ 594347 h 2285795"/>
              <a:gd name="connsiteX111" fmla="*/ 657191 w 3374128"/>
              <a:gd name="connsiteY111" fmla="*/ 577760 h 2285795"/>
              <a:gd name="connsiteX112" fmla="*/ 675602 w 3374128"/>
              <a:gd name="connsiteY112" fmla="*/ 576267 h 2285795"/>
              <a:gd name="connsiteX113" fmla="*/ 699985 w 3374128"/>
              <a:gd name="connsiteY113" fmla="*/ 585058 h 2285795"/>
              <a:gd name="connsiteX114" fmla="*/ 725695 w 3374128"/>
              <a:gd name="connsiteY114" fmla="*/ 591030 h 2285795"/>
              <a:gd name="connsiteX115" fmla="*/ 710932 w 3374128"/>
              <a:gd name="connsiteY115" fmla="*/ 601977 h 2285795"/>
              <a:gd name="connsiteX116" fmla="*/ 714747 w 3374128"/>
              <a:gd name="connsiteY116" fmla="*/ 613920 h 2285795"/>
              <a:gd name="connsiteX117" fmla="*/ 741286 w 3374128"/>
              <a:gd name="connsiteY117" fmla="*/ 608612 h 2285795"/>
              <a:gd name="connsiteX118" fmla="*/ 761190 w 3374128"/>
              <a:gd name="connsiteY118" fmla="*/ 605792 h 2285795"/>
              <a:gd name="connsiteX119" fmla="*/ 768489 w 3374128"/>
              <a:gd name="connsiteY119" fmla="*/ 612427 h 2285795"/>
              <a:gd name="connsiteX120" fmla="*/ 806141 w 3374128"/>
              <a:gd name="connsiteY120" fmla="*/ 624203 h 2285795"/>
              <a:gd name="connsiteX121" fmla="*/ 878293 w 3374128"/>
              <a:gd name="connsiteY121" fmla="*/ 621881 h 2285795"/>
              <a:gd name="connsiteX122" fmla="*/ 907818 w 3374128"/>
              <a:gd name="connsiteY122" fmla="*/ 641785 h 2285795"/>
              <a:gd name="connsiteX123" fmla="*/ 948290 w 3374128"/>
              <a:gd name="connsiteY123" fmla="*/ 628516 h 2285795"/>
              <a:gd name="connsiteX124" fmla="*/ 941655 w 3374128"/>
              <a:gd name="connsiteY124" fmla="*/ 649249 h 2285795"/>
              <a:gd name="connsiteX125" fmla="*/ 958242 w 3374128"/>
              <a:gd name="connsiteY125" fmla="*/ 661026 h 2285795"/>
              <a:gd name="connsiteX126" fmla="*/ 997221 w 3374128"/>
              <a:gd name="connsiteY126" fmla="*/ 680101 h 2285795"/>
              <a:gd name="connsiteX127" fmla="*/ 1036366 w 3374128"/>
              <a:gd name="connsiteY127" fmla="*/ 711782 h 2285795"/>
              <a:gd name="connsiteX128" fmla="*/ 1055441 w 3374128"/>
              <a:gd name="connsiteY128" fmla="*/ 695195 h 2285795"/>
              <a:gd name="connsiteX129" fmla="*/ 1081980 w 3374128"/>
              <a:gd name="connsiteY129" fmla="*/ 709128 h 2285795"/>
              <a:gd name="connsiteX130" fmla="*/ 1084965 w 3374128"/>
              <a:gd name="connsiteY130" fmla="*/ 681096 h 2285795"/>
              <a:gd name="connsiteX131" fmla="*/ 1098235 w 3374128"/>
              <a:gd name="connsiteY131" fmla="*/ 684082 h 2285795"/>
              <a:gd name="connsiteX132" fmla="*/ 1100391 w 3374128"/>
              <a:gd name="connsiteY132" fmla="*/ 727539 h 2285795"/>
              <a:gd name="connsiteX133" fmla="*/ 1076174 w 3374128"/>
              <a:gd name="connsiteY133" fmla="*/ 722397 h 2285795"/>
              <a:gd name="connsiteX134" fmla="*/ 1053285 w 3374128"/>
              <a:gd name="connsiteY134" fmla="*/ 728369 h 2285795"/>
              <a:gd name="connsiteX135" fmla="*/ 1080487 w 3374128"/>
              <a:gd name="connsiteY135" fmla="*/ 761542 h 2285795"/>
              <a:gd name="connsiteX136" fmla="*/ 1090937 w 3374128"/>
              <a:gd name="connsiteY136" fmla="*/ 784432 h 2285795"/>
              <a:gd name="connsiteX137" fmla="*/ 1106362 w 3374128"/>
              <a:gd name="connsiteY137" fmla="*/ 803507 h 2285795"/>
              <a:gd name="connsiteX138" fmla="*/ 1103377 w 3374128"/>
              <a:gd name="connsiteY138" fmla="*/ 767514 h 2285795"/>
              <a:gd name="connsiteX139" fmla="*/ 1108519 w 3374128"/>
              <a:gd name="connsiteY139" fmla="*/ 745287 h 2285795"/>
              <a:gd name="connsiteX140" fmla="*/ 1112997 w 3374128"/>
              <a:gd name="connsiteY140" fmla="*/ 769006 h 2285795"/>
              <a:gd name="connsiteX141" fmla="*/ 1132901 w 3374128"/>
              <a:gd name="connsiteY141" fmla="*/ 757893 h 2285795"/>
              <a:gd name="connsiteX142" fmla="*/ 1132901 w 3374128"/>
              <a:gd name="connsiteY142" fmla="*/ 726212 h 2285795"/>
              <a:gd name="connsiteX143" fmla="*/ 1152806 w 3374128"/>
              <a:gd name="connsiteY143" fmla="*/ 748936 h 2285795"/>
              <a:gd name="connsiteX144" fmla="*/ 1141858 w 3374128"/>
              <a:gd name="connsiteY144" fmla="*/ 771826 h 2285795"/>
              <a:gd name="connsiteX145" fmla="*/ 1123447 w 3374128"/>
              <a:gd name="connsiteY145" fmla="*/ 780783 h 2285795"/>
              <a:gd name="connsiteX146" fmla="*/ 1127096 w 3374128"/>
              <a:gd name="connsiteY146" fmla="*/ 815284 h 2285795"/>
              <a:gd name="connsiteX147" fmla="*/ 1140365 w 3374128"/>
              <a:gd name="connsiteY147" fmla="*/ 803507 h 2285795"/>
              <a:gd name="connsiteX148" fmla="*/ 1161762 w 3374128"/>
              <a:gd name="connsiteY148" fmla="*/ 799194 h 2285795"/>
              <a:gd name="connsiteX149" fmla="*/ 1189794 w 3374128"/>
              <a:gd name="connsiteY149" fmla="*/ 821255 h 2285795"/>
              <a:gd name="connsiteX150" fmla="*/ 1176525 w 3374128"/>
              <a:gd name="connsiteY150" fmla="*/ 804668 h 2285795"/>
              <a:gd name="connsiteX151" fmla="*/ 1176525 w 3374128"/>
              <a:gd name="connsiteY151" fmla="*/ 786257 h 2285795"/>
              <a:gd name="connsiteX152" fmla="*/ 1202400 w 3374128"/>
              <a:gd name="connsiteY152" fmla="*/ 819430 h 2285795"/>
              <a:gd name="connsiteX153" fmla="*/ 1185813 w 3374128"/>
              <a:gd name="connsiteY153" fmla="*/ 836017 h 2285795"/>
              <a:gd name="connsiteX154" fmla="*/ 1157118 w 3374128"/>
              <a:gd name="connsiteY154" fmla="*/ 821918 h 2285795"/>
              <a:gd name="connsiteX155" fmla="*/ 1161597 w 3374128"/>
              <a:gd name="connsiteY155" fmla="*/ 847628 h 2285795"/>
              <a:gd name="connsiteX156" fmla="*/ 1161597 w 3374128"/>
              <a:gd name="connsiteY156" fmla="*/ 880802 h 2285795"/>
              <a:gd name="connsiteX157" fmla="*/ 1172710 w 3374128"/>
              <a:gd name="connsiteY157" fmla="*/ 869689 h 2285795"/>
              <a:gd name="connsiteX158" fmla="*/ 1191121 w 3374128"/>
              <a:gd name="connsiteY158" fmla="*/ 876323 h 2285795"/>
              <a:gd name="connsiteX159" fmla="*/ 1198419 w 3374128"/>
              <a:gd name="connsiteY159" fmla="*/ 857912 h 2285795"/>
              <a:gd name="connsiteX160" fmla="*/ 1215006 w 3374128"/>
              <a:gd name="connsiteY160" fmla="*/ 863883 h 2285795"/>
              <a:gd name="connsiteX161" fmla="*/ 1230432 w 3374128"/>
              <a:gd name="connsiteY161" fmla="*/ 855756 h 2285795"/>
              <a:gd name="connsiteX162" fmla="*/ 1233417 w 3374128"/>
              <a:gd name="connsiteY162" fmla="*/ 879309 h 2285795"/>
              <a:gd name="connsiteX163" fmla="*/ 1247350 w 3374128"/>
              <a:gd name="connsiteY163" fmla="*/ 881465 h 2285795"/>
              <a:gd name="connsiteX164" fmla="*/ 1247350 w 3374128"/>
              <a:gd name="connsiteY164" fmla="*/ 885280 h 2285795"/>
              <a:gd name="connsiteX165" fmla="*/ 1269909 w 3374128"/>
              <a:gd name="connsiteY165" fmla="*/ 868693 h 2285795"/>
              <a:gd name="connsiteX166" fmla="*/ 1264435 w 3374128"/>
              <a:gd name="connsiteY166" fmla="*/ 838837 h 2285795"/>
              <a:gd name="connsiteX167" fmla="*/ 20423 w 3374128"/>
              <a:gd name="connsiteY167" fmla="*/ 943500 h 2285795"/>
              <a:gd name="connsiteX168" fmla="*/ 38005 w 3374128"/>
              <a:gd name="connsiteY168" fmla="*/ 918288 h 2285795"/>
              <a:gd name="connsiteX169" fmla="*/ 20920 w 3374128"/>
              <a:gd name="connsiteY169" fmla="*/ 943002 h 2285795"/>
              <a:gd name="connsiteX170" fmla="*/ 145653 w 3374128"/>
              <a:gd name="connsiteY170" fmla="*/ 877153 h 2285795"/>
              <a:gd name="connsiteX171" fmla="*/ 101532 w 3374128"/>
              <a:gd name="connsiteY171" fmla="*/ 899213 h 2285795"/>
              <a:gd name="connsiteX172" fmla="*/ 128071 w 3374128"/>
              <a:gd name="connsiteY172" fmla="*/ 890422 h 2285795"/>
              <a:gd name="connsiteX173" fmla="*/ 146151 w 3374128"/>
              <a:gd name="connsiteY173" fmla="*/ 876655 h 2285795"/>
              <a:gd name="connsiteX174" fmla="*/ 519354 w 3374128"/>
              <a:gd name="connsiteY174" fmla="*/ 703820 h 2285795"/>
              <a:gd name="connsiteX175" fmla="*/ 493479 w 3374128"/>
              <a:gd name="connsiteY175" fmla="*/ 713441 h 2285795"/>
              <a:gd name="connsiteX176" fmla="*/ 464120 w 3374128"/>
              <a:gd name="connsiteY176" fmla="*/ 747444 h 2285795"/>
              <a:gd name="connsiteX177" fmla="*/ 439738 w 3374128"/>
              <a:gd name="connsiteY177" fmla="*/ 756235 h 2285795"/>
              <a:gd name="connsiteX178" fmla="*/ 453671 w 3374128"/>
              <a:gd name="connsiteY178" fmla="*/ 782110 h 2285795"/>
              <a:gd name="connsiteX179" fmla="*/ 471418 w 3374128"/>
              <a:gd name="connsiteY179" fmla="*/ 782110 h 2285795"/>
              <a:gd name="connsiteX180" fmla="*/ 514876 w 3374128"/>
              <a:gd name="connsiteY180" fmla="*/ 751093 h 2285795"/>
              <a:gd name="connsiteX181" fmla="*/ 502436 w 3374128"/>
              <a:gd name="connsiteY181" fmla="*/ 731188 h 2285795"/>
              <a:gd name="connsiteX182" fmla="*/ 525989 w 3374128"/>
              <a:gd name="connsiteY182" fmla="*/ 720075 h 2285795"/>
              <a:gd name="connsiteX183" fmla="*/ 519852 w 3374128"/>
              <a:gd name="connsiteY183" fmla="*/ 703820 h 2285795"/>
              <a:gd name="connsiteX184" fmla="*/ 50113 w 3374128"/>
              <a:gd name="connsiteY184" fmla="*/ 616905 h 2285795"/>
              <a:gd name="connsiteX185" fmla="*/ 20588 w 3374128"/>
              <a:gd name="connsiteY185" fmla="*/ 627355 h 2285795"/>
              <a:gd name="connsiteX186" fmla="*/ 67032 w 3374128"/>
              <a:gd name="connsiteY186" fmla="*/ 641288 h 2285795"/>
              <a:gd name="connsiteX187" fmla="*/ 77811 w 3374128"/>
              <a:gd name="connsiteY187" fmla="*/ 625928 h 2285795"/>
              <a:gd name="connsiteX188" fmla="*/ 73666 w 3374128"/>
              <a:gd name="connsiteY188" fmla="*/ 618398 h 2285795"/>
              <a:gd name="connsiteX189" fmla="*/ 50113 w 3374128"/>
              <a:gd name="connsiteY189" fmla="*/ 616905 h 2285795"/>
              <a:gd name="connsiteX190" fmla="*/ 409218 w 3374128"/>
              <a:gd name="connsiteY190" fmla="*/ 2244240 h 2285795"/>
              <a:gd name="connsiteX191" fmla="*/ 410711 w 3374128"/>
              <a:gd name="connsiteY191" fmla="*/ 2284877 h 2285795"/>
              <a:gd name="connsiteX192" fmla="*/ 434596 w 3374128"/>
              <a:gd name="connsiteY192" fmla="*/ 2271276 h 2285795"/>
              <a:gd name="connsiteX193" fmla="*/ 409550 w 3374128"/>
              <a:gd name="connsiteY193" fmla="*/ 2244240 h 2285795"/>
              <a:gd name="connsiteX194" fmla="*/ 384835 w 3374128"/>
              <a:gd name="connsiteY194" fmla="*/ 2216042 h 2285795"/>
              <a:gd name="connsiteX195" fmla="*/ 387987 w 3374128"/>
              <a:gd name="connsiteY195" fmla="*/ 2232629 h 2285795"/>
              <a:gd name="connsiteX196" fmla="*/ 385167 w 3374128"/>
              <a:gd name="connsiteY196" fmla="*/ 2216042 h 2285795"/>
              <a:gd name="connsiteX197" fmla="*/ 269888 w 3374128"/>
              <a:gd name="connsiteY197" fmla="*/ 2178555 h 2285795"/>
              <a:gd name="connsiteX198" fmla="*/ 289461 w 3374128"/>
              <a:gd name="connsiteY198" fmla="*/ 2177063 h 2285795"/>
              <a:gd name="connsiteX199" fmla="*/ 270220 w 3374128"/>
              <a:gd name="connsiteY199" fmla="*/ 2178555 h 2285795"/>
              <a:gd name="connsiteX200" fmla="*/ 321971 w 3374128"/>
              <a:gd name="connsiteY200" fmla="*/ 2200782 h 2285795"/>
              <a:gd name="connsiteX201" fmla="*/ 342539 w 3374128"/>
              <a:gd name="connsiteY201" fmla="*/ 2204099 h 2285795"/>
              <a:gd name="connsiteX202" fmla="*/ 322303 w 3374128"/>
              <a:gd name="connsiteY202" fmla="*/ 2200782 h 2285795"/>
              <a:gd name="connsiteX203" fmla="*/ 3346248 w 3374128"/>
              <a:gd name="connsiteY203" fmla="*/ 1214197 h 2285795"/>
              <a:gd name="connsiteX204" fmla="*/ 3301961 w 3374128"/>
              <a:gd name="connsiteY204" fmla="*/ 1201425 h 2285795"/>
              <a:gd name="connsiteX205" fmla="*/ 3259830 w 3374128"/>
              <a:gd name="connsiteY205" fmla="*/ 1260308 h 2285795"/>
              <a:gd name="connsiteX206" fmla="*/ 3218529 w 3374128"/>
              <a:gd name="connsiteY206" fmla="*/ 1303600 h 2285795"/>
              <a:gd name="connsiteX207" fmla="*/ 3104578 w 3374128"/>
              <a:gd name="connsiteY207" fmla="*/ 1304595 h 2285795"/>
              <a:gd name="connsiteX208" fmla="*/ 3059959 w 3374128"/>
              <a:gd name="connsiteY208" fmla="*/ 1337769 h 2285795"/>
              <a:gd name="connsiteX209" fmla="*/ 3061286 w 3374128"/>
              <a:gd name="connsiteY209" fmla="*/ 1339594 h 2285795"/>
              <a:gd name="connsiteX210" fmla="*/ 2996432 w 3374128"/>
              <a:gd name="connsiteY210" fmla="*/ 1371938 h 2285795"/>
              <a:gd name="connsiteX211" fmla="*/ 2969893 w 3374128"/>
              <a:gd name="connsiteY211" fmla="*/ 1374592 h 2285795"/>
              <a:gd name="connsiteX212" fmla="*/ 2971883 w 3374128"/>
              <a:gd name="connsiteY212" fmla="*/ 1387695 h 2285795"/>
              <a:gd name="connsiteX213" fmla="*/ 2961931 w 3374128"/>
              <a:gd name="connsiteY213" fmla="*/ 1395989 h 2285795"/>
              <a:gd name="connsiteX214" fmla="*/ 2885798 w 3374128"/>
              <a:gd name="connsiteY214" fmla="*/ 1442764 h 2285795"/>
              <a:gd name="connsiteX215" fmla="*/ 2819450 w 3374128"/>
              <a:gd name="connsiteY215" fmla="*/ 1428001 h 2285795"/>
              <a:gd name="connsiteX216" fmla="*/ 2844496 w 3374128"/>
              <a:gd name="connsiteY216" fmla="*/ 1420703 h 2285795"/>
              <a:gd name="connsiteX217" fmla="*/ 2857766 w 3374128"/>
              <a:gd name="connsiteY217" fmla="*/ 1416888 h 2285795"/>
              <a:gd name="connsiteX218" fmla="*/ 2853287 w 3374128"/>
              <a:gd name="connsiteY218" fmla="*/ 1390847 h 2285795"/>
              <a:gd name="connsiteX219" fmla="*/ 2840847 w 3374128"/>
              <a:gd name="connsiteY219" fmla="*/ 1348385 h 2285795"/>
              <a:gd name="connsiteX220" fmla="*/ 2805517 w 3374128"/>
              <a:gd name="connsiteY220" fmla="*/ 1354356 h 2285795"/>
              <a:gd name="connsiteX221" fmla="*/ 2818787 w 3374128"/>
              <a:gd name="connsiteY221" fmla="*/ 1293980 h 2285795"/>
              <a:gd name="connsiteX222" fmla="*/ 2767202 w 3374128"/>
              <a:gd name="connsiteY222" fmla="*/ 1288008 h 2285795"/>
              <a:gd name="connsiteX223" fmla="*/ 2734028 w 3374128"/>
              <a:gd name="connsiteY223" fmla="*/ 1313054 h 2285795"/>
              <a:gd name="connsiteX224" fmla="*/ 2725237 w 3374128"/>
              <a:gd name="connsiteY224" fmla="*/ 1383880 h 2285795"/>
              <a:gd name="connsiteX225" fmla="*/ 2701684 w 3374128"/>
              <a:gd name="connsiteY225" fmla="*/ 1432480 h 2285795"/>
              <a:gd name="connsiteX226" fmla="*/ 2676638 w 3374128"/>
              <a:gd name="connsiteY226" fmla="*/ 1369118 h 2285795"/>
              <a:gd name="connsiteX227" fmla="*/ 2683936 w 3374128"/>
              <a:gd name="connsiteY227" fmla="*/ 1311562 h 2285795"/>
              <a:gd name="connsiteX228" fmla="*/ 2733696 w 3374128"/>
              <a:gd name="connsiteY228" fmla="*/ 1268933 h 2285795"/>
              <a:gd name="connsiteX229" fmla="*/ 2803029 w 3374128"/>
              <a:gd name="connsiteY229" fmla="*/ 1255498 h 2285795"/>
              <a:gd name="connsiteX230" fmla="*/ 2806844 w 3374128"/>
              <a:gd name="connsiteY230" fmla="*/ 1251849 h 2285795"/>
              <a:gd name="connsiteX231" fmla="*/ 2787769 w 3374128"/>
              <a:gd name="connsiteY231" fmla="*/ 1238580 h 2285795"/>
              <a:gd name="connsiteX232" fmla="*/ 2783788 w 3374128"/>
              <a:gd name="connsiteY232" fmla="*/ 1243722 h 2285795"/>
              <a:gd name="connsiteX233" fmla="*/ 2752937 w 3374128"/>
              <a:gd name="connsiteY233" fmla="*/ 1230452 h 2285795"/>
              <a:gd name="connsiteX234" fmla="*/ 2691068 w 3374128"/>
              <a:gd name="connsiteY234" fmla="*/ 1242395 h 2285795"/>
              <a:gd name="connsiteX235" fmla="*/ 2665856 w 3374128"/>
              <a:gd name="connsiteY235" fmla="*/ 1221661 h 2285795"/>
              <a:gd name="connsiteX236" fmla="*/ 2654080 w 3374128"/>
              <a:gd name="connsiteY236" fmla="*/ 1203913 h 2285795"/>
              <a:gd name="connsiteX237" fmla="*/ 2578941 w 3374128"/>
              <a:gd name="connsiteY237" fmla="*/ 1234931 h 2285795"/>
              <a:gd name="connsiteX238" fmla="*/ 2536313 w 3374128"/>
              <a:gd name="connsiteY238" fmla="*/ 1227632 h 2285795"/>
              <a:gd name="connsiteX239" fmla="*/ 2602660 w 3374128"/>
              <a:gd name="connsiteY239" fmla="*/ 1184838 h 2285795"/>
              <a:gd name="connsiteX240" fmla="*/ 2619247 w 3374128"/>
              <a:gd name="connsiteY240" fmla="*/ 1178203 h 2285795"/>
              <a:gd name="connsiteX241" fmla="*/ 2571809 w 3374128"/>
              <a:gd name="connsiteY241" fmla="*/ 1171569 h 2285795"/>
              <a:gd name="connsiteX242" fmla="*/ 2543279 w 3374128"/>
              <a:gd name="connsiteY242" fmla="*/ 1166593 h 2285795"/>
              <a:gd name="connsiteX243" fmla="*/ 2515745 w 3374128"/>
              <a:gd name="connsiteY243" fmla="*/ 1155811 h 2285795"/>
              <a:gd name="connsiteX244" fmla="*/ 2485226 w 3374128"/>
              <a:gd name="connsiteY244" fmla="*/ 1154816 h 2285795"/>
              <a:gd name="connsiteX245" fmla="*/ 2456862 w 3374128"/>
              <a:gd name="connsiteY245" fmla="*/ 1145030 h 2285795"/>
              <a:gd name="connsiteX246" fmla="*/ 2443095 w 3374128"/>
              <a:gd name="connsiteY246" fmla="*/ 1119486 h 2285795"/>
              <a:gd name="connsiteX247" fmla="*/ 2431650 w 3374128"/>
              <a:gd name="connsiteY247" fmla="*/ 1134414 h 2285795"/>
              <a:gd name="connsiteX248" fmla="*/ 1515725 w 3374128"/>
              <a:gd name="connsiteY248" fmla="*/ 1139225 h 2285795"/>
              <a:gd name="connsiteX249" fmla="*/ 1518877 w 3374128"/>
              <a:gd name="connsiteY249" fmla="*/ 1143537 h 2285795"/>
              <a:gd name="connsiteX250" fmla="*/ 1524848 w 3374128"/>
              <a:gd name="connsiteY250" fmla="*/ 1178203 h 2285795"/>
              <a:gd name="connsiteX251" fmla="*/ 1514398 w 3374128"/>
              <a:gd name="connsiteY251" fmla="*/ 1211377 h 2285795"/>
              <a:gd name="connsiteX252" fmla="*/ 1505359 w 3374128"/>
              <a:gd name="connsiteY252" fmla="*/ 1202852 h 2285795"/>
              <a:gd name="connsiteX253" fmla="*/ 1510086 w 3374128"/>
              <a:gd name="connsiteY253" fmla="*/ 1194790 h 2285795"/>
              <a:gd name="connsiteX254" fmla="*/ 1505607 w 3374128"/>
              <a:gd name="connsiteY254" fmla="*/ 1174223 h 2285795"/>
              <a:gd name="connsiteX255" fmla="*/ 1499138 w 3374128"/>
              <a:gd name="connsiteY255" fmla="*/ 1162114 h 2285795"/>
              <a:gd name="connsiteX256" fmla="*/ 1446724 w 3374128"/>
              <a:gd name="connsiteY256" fmla="*/ 1162114 h 2285795"/>
              <a:gd name="connsiteX257" fmla="*/ 1446724 w 3374128"/>
              <a:gd name="connsiteY257" fmla="*/ 1164768 h 2285795"/>
              <a:gd name="connsiteX258" fmla="*/ 1463311 w 3374128"/>
              <a:gd name="connsiteY258" fmla="*/ 1208889 h 2285795"/>
              <a:gd name="connsiteX259" fmla="*/ 1478073 w 3374128"/>
              <a:gd name="connsiteY259" fmla="*/ 1239906 h 2285795"/>
              <a:gd name="connsiteX260" fmla="*/ 1478073 w 3374128"/>
              <a:gd name="connsiteY260" fmla="*/ 1251020 h 2285795"/>
              <a:gd name="connsiteX261" fmla="*/ 1471439 w 3374128"/>
              <a:gd name="connsiteY261" fmla="*/ 1281208 h 2285795"/>
              <a:gd name="connsiteX262" fmla="*/ 1466297 w 3374128"/>
              <a:gd name="connsiteY262" fmla="*/ 1362981 h 2285795"/>
              <a:gd name="connsiteX263" fmla="*/ 1457506 w 3374128"/>
              <a:gd name="connsiteY263" fmla="*/ 1414566 h 2285795"/>
              <a:gd name="connsiteX264" fmla="*/ 1468453 w 3374128"/>
              <a:gd name="connsiteY264" fmla="*/ 1468473 h 2285795"/>
              <a:gd name="connsiteX265" fmla="*/ 1472268 w 3374128"/>
              <a:gd name="connsiteY265" fmla="*/ 1511931 h 2285795"/>
              <a:gd name="connsiteX266" fmla="*/ 1482552 w 3374128"/>
              <a:gd name="connsiteY266" fmla="*/ 1555388 h 2285795"/>
              <a:gd name="connsiteX267" fmla="*/ 1507598 w 3374128"/>
              <a:gd name="connsiteY267" fmla="*/ 1584083 h 2285795"/>
              <a:gd name="connsiteX268" fmla="*/ 1524185 w 3374128"/>
              <a:gd name="connsiteY268" fmla="*/ 1602495 h 2285795"/>
              <a:gd name="connsiteX269" fmla="*/ 1537454 w 3374128"/>
              <a:gd name="connsiteY269" fmla="*/ 1623228 h 2285795"/>
              <a:gd name="connsiteX270" fmla="*/ 1541933 w 3374128"/>
              <a:gd name="connsiteY270" fmla="*/ 1648938 h 2285795"/>
              <a:gd name="connsiteX271" fmla="*/ 1576599 w 3374128"/>
              <a:gd name="connsiteY271" fmla="*/ 1686590 h 2285795"/>
              <a:gd name="connsiteX272" fmla="*/ 1593186 w 3374128"/>
              <a:gd name="connsiteY272" fmla="*/ 1717442 h 2285795"/>
              <a:gd name="connsiteX273" fmla="*/ 1634487 w 3374128"/>
              <a:gd name="connsiteY273" fmla="*/ 1734028 h 2285795"/>
              <a:gd name="connsiteX274" fmla="*/ 1662353 w 3374128"/>
              <a:gd name="connsiteY274" fmla="*/ 1739999 h 2285795"/>
              <a:gd name="connsiteX275" fmla="*/ 1693370 w 3374128"/>
              <a:gd name="connsiteY275" fmla="*/ 1776822 h 2285795"/>
              <a:gd name="connsiteX276" fmla="*/ 1700834 w 3374128"/>
              <a:gd name="connsiteY276" fmla="*/ 1797722 h 2285795"/>
              <a:gd name="connsiteX277" fmla="*/ 1777300 w 3374128"/>
              <a:gd name="connsiteY277" fmla="*/ 1787770 h 2285795"/>
              <a:gd name="connsiteX278" fmla="*/ 1814288 w 3374128"/>
              <a:gd name="connsiteY278" fmla="*/ 1807508 h 2285795"/>
              <a:gd name="connsiteX279" fmla="*/ 1900042 w 3374128"/>
              <a:gd name="connsiteY279" fmla="*/ 1837364 h 2285795"/>
              <a:gd name="connsiteX280" fmla="*/ 1994587 w 3374128"/>
              <a:gd name="connsiteY280" fmla="*/ 1836535 h 2285795"/>
              <a:gd name="connsiteX281" fmla="*/ 2005534 w 3374128"/>
              <a:gd name="connsiteY281" fmla="*/ 1822436 h 2285795"/>
              <a:gd name="connsiteX282" fmla="*/ 2057617 w 3374128"/>
              <a:gd name="connsiteY282" fmla="*/ 1822436 h 2285795"/>
              <a:gd name="connsiteX283" fmla="*/ 2095269 w 3374128"/>
              <a:gd name="connsiteY283" fmla="*/ 1855610 h 2285795"/>
              <a:gd name="connsiteX284" fmla="*/ 2116666 w 3374128"/>
              <a:gd name="connsiteY284" fmla="*/ 1881651 h 2285795"/>
              <a:gd name="connsiteX285" fmla="*/ 2128443 w 3374128"/>
              <a:gd name="connsiteY285" fmla="*/ 1902882 h 2285795"/>
              <a:gd name="connsiteX286" fmla="*/ 2166924 w 3374128"/>
              <a:gd name="connsiteY286" fmla="*/ 1922455 h 2285795"/>
              <a:gd name="connsiteX287" fmla="*/ 2192966 w 3374128"/>
              <a:gd name="connsiteY287" fmla="*/ 1891935 h 2285795"/>
              <a:gd name="connsiteX288" fmla="*/ 2252015 w 3374128"/>
              <a:gd name="connsiteY288" fmla="*/ 1925108 h 2285795"/>
              <a:gd name="connsiteX289" fmla="*/ 2283530 w 3374128"/>
              <a:gd name="connsiteY289" fmla="*/ 1970059 h 2285795"/>
              <a:gd name="connsiteX290" fmla="*/ 2291325 w 3374128"/>
              <a:gd name="connsiteY290" fmla="*/ 1995271 h 2285795"/>
              <a:gd name="connsiteX291" fmla="*/ 2300780 w 3374128"/>
              <a:gd name="connsiteY291" fmla="*/ 2015673 h 2285795"/>
              <a:gd name="connsiteX292" fmla="*/ 2347223 w 3374128"/>
              <a:gd name="connsiteY292" fmla="*/ 2032260 h 2285795"/>
              <a:gd name="connsiteX293" fmla="*/ 2361156 w 3374128"/>
              <a:gd name="connsiteY293" fmla="*/ 2037402 h 2285795"/>
              <a:gd name="connsiteX294" fmla="*/ 2351536 w 3374128"/>
              <a:gd name="connsiteY294" fmla="*/ 1994607 h 2285795"/>
              <a:gd name="connsiteX295" fmla="*/ 2359663 w 3374128"/>
              <a:gd name="connsiteY295" fmla="*/ 1962926 h 2285795"/>
              <a:gd name="connsiteX296" fmla="*/ 2383880 w 3374128"/>
              <a:gd name="connsiteY296" fmla="*/ 1942193 h 2285795"/>
              <a:gd name="connsiteX297" fmla="*/ 2403784 w 3374128"/>
              <a:gd name="connsiteY297" fmla="*/ 1934895 h 2285795"/>
              <a:gd name="connsiteX298" fmla="*/ 2436958 w 3374128"/>
              <a:gd name="connsiteY298" fmla="*/ 1907526 h 2285795"/>
              <a:gd name="connsiteX299" fmla="*/ 2453545 w 3374128"/>
              <a:gd name="connsiteY299" fmla="*/ 1901058 h 2285795"/>
              <a:gd name="connsiteX300" fmla="*/ 2474278 w 3374128"/>
              <a:gd name="connsiteY300" fmla="*/ 1887623 h 2285795"/>
              <a:gd name="connsiteX301" fmla="*/ 2490865 w 3374128"/>
              <a:gd name="connsiteY301" fmla="*/ 1889115 h 2285795"/>
              <a:gd name="connsiteX302" fmla="*/ 2507452 w 3374128"/>
              <a:gd name="connsiteY302" fmla="*/ 1892930 h 2285795"/>
              <a:gd name="connsiteX303" fmla="*/ 2534654 w 3374128"/>
              <a:gd name="connsiteY303" fmla="*/ 1892930 h 2285795"/>
              <a:gd name="connsiteX304" fmla="*/ 2556715 w 3374128"/>
              <a:gd name="connsiteY304" fmla="*/ 1903214 h 2285795"/>
              <a:gd name="connsiteX305" fmla="*/ 2584747 w 3374128"/>
              <a:gd name="connsiteY305" fmla="*/ 1911342 h 2285795"/>
              <a:gd name="connsiteX306" fmla="*/ 2599509 w 3374128"/>
              <a:gd name="connsiteY306" fmla="*/ 1899565 h 2285795"/>
              <a:gd name="connsiteX307" fmla="*/ 2629033 w 3374128"/>
              <a:gd name="connsiteY307" fmla="*/ 1920133 h 2285795"/>
              <a:gd name="connsiteX308" fmla="*/ 2621569 w 3374128"/>
              <a:gd name="connsiteY308" fmla="*/ 1903546 h 2285795"/>
              <a:gd name="connsiteX309" fmla="*/ 2614935 w 3374128"/>
              <a:gd name="connsiteY309" fmla="*/ 1885134 h 2285795"/>
              <a:gd name="connsiteX310" fmla="*/ 2643796 w 3374128"/>
              <a:gd name="connsiteY310" fmla="*/ 1870372 h 2285795"/>
              <a:gd name="connsiteX311" fmla="*/ 2667349 w 3374128"/>
              <a:gd name="connsiteY311" fmla="*/ 1865230 h 2285795"/>
              <a:gd name="connsiteX312" fmla="*/ 2680618 w 3374128"/>
              <a:gd name="connsiteY312" fmla="*/ 1874187 h 2285795"/>
              <a:gd name="connsiteX313" fmla="*/ 2724739 w 3374128"/>
              <a:gd name="connsiteY313" fmla="*/ 1868879 h 2285795"/>
              <a:gd name="connsiteX314" fmla="*/ 2755757 w 3374128"/>
              <a:gd name="connsiteY314" fmla="*/ 1891106 h 2285795"/>
              <a:gd name="connsiteX315" fmla="*/ 2778647 w 3374128"/>
              <a:gd name="connsiteY315" fmla="*/ 1894755 h 2285795"/>
              <a:gd name="connsiteX316" fmla="*/ 2809498 w 3374128"/>
              <a:gd name="connsiteY316" fmla="*/ 1884471 h 2285795"/>
              <a:gd name="connsiteX317" fmla="*/ 2842672 w 3374128"/>
              <a:gd name="connsiteY317" fmla="*/ 1921294 h 2285795"/>
              <a:gd name="connsiteX318" fmla="*/ 2842672 w 3374128"/>
              <a:gd name="connsiteY318" fmla="*/ 1958780 h 2285795"/>
              <a:gd name="connsiteX319" fmla="*/ 2856605 w 3374128"/>
              <a:gd name="connsiteY319" fmla="*/ 1991953 h 2285795"/>
              <a:gd name="connsiteX320" fmla="*/ 2869874 w 3374128"/>
              <a:gd name="connsiteY320" fmla="*/ 2026620 h 2285795"/>
              <a:gd name="connsiteX321" fmla="*/ 2892764 w 3374128"/>
              <a:gd name="connsiteY321" fmla="*/ 2055315 h 2285795"/>
              <a:gd name="connsiteX322" fmla="*/ 2917810 w 3374128"/>
              <a:gd name="connsiteY322" fmla="*/ 2059793 h 2285795"/>
              <a:gd name="connsiteX323" fmla="*/ 2932572 w 3374128"/>
              <a:gd name="connsiteY323" fmla="*/ 2020815 h 2285795"/>
              <a:gd name="connsiteX324" fmla="*/ 2914161 w 3374128"/>
              <a:gd name="connsiteY324" fmla="*/ 1953638 h 2285795"/>
              <a:gd name="connsiteX325" fmla="*/ 2904541 w 3374128"/>
              <a:gd name="connsiteY325" fmla="*/ 1921957 h 2285795"/>
              <a:gd name="connsiteX326" fmla="*/ 2886129 w 3374128"/>
              <a:gd name="connsiteY326" fmla="*/ 1857102 h 2285795"/>
              <a:gd name="connsiteX327" fmla="*/ 2925108 w 3374128"/>
              <a:gd name="connsiteY327" fmla="*/ 1787936 h 2285795"/>
              <a:gd name="connsiteX328" fmla="*/ 2954633 w 3374128"/>
              <a:gd name="connsiteY328" fmla="*/ 1771349 h 2285795"/>
              <a:gd name="connsiteX329" fmla="*/ 2981835 w 3374128"/>
              <a:gd name="connsiteY329" fmla="*/ 1744644 h 2285795"/>
              <a:gd name="connsiteX330" fmla="*/ 3001739 w 3374128"/>
              <a:gd name="connsiteY330" fmla="*/ 1737346 h 2285795"/>
              <a:gd name="connsiteX331" fmla="*/ 3037235 w 3374128"/>
              <a:gd name="connsiteY331" fmla="*/ 1712963 h 2285795"/>
              <a:gd name="connsiteX332" fmla="*/ 3040055 w 3374128"/>
              <a:gd name="connsiteY332" fmla="*/ 1690902 h 2285795"/>
              <a:gd name="connsiteX333" fmla="*/ 3048183 w 3374128"/>
              <a:gd name="connsiteY333" fmla="*/ 1679126 h 2285795"/>
              <a:gd name="connsiteX334" fmla="*/ 3071072 w 3374128"/>
              <a:gd name="connsiteY334" fmla="*/ 1680619 h 2285795"/>
              <a:gd name="connsiteX335" fmla="*/ 3079200 w 3374128"/>
              <a:gd name="connsiteY335" fmla="*/ 1660715 h 2285795"/>
              <a:gd name="connsiteX336" fmla="*/ 3068916 w 3374128"/>
              <a:gd name="connsiteY336" fmla="*/ 1649601 h 2285795"/>
              <a:gd name="connsiteX337" fmla="*/ 3057139 w 3374128"/>
              <a:gd name="connsiteY337" fmla="*/ 1626877 h 2285795"/>
              <a:gd name="connsiteX338" fmla="*/ 3056310 w 3374128"/>
              <a:gd name="connsiteY338" fmla="*/ 1610290 h 2285795"/>
              <a:gd name="connsiteX339" fmla="*/ 3034913 w 3374128"/>
              <a:gd name="connsiteY339" fmla="*/ 1582259 h 2285795"/>
              <a:gd name="connsiteX340" fmla="*/ 3048183 w 3374128"/>
              <a:gd name="connsiteY340" fmla="*/ 1570482 h 2285795"/>
              <a:gd name="connsiteX341" fmla="*/ 3053324 w 3374128"/>
              <a:gd name="connsiteY341" fmla="*/ 1527025 h 2285795"/>
              <a:gd name="connsiteX342" fmla="*/ 3064438 w 3374128"/>
              <a:gd name="connsiteY342" fmla="*/ 1527025 h 2285795"/>
              <a:gd name="connsiteX343" fmla="*/ 3061452 w 3374128"/>
              <a:gd name="connsiteY343" fmla="*/ 1560198 h 2285795"/>
              <a:gd name="connsiteX344" fmla="*/ 3070409 w 3374128"/>
              <a:gd name="connsiteY344" fmla="*/ 1600007 h 2285795"/>
              <a:gd name="connsiteX345" fmla="*/ 3085005 w 3374128"/>
              <a:gd name="connsiteY345" fmla="*/ 1590552 h 2285795"/>
              <a:gd name="connsiteX346" fmla="*/ 3090313 w 3374128"/>
              <a:gd name="connsiteY346" fmla="*/ 1546929 h 2285795"/>
              <a:gd name="connsiteX347" fmla="*/ 3091640 w 3374128"/>
              <a:gd name="connsiteY347" fmla="*/ 1532996 h 2285795"/>
              <a:gd name="connsiteX348" fmla="*/ 3115359 w 3374128"/>
              <a:gd name="connsiteY348" fmla="*/ 1531503 h 2285795"/>
              <a:gd name="connsiteX349" fmla="*/ 3132941 w 3374128"/>
              <a:gd name="connsiteY349" fmla="*/ 1490202 h 2285795"/>
              <a:gd name="connsiteX350" fmla="*/ 3151353 w 3374128"/>
              <a:gd name="connsiteY350" fmla="*/ 1480582 h 2285795"/>
              <a:gd name="connsiteX351" fmla="*/ 3200118 w 3374128"/>
              <a:gd name="connsiteY351" fmla="*/ 1467478 h 2285795"/>
              <a:gd name="connsiteX352" fmla="*/ 3149196 w 3374128"/>
              <a:gd name="connsiteY352" fmla="*/ 1465985 h 2285795"/>
              <a:gd name="connsiteX353" fmla="*/ 3202938 w 3374128"/>
              <a:gd name="connsiteY353" fmla="*/ 1449398 h 2285795"/>
              <a:gd name="connsiteX354" fmla="*/ 3219525 w 3374128"/>
              <a:gd name="connsiteY354" fmla="*/ 1435465 h 2285795"/>
              <a:gd name="connsiteX355" fmla="*/ 3247341 w 3374128"/>
              <a:gd name="connsiteY355" fmla="*/ 1437804 h 2285795"/>
              <a:gd name="connsiteX356" fmla="*/ 3247556 w 3374128"/>
              <a:gd name="connsiteY356" fmla="*/ 1437622 h 2285795"/>
              <a:gd name="connsiteX357" fmla="*/ 3238765 w 3374128"/>
              <a:gd name="connsiteY357" fmla="*/ 1411912 h 2285795"/>
              <a:gd name="connsiteX358" fmla="*/ 3243078 w 3374128"/>
              <a:gd name="connsiteY358" fmla="*/ 1395325 h 2285795"/>
              <a:gd name="connsiteX359" fmla="*/ 3264475 w 3374128"/>
              <a:gd name="connsiteY359" fmla="*/ 1359166 h 2285795"/>
              <a:gd name="connsiteX360" fmla="*/ 3283715 w 3374128"/>
              <a:gd name="connsiteY360" fmla="*/ 1347389 h 2285795"/>
              <a:gd name="connsiteX361" fmla="*/ 3307932 w 3374128"/>
              <a:gd name="connsiteY361" fmla="*/ 1323007 h 2285795"/>
              <a:gd name="connsiteX362" fmla="*/ 3349233 w 3374128"/>
              <a:gd name="connsiteY362" fmla="*/ 1324499 h 2285795"/>
              <a:gd name="connsiteX363" fmla="*/ 3374114 w 3374128"/>
              <a:gd name="connsiteY363" fmla="*/ 1305922 h 2285795"/>
              <a:gd name="connsiteX364" fmla="*/ 3346580 w 3374128"/>
              <a:gd name="connsiteY364" fmla="*/ 1214197 h 228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Lst>
            <a:rect l="l" t="t" r="r" b="b"/>
            <a:pathLst>
              <a:path w="3374128" h="2285795">
                <a:moveTo>
                  <a:pt x="1264435" y="838837"/>
                </a:moveTo>
                <a:cubicBezTo>
                  <a:pt x="1269245" y="826065"/>
                  <a:pt x="1270240" y="818103"/>
                  <a:pt x="1232920" y="803341"/>
                </a:cubicBezTo>
                <a:cubicBezTo>
                  <a:pt x="1195599" y="788579"/>
                  <a:pt x="1199746" y="778793"/>
                  <a:pt x="1174037" y="733677"/>
                </a:cubicBezTo>
                <a:cubicBezTo>
                  <a:pt x="1148327" y="688560"/>
                  <a:pt x="1102216" y="668822"/>
                  <a:pt x="1102216" y="652069"/>
                </a:cubicBezTo>
                <a:cubicBezTo>
                  <a:pt x="1102216" y="635317"/>
                  <a:pt x="1057099" y="637307"/>
                  <a:pt x="1057099" y="650079"/>
                </a:cubicBezTo>
                <a:cubicBezTo>
                  <a:pt x="1057099" y="662851"/>
                  <a:pt x="1037361" y="666666"/>
                  <a:pt x="1026580" y="673632"/>
                </a:cubicBezTo>
                <a:cubicBezTo>
                  <a:pt x="1015798" y="680598"/>
                  <a:pt x="1009993" y="669817"/>
                  <a:pt x="1001036" y="657045"/>
                </a:cubicBezTo>
                <a:cubicBezTo>
                  <a:pt x="992079" y="644274"/>
                  <a:pt x="967862" y="631502"/>
                  <a:pt x="967862" y="623872"/>
                </a:cubicBezTo>
                <a:cubicBezTo>
                  <a:pt x="967862" y="616242"/>
                  <a:pt x="961891" y="599323"/>
                  <a:pt x="945138" y="607285"/>
                </a:cubicBezTo>
                <a:cubicBezTo>
                  <a:pt x="928386" y="615247"/>
                  <a:pt x="919595" y="607285"/>
                  <a:pt x="914784" y="613090"/>
                </a:cubicBezTo>
                <a:cubicBezTo>
                  <a:pt x="909974" y="618896"/>
                  <a:pt x="897036" y="609441"/>
                  <a:pt x="897036" y="609441"/>
                </a:cubicBezTo>
                <a:lnTo>
                  <a:pt x="897036" y="100225"/>
                </a:lnTo>
                <a:cubicBezTo>
                  <a:pt x="891830" y="99777"/>
                  <a:pt x="886701" y="98666"/>
                  <a:pt x="881777" y="96908"/>
                </a:cubicBezTo>
                <a:cubicBezTo>
                  <a:pt x="860380" y="88946"/>
                  <a:pt x="828699" y="74184"/>
                  <a:pt x="811780" y="77833"/>
                </a:cubicBezTo>
                <a:cubicBezTo>
                  <a:pt x="794862" y="81482"/>
                  <a:pt x="761025" y="85961"/>
                  <a:pt x="749248" y="79989"/>
                </a:cubicBezTo>
                <a:cubicBezTo>
                  <a:pt x="733018" y="71978"/>
                  <a:pt x="714635" y="69423"/>
                  <a:pt x="696834" y="72691"/>
                </a:cubicBezTo>
                <a:cubicBezTo>
                  <a:pt x="672617" y="76340"/>
                  <a:pt x="657025" y="59422"/>
                  <a:pt x="626174" y="51958"/>
                </a:cubicBezTo>
                <a:cubicBezTo>
                  <a:pt x="597830" y="47562"/>
                  <a:pt x="568861" y="49602"/>
                  <a:pt x="541415" y="57929"/>
                </a:cubicBezTo>
                <a:cubicBezTo>
                  <a:pt x="531131" y="61578"/>
                  <a:pt x="533287" y="46816"/>
                  <a:pt x="520018" y="48309"/>
                </a:cubicBezTo>
                <a:cubicBezTo>
                  <a:pt x="506748" y="49801"/>
                  <a:pt x="517032" y="42503"/>
                  <a:pt x="509734" y="31722"/>
                </a:cubicBezTo>
                <a:cubicBezTo>
                  <a:pt x="502436" y="20940"/>
                  <a:pt x="465447" y="31722"/>
                  <a:pt x="452178" y="31722"/>
                </a:cubicBezTo>
                <a:cubicBezTo>
                  <a:pt x="438908" y="31722"/>
                  <a:pt x="435591" y="25253"/>
                  <a:pt x="435591" y="18452"/>
                </a:cubicBezTo>
                <a:cubicBezTo>
                  <a:pt x="435591" y="11652"/>
                  <a:pt x="423814" y="14140"/>
                  <a:pt x="419004" y="22931"/>
                </a:cubicBezTo>
                <a:cubicBezTo>
                  <a:pt x="413174" y="31257"/>
                  <a:pt x="401694" y="33281"/>
                  <a:pt x="393362" y="27459"/>
                </a:cubicBezTo>
                <a:cubicBezTo>
                  <a:pt x="393341" y="27442"/>
                  <a:pt x="393318" y="27426"/>
                  <a:pt x="393294" y="27409"/>
                </a:cubicBezTo>
                <a:cubicBezTo>
                  <a:pt x="387323" y="21438"/>
                  <a:pt x="405735" y="19282"/>
                  <a:pt x="406564" y="12647"/>
                </a:cubicBezTo>
                <a:cubicBezTo>
                  <a:pt x="407393" y="6012"/>
                  <a:pt x="387323" y="2363"/>
                  <a:pt x="380025" y="207"/>
                </a:cubicBezTo>
                <a:cubicBezTo>
                  <a:pt x="372727" y="-1950"/>
                  <a:pt x="360784" y="7505"/>
                  <a:pt x="345359" y="21438"/>
                </a:cubicBezTo>
                <a:cubicBezTo>
                  <a:pt x="330226" y="32352"/>
                  <a:pt x="311201" y="36383"/>
                  <a:pt x="292944" y="32551"/>
                </a:cubicBezTo>
                <a:cubicBezTo>
                  <a:pt x="279011" y="31058"/>
                  <a:pt x="261263" y="34044"/>
                  <a:pt x="262093" y="42171"/>
                </a:cubicBezTo>
                <a:cubicBezTo>
                  <a:pt x="262922" y="50299"/>
                  <a:pt x="279675" y="49470"/>
                  <a:pt x="269391" y="59753"/>
                </a:cubicBezTo>
                <a:cubicBezTo>
                  <a:pt x="259107" y="70037"/>
                  <a:pt x="255458" y="45821"/>
                  <a:pt x="245174" y="56934"/>
                </a:cubicBezTo>
                <a:cubicBezTo>
                  <a:pt x="234890" y="68047"/>
                  <a:pt x="203873" y="67217"/>
                  <a:pt x="196409" y="65725"/>
                </a:cubicBezTo>
                <a:cubicBezTo>
                  <a:pt x="188945" y="64232"/>
                  <a:pt x="164728" y="90771"/>
                  <a:pt x="157430" y="98069"/>
                </a:cubicBezTo>
                <a:cubicBezTo>
                  <a:pt x="150132" y="105367"/>
                  <a:pt x="163235" y="112168"/>
                  <a:pt x="143331" y="133565"/>
                </a:cubicBezTo>
                <a:cubicBezTo>
                  <a:pt x="123427" y="154962"/>
                  <a:pt x="70515" y="150152"/>
                  <a:pt x="59402" y="150152"/>
                </a:cubicBezTo>
                <a:cubicBezTo>
                  <a:pt x="48288" y="150152"/>
                  <a:pt x="56416" y="162592"/>
                  <a:pt x="50611" y="170719"/>
                </a:cubicBezTo>
                <a:cubicBezTo>
                  <a:pt x="44805" y="178847"/>
                  <a:pt x="57245" y="186145"/>
                  <a:pt x="87433" y="194273"/>
                </a:cubicBezTo>
                <a:cubicBezTo>
                  <a:pt x="117621" y="202400"/>
                  <a:pt x="138189" y="242209"/>
                  <a:pt x="142004" y="251829"/>
                </a:cubicBezTo>
                <a:cubicBezTo>
                  <a:pt x="145819" y="261449"/>
                  <a:pt x="183139" y="251829"/>
                  <a:pt x="197902" y="253322"/>
                </a:cubicBezTo>
                <a:cubicBezTo>
                  <a:pt x="212664" y="254815"/>
                  <a:pt x="196409" y="276212"/>
                  <a:pt x="209015" y="282017"/>
                </a:cubicBezTo>
                <a:cubicBezTo>
                  <a:pt x="221621" y="287822"/>
                  <a:pt x="240696" y="279031"/>
                  <a:pt x="244345" y="289315"/>
                </a:cubicBezTo>
                <a:cubicBezTo>
                  <a:pt x="247994" y="299599"/>
                  <a:pt x="219299" y="289315"/>
                  <a:pt x="204536" y="300428"/>
                </a:cubicBezTo>
                <a:cubicBezTo>
                  <a:pt x="189774" y="311541"/>
                  <a:pt x="182476" y="317015"/>
                  <a:pt x="176505" y="308556"/>
                </a:cubicBezTo>
                <a:cubicBezTo>
                  <a:pt x="170533" y="300097"/>
                  <a:pt x="146317" y="305570"/>
                  <a:pt x="133876" y="307063"/>
                </a:cubicBezTo>
                <a:cubicBezTo>
                  <a:pt x="121436" y="308556"/>
                  <a:pt x="133047" y="291637"/>
                  <a:pt x="133876" y="284173"/>
                </a:cubicBezTo>
                <a:cubicBezTo>
                  <a:pt x="134706" y="276709"/>
                  <a:pt x="117290" y="271733"/>
                  <a:pt x="92575" y="285666"/>
                </a:cubicBezTo>
                <a:cubicBezTo>
                  <a:pt x="67861" y="299599"/>
                  <a:pt x="77150" y="294623"/>
                  <a:pt x="74164" y="305570"/>
                </a:cubicBezTo>
                <a:cubicBezTo>
                  <a:pt x="71178" y="316518"/>
                  <a:pt x="60894" y="298936"/>
                  <a:pt x="45469" y="308556"/>
                </a:cubicBezTo>
                <a:cubicBezTo>
                  <a:pt x="30043" y="318176"/>
                  <a:pt x="4831" y="325143"/>
                  <a:pt x="352" y="334431"/>
                </a:cubicBezTo>
                <a:cubicBezTo>
                  <a:pt x="-4126" y="343720"/>
                  <a:pt x="33526" y="351018"/>
                  <a:pt x="48288" y="353506"/>
                </a:cubicBezTo>
                <a:cubicBezTo>
                  <a:pt x="63051" y="355994"/>
                  <a:pt x="30706" y="366112"/>
                  <a:pt x="42483" y="370093"/>
                </a:cubicBezTo>
                <a:cubicBezTo>
                  <a:pt x="54260" y="374074"/>
                  <a:pt x="49118" y="384855"/>
                  <a:pt x="67529" y="394476"/>
                </a:cubicBezTo>
                <a:cubicBezTo>
                  <a:pt x="85941" y="404096"/>
                  <a:pt x="127242" y="394476"/>
                  <a:pt x="138189" y="394476"/>
                </a:cubicBezTo>
                <a:cubicBezTo>
                  <a:pt x="149136" y="394476"/>
                  <a:pt x="159586" y="407745"/>
                  <a:pt x="168377" y="398125"/>
                </a:cubicBezTo>
                <a:cubicBezTo>
                  <a:pt x="177168" y="388505"/>
                  <a:pt x="210508" y="361966"/>
                  <a:pt x="227426" y="377391"/>
                </a:cubicBezTo>
                <a:cubicBezTo>
                  <a:pt x="244345" y="392817"/>
                  <a:pt x="209015" y="390661"/>
                  <a:pt x="217806" y="400281"/>
                </a:cubicBezTo>
                <a:cubicBezTo>
                  <a:pt x="226597" y="409902"/>
                  <a:pt x="237710" y="433455"/>
                  <a:pt x="221455" y="444568"/>
                </a:cubicBezTo>
                <a:cubicBezTo>
                  <a:pt x="209094" y="451617"/>
                  <a:pt x="194201" y="452646"/>
                  <a:pt x="180983" y="447388"/>
                </a:cubicBezTo>
                <a:cubicBezTo>
                  <a:pt x="172192" y="447388"/>
                  <a:pt x="177334" y="463974"/>
                  <a:pt x="163235" y="474756"/>
                </a:cubicBezTo>
                <a:cubicBezTo>
                  <a:pt x="149136" y="485537"/>
                  <a:pt x="139018" y="462979"/>
                  <a:pt x="121270" y="462979"/>
                </a:cubicBezTo>
                <a:cubicBezTo>
                  <a:pt x="103523" y="462979"/>
                  <a:pt x="107338" y="485703"/>
                  <a:pt x="108001" y="496153"/>
                </a:cubicBezTo>
                <a:cubicBezTo>
                  <a:pt x="108665" y="506603"/>
                  <a:pt x="81462" y="493997"/>
                  <a:pt x="74827" y="520536"/>
                </a:cubicBezTo>
                <a:cubicBezTo>
                  <a:pt x="68193" y="547075"/>
                  <a:pt x="40161" y="524185"/>
                  <a:pt x="58241" y="549894"/>
                </a:cubicBezTo>
                <a:cubicBezTo>
                  <a:pt x="76320" y="575604"/>
                  <a:pt x="73832" y="559515"/>
                  <a:pt x="88594" y="569799"/>
                </a:cubicBezTo>
                <a:cubicBezTo>
                  <a:pt x="103357" y="580082"/>
                  <a:pt x="72008" y="598660"/>
                  <a:pt x="87102" y="601479"/>
                </a:cubicBezTo>
                <a:cubicBezTo>
                  <a:pt x="102196" y="604299"/>
                  <a:pt x="117953" y="631004"/>
                  <a:pt x="128403" y="640624"/>
                </a:cubicBezTo>
                <a:cubicBezTo>
                  <a:pt x="138853" y="650245"/>
                  <a:pt x="151956" y="635483"/>
                  <a:pt x="167382" y="634653"/>
                </a:cubicBezTo>
                <a:cubicBezTo>
                  <a:pt x="182808" y="633824"/>
                  <a:pt x="175509" y="612593"/>
                  <a:pt x="183969" y="620720"/>
                </a:cubicBezTo>
                <a:cubicBezTo>
                  <a:pt x="192428" y="628848"/>
                  <a:pt x="205366" y="652401"/>
                  <a:pt x="197238" y="658206"/>
                </a:cubicBezTo>
                <a:cubicBezTo>
                  <a:pt x="189111" y="664012"/>
                  <a:pt x="195745" y="682589"/>
                  <a:pt x="194253" y="691380"/>
                </a:cubicBezTo>
                <a:cubicBezTo>
                  <a:pt x="192760" y="700171"/>
                  <a:pt x="228256" y="697351"/>
                  <a:pt x="230412" y="687068"/>
                </a:cubicBezTo>
                <a:cubicBezTo>
                  <a:pt x="232568" y="676784"/>
                  <a:pt x="260600" y="673798"/>
                  <a:pt x="276191" y="690716"/>
                </a:cubicBezTo>
                <a:cubicBezTo>
                  <a:pt x="291783" y="707635"/>
                  <a:pt x="296759" y="710621"/>
                  <a:pt x="296759" y="697351"/>
                </a:cubicBezTo>
                <a:cubicBezTo>
                  <a:pt x="296759" y="684082"/>
                  <a:pt x="310029" y="669320"/>
                  <a:pt x="310692" y="680765"/>
                </a:cubicBezTo>
                <a:cubicBezTo>
                  <a:pt x="311356" y="692209"/>
                  <a:pt x="323962" y="694697"/>
                  <a:pt x="346851" y="684414"/>
                </a:cubicBezTo>
                <a:cubicBezTo>
                  <a:pt x="369741" y="674130"/>
                  <a:pt x="359457" y="684414"/>
                  <a:pt x="346851" y="699839"/>
                </a:cubicBezTo>
                <a:cubicBezTo>
                  <a:pt x="330265" y="720241"/>
                  <a:pt x="346851" y="749600"/>
                  <a:pt x="335075" y="752917"/>
                </a:cubicBezTo>
                <a:cubicBezTo>
                  <a:pt x="323298" y="756235"/>
                  <a:pt x="313678" y="786091"/>
                  <a:pt x="294437" y="788413"/>
                </a:cubicBezTo>
                <a:cubicBezTo>
                  <a:pt x="275196" y="790735"/>
                  <a:pt x="242852" y="826729"/>
                  <a:pt x="238374" y="832534"/>
                </a:cubicBezTo>
                <a:cubicBezTo>
                  <a:pt x="233895" y="838339"/>
                  <a:pt x="192760" y="820757"/>
                  <a:pt x="186954" y="837676"/>
                </a:cubicBezTo>
                <a:cubicBezTo>
                  <a:pt x="181149" y="854594"/>
                  <a:pt x="156103" y="867366"/>
                  <a:pt x="162572" y="873835"/>
                </a:cubicBezTo>
                <a:cubicBezTo>
                  <a:pt x="169041" y="880304"/>
                  <a:pt x="200887" y="861395"/>
                  <a:pt x="202380" y="852438"/>
                </a:cubicBezTo>
                <a:cubicBezTo>
                  <a:pt x="203873" y="843481"/>
                  <a:pt x="208185" y="845140"/>
                  <a:pt x="214157" y="852438"/>
                </a:cubicBezTo>
                <a:cubicBezTo>
                  <a:pt x="220128" y="859736"/>
                  <a:pt x="234724" y="849453"/>
                  <a:pt x="241359" y="843481"/>
                </a:cubicBezTo>
                <a:cubicBezTo>
                  <a:pt x="247994" y="837510"/>
                  <a:pt x="259107" y="839832"/>
                  <a:pt x="265742" y="840662"/>
                </a:cubicBezTo>
                <a:cubicBezTo>
                  <a:pt x="272377" y="841491"/>
                  <a:pt x="275362" y="832534"/>
                  <a:pt x="295266" y="828719"/>
                </a:cubicBezTo>
                <a:cubicBezTo>
                  <a:pt x="315171" y="824904"/>
                  <a:pt x="310692" y="819264"/>
                  <a:pt x="315171" y="808981"/>
                </a:cubicBezTo>
                <a:cubicBezTo>
                  <a:pt x="319649" y="798697"/>
                  <a:pt x="366756" y="775807"/>
                  <a:pt x="375547" y="774314"/>
                </a:cubicBezTo>
                <a:cubicBezTo>
                  <a:pt x="384338" y="772821"/>
                  <a:pt x="379196" y="757727"/>
                  <a:pt x="388816" y="756566"/>
                </a:cubicBezTo>
                <a:cubicBezTo>
                  <a:pt x="402696" y="751889"/>
                  <a:pt x="415300" y="744043"/>
                  <a:pt x="425639" y="733677"/>
                </a:cubicBezTo>
                <a:cubicBezTo>
                  <a:pt x="438245" y="723393"/>
                  <a:pt x="441065" y="727871"/>
                  <a:pt x="450685" y="724056"/>
                </a:cubicBezTo>
                <a:cubicBezTo>
                  <a:pt x="460305" y="720241"/>
                  <a:pt x="452841" y="701332"/>
                  <a:pt x="462462" y="699839"/>
                </a:cubicBezTo>
                <a:cubicBezTo>
                  <a:pt x="471195" y="698877"/>
                  <a:pt x="478090" y="691994"/>
                  <a:pt x="479048" y="683252"/>
                </a:cubicBezTo>
                <a:cubicBezTo>
                  <a:pt x="479048" y="675125"/>
                  <a:pt x="454832" y="675125"/>
                  <a:pt x="452509" y="669983"/>
                </a:cubicBezTo>
                <a:cubicBezTo>
                  <a:pt x="450187" y="664841"/>
                  <a:pt x="473409" y="644439"/>
                  <a:pt x="481371" y="645601"/>
                </a:cubicBezTo>
                <a:cubicBezTo>
                  <a:pt x="492562" y="645302"/>
                  <a:pt x="501893" y="636959"/>
                  <a:pt x="503431" y="625862"/>
                </a:cubicBezTo>
                <a:cubicBezTo>
                  <a:pt x="503431" y="614085"/>
                  <a:pt x="516037" y="611763"/>
                  <a:pt x="525492" y="601479"/>
                </a:cubicBezTo>
                <a:cubicBezTo>
                  <a:pt x="534946" y="591195"/>
                  <a:pt x="532956" y="582239"/>
                  <a:pt x="542078" y="581575"/>
                </a:cubicBezTo>
                <a:cubicBezTo>
                  <a:pt x="551201" y="580912"/>
                  <a:pt x="560490" y="567476"/>
                  <a:pt x="570774" y="561671"/>
                </a:cubicBezTo>
                <a:cubicBezTo>
                  <a:pt x="581057" y="555866"/>
                  <a:pt x="570774" y="568969"/>
                  <a:pt x="590678" y="569799"/>
                </a:cubicBezTo>
                <a:cubicBezTo>
                  <a:pt x="610582" y="570628"/>
                  <a:pt x="606104" y="588873"/>
                  <a:pt x="590678" y="582239"/>
                </a:cubicBezTo>
                <a:cubicBezTo>
                  <a:pt x="579225" y="574742"/>
                  <a:pt x="563885" y="577677"/>
                  <a:pt x="556011" y="588873"/>
                </a:cubicBezTo>
                <a:cubicBezTo>
                  <a:pt x="542742" y="601479"/>
                  <a:pt x="553192" y="605460"/>
                  <a:pt x="542742" y="619227"/>
                </a:cubicBezTo>
                <a:cubicBezTo>
                  <a:pt x="532292" y="632994"/>
                  <a:pt x="531795" y="641951"/>
                  <a:pt x="545064" y="643444"/>
                </a:cubicBezTo>
                <a:cubicBezTo>
                  <a:pt x="558333" y="644937"/>
                  <a:pt x="545064" y="654557"/>
                  <a:pt x="533287" y="658206"/>
                </a:cubicBezTo>
                <a:cubicBezTo>
                  <a:pt x="521511" y="661856"/>
                  <a:pt x="529638" y="669320"/>
                  <a:pt x="546557" y="669320"/>
                </a:cubicBezTo>
                <a:cubicBezTo>
                  <a:pt x="563475" y="669320"/>
                  <a:pt x="588521" y="644937"/>
                  <a:pt x="612904" y="633160"/>
                </a:cubicBezTo>
                <a:cubicBezTo>
                  <a:pt x="637287" y="621384"/>
                  <a:pt x="654205" y="633160"/>
                  <a:pt x="660840" y="631004"/>
                </a:cubicBezTo>
                <a:cubicBezTo>
                  <a:pt x="667475" y="628848"/>
                  <a:pt x="653376" y="617735"/>
                  <a:pt x="660840" y="614417"/>
                </a:cubicBezTo>
                <a:cubicBezTo>
                  <a:pt x="668304" y="611100"/>
                  <a:pt x="651386" y="608446"/>
                  <a:pt x="646078" y="594347"/>
                </a:cubicBezTo>
                <a:cubicBezTo>
                  <a:pt x="640770" y="580248"/>
                  <a:pt x="654205" y="589205"/>
                  <a:pt x="657191" y="577760"/>
                </a:cubicBezTo>
                <a:cubicBezTo>
                  <a:pt x="660177" y="566315"/>
                  <a:pt x="668304" y="571126"/>
                  <a:pt x="675602" y="576267"/>
                </a:cubicBezTo>
                <a:cubicBezTo>
                  <a:pt x="682901" y="581409"/>
                  <a:pt x="693350" y="571126"/>
                  <a:pt x="699985" y="585058"/>
                </a:cubicBezTo>
                <a:cubicBezTo>
                  <a:pt x="706620" y="598991"/>
                  <a:pt x="713918" y="581409"/>
                  <a:pt x="725695" y="591030"/>
                </a:cubicBezTo>
                <a:cubicBezTo>
                  <a:pt x="737471" y="600650"/>
                  <a:pt x="723538" y="599157"/>
                  <a:pt x="710932" y="601977"/>
                </a:cubicBezTo>
                <a:cubicBezTo>
                  <a:pt x="698326" y="604797"/>
                  <a:pt x="705127" y="621881"/>
                  <a:pt x="714747" y="613920"/>
                </a:cubicBezTo>
                <a:cubicBezTo>
                  <a:pt x="724368" y="605958"/>
                  <a:pt x="732329" y="600650"/>
                  <a:pt x="741286" y="608612"/>
                </a:cubicBezTo>
                <a:cubicBezTo>
                  <a:pt x="750243" y="616574"/>
                  <a:pt x="753726" y="613090"/>
                  <a:pt x="761190" y="605792"/>
                </a:cubicBezTo>
                <a:cubicBezTo>
                  <a:pt x="768654" y="598494"/>
                  <a:pt x="768489" y="605792"/>
                  <a:pt x="768489" y="612427"/>
                </a:cubicBezTo>
                <a:cubicBezTo>
                  <a:pt x="768489" y="619061"/>
                  <a:pt x="783914" y="620388"/>
                  <a:pt x="806141" y="624203"/>
                </a:cubicBezTo>
                <a:cubicBezTo>
                  <a:pt x="830208" y="625895"/>
                  <a:pt x="854385" y="625116"/>
                  <a:pt x="878293" y="621881"/>
                </a:cubicBezTo>
                <a:cubicBezTo>
                  <a:pt x="888577" y="621881"/>
                  <a:pt x="884928" y="637473"/>
                  <a:pt x="907818" y="641785"/>
                </a:cubicBezTo>
                <a:cubicBezTo>
                  <a:pt x="930708" y="646098"/>
                  <a:pt x="936513" y="619061"/>
                  <a:pt x="948290" y="628516"/>
                </a:cubicBezTo>
                <a:cubicBezTo>
                  <a:pt x="960066" y="637970"/>
                  <a:pt x="948290" y="641785"/>
                  <a:pt x="941655" y="649249"/>
                </a:cubicBezTo>
                <a:cubicBezTo>
                  <a:pt x="935020" y="656714"/>
                  <a:pt x="949119" y="657377"/>
                  <a:pt x="958242" y="661026"/>
                </a:cubicBezTo>
                <a:cubicBezTo>
                  <a:pt x="972253" y="665057"/>
                  <a:pt x="985446" y="671509"/>
                  <a:pt x="997221" y="680101"/>
                </a:cubicBezTo>
                <a:cubicBezTo>
                  <a:pt x="1007795" y="693404"/>
                  <a:pt x="1021157" y="704218"/>
                  <a:pt x="1036366" y="711782"/>
                </a:cubicBezTo>
                <a:cubicBezTo>
                  <a:pt x="1059919" y="723559"/>
                  <a:pt x="1036366" y="682423"/>
                  <a:pt x="1055441" y="695195"/>
                </a:cubicBezTo>
                <a:cubicBezTo>
                  <a:pt x="1074516" y="707967"/>
                  <a:pt x="1067217" y="695195"/>
                  <a:pt x="1081980" y="709128"/>
                </a:cubicBezTo>
                <a:cubicBezTo>
                  <a:pt x="1096742" y="723061"/>
                  <a:pt x="1091600" y="703157"/>
                  <a:pt x="1084965" y="681096"/>
                </a:cubicBezTo>
                <a:cubicBezTo>
                  <a:pt x="1078331" y="659036"/>
                  <a:pt x="1091600" y="673798"/>
                  <a:pt x="1098235" y="684082"/>
                </a:cubicBezTo>
                <a:cubicBezTo>
                  <a:pt x="1104561" y="697733"/>
                  <a:pt x="1105334" y="713324"/>
                  <a:pt x="1100391" y="727539"/>
                </a:cubicBezTo>
                <a:cubicBezTo>
                  <a:pt x="1096078" y="740809"/>
                  <a:pt x="1073852" y="729696"/>
                  <a:pt x="1076174" y="722397"/>
                </a:cubicBezTo>
                <a:cubicBezTo>
                  <a:pt x="1078496" y="715099"/>
                  <a:pt x="1053948" y="717919"/>
                  <a:pt x="1053285" y="728369"/>
                </a:cubicBezTo>
                <a:cubicBezTo>
                  <a:pt x="1055819" y="743479"/>
                  <a:pt x="1066173" y="756102"/>
                  <a:pt x="1080487" y="761542"/>
                </a:cubicBezTo>
                <a:cubicBezTo>
                  <a:pt x="1092429" y="763699"/>
                  <a:pt x="1083473" y="782276"/>
                  <a:pt x="1090937" y="784432"/>
                </a:cubicBezTo>
                <a:cubicBezTo>
                  <a:pt x="1101055" y="787418"/>
                  <a:pt x="1100391" y="806493"/>
                  <a:pt x="1106362" y="803507"/>
                </a:cubicBezTo>
                <a:cubicBezTo>
                  <a:pt x="1112334" y="800521"/>
                  <a:pt x="1110011" y="777797"/>
                  <a:pt x="1103377" y="767514"/>
                </a:cubicBezTo>
                <a:cubicBezTo>
                  <a:pt x="1096742" y="757230"/>
                  <a:pt x="1099728" y="742302"/>
                  <a:pt x="1108519" y="745287"/>
                </a:cubicBezTo>
                <a:cubicBezTo>
                  <a:pt x="1117310" y="748273"/>
                  <a:pt x="1108519" y="763699"/>
                  <a:pt x="1112997" y="769006"/>
                </a:cubicBezTo>
                <a:cubicBezTo>
                  <a:pt x="1117476" y="774314"/>
                  <a:pt x="1122618" y="763699"/>
                  <a:pt x="1132901" y="757893"/>
                </a:cubicBezTo>
                <a:cubicBezTo>
                  <a:pt x="1143185" y="752088"/>
                  <a:pt x="1128423" y="735004"/>
                  <a:pt x="1132901" y="726212"/>
                </a:cubicBezTo>
                <a:cubicBezTo>
                  <a:pt x="1137380" y="717421"/>
                  <a:pt x="1148493" y="733511"/>
                  <a:pt x="1152806" y="748936"/>
                </a:cubicBezTo>
                <a:cubicBezTo>
                  <a:pt x="1157118" y="764362"/>
                  <a:pt x="1141858" y="763699"/>
                  <a:pt x="1141858" y="771826"/>
                </a:cubicBezTo>
                <a:cubicBezTo>
                  <a:pt x="1141858" y="779954"/>
                  <a:pt x="1127759" y="776305"/>
                  <a:pt x="1123447" y="780783"/>
                </a:cubicBezTo>
                <a:cubicBezTo>
                  <a:pt x="1119134" y="785262"/>
                  <a:pt x="1121125" y="813957"/>
                  <a:pt x="1127096" y="815284"/>
                </a:cubicBezTo>
                <a:cubicBezTo>
                  <a:pt x="1133067" y="816611"/>
                  <a:pt x="1136716" y="791067"/>
                  <a:pt x="1140365" y="803507"/>
                </a:cubicBezTo>
                <a:cubicBezTo>
                  <a:pt x="1144014" y="815947"/>
                  <a:pt x="1158113" y="786920"/>
                  <a:pt x="1161762" y="799194"/>
                </a:cubicBezTo>
                <a:cubicBezTo>
                  <a:pt x="1165411" y="811469"/>
                  <a:pt x="1183159" y="824241"/>
                  <a:pt x="1189794" y="821255"/>
                </a:cubicBezTo>
                <a:cubicBezTo>
                  <a:pt x="1196429" y="818269"/>
                  <a:pt x="1186808" y="805829"/>
                  <a:pt x="1176525" y="804668"/>
                </a:cubicBezTo>
                <a:cubicBezTo>
                  <a:pt x="1166241" y="803507"/>
                  <a:pt x="1167568" y="787086"/>
                  <a:pt x="1176525" y="786257"/>
                </a:cubicBezTo>
                <a:cubicBezTo>
                  <a:pt x="1185481" y="785427"/>
                  <a:pt x="1203064" y="810639"/>
                  <a:pt x="1202400" y="819430"/>
                </a:cubicBezTo>
                <a:cubicBezTo>
                  <a:pt x="1201737" y="828221"/>
                  <a:pt x="1193443" y="827558"/>
                  <a:pt x="1185813" y="836017"/>
                </a:cubicBezTo>
                <a:cubicBezTo>
                  <a:pt x="1178183" y="844476"/>
                  <a:pt x="1166738" y="821255"/>
                  <a:pt x="1157118" y="821918"/>
                </a:cubicBezTo>
                <a:cubicBezTo>
                  <a:pt x="1147498" y="822582"/>
                  <a:pt x="1157118" y="837344"/>
                  <a:pt x="1161597" y="847628"/>
                </a:cubicBezTo>
                <a:cubicBezTo>
                  <a:pt x="1166075" y="857912"/>
                  <a:pt x="1149820" y="872011"/>
                  <a:pt x="1161597" y="880802"/>
                </a:cubicBezTo>
                <a:cubicBezTo>
                  <a:pt x="1173373" y="889593"/>
                  <a:pt x="1170388" y="875660"/>
                  <a:pt x="1172710" y="869689"/>
                </a:cubicBezTo>
                <a:cubicBezTo>
                  <a:pt x="1175032" y="863717"/>
                  <a:pt x="1184486" y="871181"/>
                  <a:pt x="1191121" y="876323"/>
                </a:cubicBezTo>
                <a:cubicBezTo>
                  <a:pt x="1197756" y="881465"/>
                  <a:pt x="1198419" y="864547"/>
                  <a:pt x="1198419" y="857912"/>
                </a:cubicBezTo>
                <a:cubicBezTo>
                  <a:pt x="1198419" y="851277"/>
                  <a:pt x="1209532" y="854926"/>
                  <a:pt x="1215006" y="863883"/>
                </a:cubicBezTo>
                <a:cubicBezTo>
                  <a:pt x="1220480" y="872840"/>
                  <a:pt x="1221475" y="854263"/>
                  <a:pt x="1230432" y="855756"/>
                </a:cubicBezTo>
                <a:cubicBezTo>
                  <a:pt x="1239389" y="857248"/>
                  <a:pt x="1233417" y="871181"/>
                  <a:pt x="1233417" y="879309"/>
                </a:cubicBezTo>
                <a:cubicBezTo>
                  <a:pt x="1233417" y="887436"/>
                  <a:pt x="1248843" y="872674"/>
                  <a:pt x="1247350" y="881465"/>
                </a:cubicBezTo>
                <a:cubicBezTo>
                  <a:pt x="1247183" y="882726"/>
                  <a:pt x="1247183" y="884020"/>
                  <a:pt x="1247350" y="885280"/>
                </a:cubicBezTo>
                <a:lnTo>
                  <a:pt x="1269909" y="868693"/>
                </a:lnTo>
                <a:cubicBezTo>
                  <a:pt x="1286993" y="858409"/>
                  <a:pt x="1259459" y="851609"/>
                  <a:pt x="1264435" y="838837"/>
                </a:cubicBezTo>
                <a:close/>
                <a:moveTo>
                  <a:pt x="20423" y="943500"/>
                </a:moveTo>
                <a:cubicBezTo>
                  <a:pt x="38005" y="936036"/>
                  <a:pt x="45469" y="926913"/>
                  <a:pt x="38005" y="918288"/>
                </a:cubicBezTo>
                <a:cubicBezTo>
                  <a:pt x="30541" y="909663"/>
                  <a:pt x="7319" y="949139"/>
                  <a:pt x="20920" y="943002"/>
                </a:cubicBezTo>
                <a:close/>
                <a:moveTo>
                  <a:pt x="145653" y="877153"/>
                </a:moveTo>
                <a:cubicBezTo>
                  <a:pt x="129066" y="871181"/>
                  <a:pt x="86770" y="897057"/>
                  <a:pt x="101532" y="899213"/>
                </a:cubicBezTo>
                <a:cubicBezTo>
                  <a:pt x="111816" y="900706"/>
                  <a:pt x="116294" y="890422"/>
                  <a:pt x="128071" y="890422"/>
                </a:cubicBezTo>
                <a:cubicBezTo>
                  <a:pt x="139848" y="890422"/>
                  <a:pt x="162406" y="882958"/>
                  <a:pt x="146151" y="876655"/>
                </a:cubicBezTo>
                <a:close/>
                <a:moveTo>
                  <a:pt x="519354" y="703820"/>
                </a:moveTo>
                <a:cubicBezTo>
                  <a:pt x="519354" y="695859"/>
                  <a:pt x="508241" y="696522"/>
                  <a:pt x="493479" y="713441"/>
                </a:cubicBezTo>
                <a:cubicBezTo>
                  <a:pt x="478717" y="730359"/>
                  <a:pt x="466277" y="739316"/>
                  <a:pt x="464120" y="747444"/>
                </a:cubicBezTo>
                <a:cubicBezTo>
                  <a:pt x="461964" y="755571"/>
                  <a:pt x="444880" y="745951"/>
                  <a:pt x="439738" y="756235"/>
                </a:cubicBezTo>
                <a:cubicBezTo>
                  <a:pt x="434596" y="766518"/>
                  <a:pt x="443387" y="789408"/>
                  <a:pt x="453671" y="782110"/>
                </a:cubicBezTo>
                <a:cubicBezTo>
                  <a:pt x="463954" y="774812"/>
                  <a:pt x="464784" y="782110"/>
                  <a:pt x="471418" y="782110"/>
                </a:cubicBezTo>
                <a:cubicBezTo>
                  <a:pt x="488150" y="775343"/>
                  <a:pt x="503043" y="764711"/>
                  <a:pt x="514876" y="751093"/>
                </a:cubicBezTo>
                <a:cubicBezTo>
                  <a:pt x="521511" y="740809"/>
                  <a:pt x="503099" y="737823"/>
                  <a:pt x="502436" y="731188"/>
                </a:cubicBezTo>
                <a:cubicBezTo>
                  <a:pt x="501772" y="724554"/>
                  <a:pt x="517862" y="724554"/>
                  <a:pt x="525989" y="720075"/>
                </a:cubicBezTo>
                <a:cubicBezTo>
                  <a:pt x="534117" y="715597"/>
                  <a:pt x="519023" y="711948"/>
                  <a:pt x="519852" y="703820"/>
                </a:cubicBezTo>
                <a:close/>
                <a:moveTo>
                  <a:pt x="50113" y="616905"/>
                </a:moveTo>
                <a:cubicBezTo>
                  <a:pt x="48620" y="605129"/>
                  <a:pt x="16939" y="616905"/>
                  <a:pt x="20588" y="627355"/>
                </a:cubicBezTo>
                <a:cubicBezTo>
                  <a:pt x="24238" y="637805"/>
                  <a:pt x="53762" y="645601"/>
                  <a:pt x="67032" y="641288"/>
                </a:cubicBezTo>
                <a:cubicBezTo>
                  <a:pt x="74250" y="640027"/>
                  <a:pt x="79077" y="633144"/>
                  <a:pt x="77811" y="625928"/>
                </a:cubicBezTo>
                <a:cubicBezTo>
                  <a:pt x="77304" y="623026"/>
                  <a:pt x="75846" y="620372"/>
                  <a:pt x="73666" y="618398"/>
                </a:cubicBezTo>
                <a:cubicBezTo>
                  <a:pt x="66700" y="611266"/>
                  <a:pt x="51938" y="628682"/>
                  <a:pt x="50113" y="616905"/>
                </a:cubicBezTo>
                <a:close/>
                <a:moveTo>
                  <a:pt x="409218" y="2244240"/>
                </a:moveTo>
                <a:cubicBezTo>
                  <a:pt x="390641" y="2246395"/>
                  <a:pt x="400924" y="2292341"/>
                  <a:pt x="410711" y="2284877"/>
                </a:cubicBezTo>
                <a:cubicBezTo>
                  <a:pt x="417843" y="2279404"/>
                  <a:pt x="430781" y="2278408"/>
                  <a:pt x="434596" y="2271276"/>
                </a:cubicBezTo>
                <a:cubicBezTo>
                  <a:pt x="438411" y="2264143"/>
                  <a:pt x="427961" y="2242083"/>
                  <a:pt x="409550" y="2244240"/>
                </a:cubicBezTo>
                <a:close/>
                <a:moveTo>
                  <a:pt x="384835" y="2216042"/>
                </a:moveTo>
                <a:cubicBezTo>
                  <a:pt x="373888" y="2217700"/>
                  <a:pt x="381020" y="2237439"/>
                  <a:pt x="387987" y="2232629"/>
                </a:cubicBezTo>
                <a:cubicBezTo>
                  <a:pt x="400261" y="2223506"/>
                  <a:pt x="395948" y="2214383"/>
                  <a:pt x="385167" y="2216042"/>
                </a:cubicBezTo>
                <a:close/>
                <a:moveTo>
                  <a:pt x="269888" y="2178555"/>
                </a:moveTo>
                <a:cubicBezTo>
                  <a:pt x="279675" y="2188839"/>
                  <a:pt x="286475" y="2186186"/>
                  <a:pt x="289461" y="2177063"/>
                </a:cubicBezTo>
                <a:cubicBezTo>
                  <a:pt x="292447" y="2167940"/>
                  <a:pt x="259771" y="2167608"/>
                  <a:pt x="270220" y="2178555"/>
                </a:cubicBezTo>
                <a:close/>
                <a:moveTo>
                  <a:pt x="321971" y="2200782"/>
                </a:moveTo>
                <a:cubicBezTo>
                  <a:pt x="328938" y="2211729"/>
                  <a:pt x="336568" y="2213885"/>
                  <a:pt x="342539" y="2204099"/>
                </a:cubicBezTo>
                <a:cubicBezTo>
                  <a:pt x="348510" y="2194313"/>
                  <a:pt x="314009" y="2188176"/>
                  <a:pt x="322303" y="2200782"/>
                </a:cubicBezTo>
                <a:close/>
                <a:moveTo>
                  <a:pt x="3346248" y="1214197"/>
                </a:moveTo>
                <a:cubicBezTo>
                  <a:pt x="3345253" y="1204245"/>
                  <a:pt x="3315728" y="1212207"/>
                  <a:pt x="3301961" y="1201425"/>
                </a:cubicBezTo>
                <a:cubicBezTo>
                  <a:pt x="3288194" y="1190644"/>
                  <a:pt x="3264641" y="1239741"/>
                  <a:pt x="3259830" y="1260308"/>
                </a:cubicBezTo>
                <a:cubicBezTo>
                  <a:pt x="3255020" y="1280876"/>
                  <a:pt x="3218529" y="1303600"/>
                  <a:pt x="3218529" y="1303600"/>
                </a:cubicBezTo>
                <a:lnTo>
                  <a:pt x="3104578" y="1304595"/>
                </a:lnTo>
                <a:cubicBezTo>
                  <a:pt x="3088124" y="1313353"/>
                  <a:pt x="3073080" y="1324533"/>
                  <a:pt x="3059959" y="1337769"/>
                </a:cubicBezTo>
                <a:cubicBezTo>
                  <a:pt x="3060440" y="1338350"/>
                  <a:pt x="3060888" y="1338963"/>
                  <a:pt x="3061286" y="1339594"/>
                </a:cubicBezTo>
                <a:cubicBezTo>
                  <a:pt x="3071902" y="1358834"/>
                  <a:pt x="3033255" y="1370611"/>
                  <a:pt x="2996432" y="1371938"/>
                </a:cubicBezTo>
                <a:cubicBezTo>
                  <a:pt x="2987541" y="1372336"/>
                  <a:pt x="2978684" y="1373232"/>
                  <a:pt x="2969893" y="1374592"/>
                </a:cubicBezTo>
                <a:cubicBezTo>
                  <a:pt x="2971303" y="1378821"/>
                  <a:pt x="2971983" y="1383250"/>
                  <a:pt x="2971883" y="1387695"/>
                </a:cubicBezTo>
                <a:cubicBezTo>
                  <a:pt x="2971883" y="1390017"/>
                  <a:pt x="2967571" y="1393003"/>
                  <a:pt x="2961931" y="1395989"/>
                </a:cubicBezTo>
                <a:cubicBezTo>
                  <a:pt x="2956292" y="1407434"/>
                  <a:pt x="2911175" y="1429162"/>
                  <a:pt x="2885798" y="1442764"/>
                </a:cubicBezTo>
                <a:cubicBezTo>
                  <a:pt x="2860420" y="1456365"/>
                  <a:pt x="2819450" y="1450062"/>
                  <a:pt x="2819450" y="1428001"/>
                </a:cubicBezTo>
                <a:cubicBezTo>
                  <a:pt x="2819450" y="1405941"/>
                  <a:pt x="2840018" y="1410419"/>
                  <a:pt x="2844496" y="1420703"/>
                </a:cubicBezTo>
                <a:cubicBezTo>
                  <a:pt x="2846155" y="1424518"/>
                  <a:pt x="2851131" y="1421698"/>
                  <a:pt x="2857766" y="1416888"/>
                </a:cubicBezTo>
                <a:cubicBezTo>
                  <a:pt x="2852176" y="1409424"/>
                  <a:pt x="2850517" y="1399737"/>
                  <a:pt x="2853287" y="1390847"/>
                </a:cubicBezTo>
                <a:cubicBezTo>
                  <a:pt x="2844828" y="1387032"/>
                  <a:pt x="2857932" y="1354190"/>
                  <a:pt x="2840847" y="1348385"/>
                </a:cubicBezTo>
                <a:cubicBezTo>
                  <a:pt x="2823763" y="1342579"/>
                  <a:pt x="2802532" y="1373431"/>
                  <a:pt x="2805517" y="1354356"/>
                </a:cubicBezTo>
                <a:cubicBezTo>
                  <a:pt x="2808503" y="1335281"/>
                  <a:pt x="2834876" y="1319026"/>
                  <a:pt x="2818787" y="1293980"/>
                </a:cubicBezTo>
                <a:cubicBezTo>
                  <a:pt x="2802697" y="1268933"/>
                  <a:pt x="2773007" y="1268933"/>
                  <a:pt x="2767202" y="1288008"/>
                </a:cubicBezTo>
                <a:cubicBezTo>
                  <a:pt x="2761396" y="1307083"/>
                  <a:pt x="2740663" y="1298292"/>
                  <a:pt x="2734028" y="1313054"/>
                </a:cubicBezTo>
                <a:cubicBezTo>
                  <a:pt x="2724043" y="1335248"/>
                  <a:pt x="2720974" y="1359929"/>
                  <a:pt x="2725237" y="1383880"/>
                </a:cubicBezTo>
                <a:cubicBezTo>
                  <a:pt x="2731042" y="1407434"/>
                  <a:pt x="2723744" y="1419210"/>
                  <a:pt x="2701684" y="1432480"/>
                </a:cubicBezTo>
                <a:cubicBezTo>
                  <a:pt x="2679623" y="1445749"/>
                  <a:pt x="2668510" y="1412078"/>
                  <a:pt x="2676638" y="1369118"/>
                </a:cubicBezTo>
                <a:cubicBezTo>
                  <a:pt x="2682443" y="1339594"/>
                  <a:pt x="2698698" y="1311562"/>
                  <a:pt x="2683936" y="1311562"/>
                </a:cubicBezTo>
                <a:cubicBezTo>
                  <a:pt x="2669173" y="1311562"/>
                  <a:pt x="2703176" y="1276232"/>
                  <a:pt x="2733696" y="1268933"/>
                </a:cubicBezTo>
                <a:cubicBezTo>
                  <a:pt x="2764216" y="1261635"/>
                  <a:pt x="2803029" y="1264455"/>
                  <a:pt x="2803029" y="1255498"/>
                </a:cubicBezTo>
                <a:cubicBezTo>
                  <a:pt x="2803029" y="1253840"/>
                  <a:pt x="2804356" y="1252513"/>
                  <a:pt x="2806844" y="1251849"/>
                </a:cubicBezTo>
                <a:cubicBezTo>
                  <a:pt x="2800773" y="1247022"/>
                  <a:pt x="2794404" y="1242594"/>
                  <a:pt x="2787769" y="1238580"/>
                </a:cubicBezTo>
                <a:cubicBezTo>
                  <a:pt x="2787156" y="1240736"/>
                  <a:pt x="2785729" y="1242577"/>
                  <a:pt x="2783788" y="1243722"/>
                </a:cubicBezTo>
                <a:cubicBezTo>
                  <a:pt x="2771680" y="1252181"/>
                  <a:pt x="2774997" y="1230452"/>
                  <a:pt x="2752937" y="1230452"/>
                </a:cubicBezTo>
                <a:cubicBezTo>
                  <a:pt x="2730876" y="1230452"/>
                  <a:pt x="2708650" y="1251186"/>
                  <a:pt x="2691068" y="1242395"/>
                </a:cubicBezTo>
                <a:cubicBezTo>
                  <a:pt x="2673486" y="1233604"/>
                  <a:pt x="2682111" y="1221661"/>
                  <a:pt x="2665856" y="1221661"/>
                </a:cubicBezTo>
                <a:cubicBezTo>
                  <a:pt x="2649601" y="1221661"/>
                  <a:pt x="2677799" y="1190810"/>
                  <a:pt x="2654080" y="1203913"/>
                </a:cubicBezTo>
                <a:cubicBezTo>
                  <a:pt x="2630360" y="1217017"/>
                  <a:pt x="2595196" y="1249693"/>
                  <a:pt x="2578941" y="1234931"/>
                </a:cubicBezTo>
                <a:cubicBezTo>
                  <a:pt x="2562686" y="1220168"/>
                  <a:pt x="2548090" y="1239409"/>
                  <a:pt x="2536313" y="1227632"/>
                </a:cubicBezTo>
                <a:cubicBezTo>
                  <a:pt x="2524536" y="1215856"/>
                  <a:pt x="2577448" y="1183346"/>
                  <a:pt x="2602660" y="1184838"/>
                </a:cubicBezTo>
                <a:cubicBezTo>
                  <a:pt x="2608831" y="1184772"/>
                  <a:pt x="2614735" y="1182400"/>
                  <a:pt x="2619247" y="1178203"/>
                </a:cubicBezTo>
                <a:cubicBezTo>
                  <a:pt x="2606144" y="1173393"/>
                  <a:pt x="2578941" y="1162778"/>
                  <a:pt x="2571809" y="1171569"/>
                </a:cubicBezTo>
                <a:cubicBezTo>
                  <a:pt x="2564677" y="1180360"/>
                  <a:pt x="2550080" y="1175384"/>
                  <a:pt x="2543279" y="1166593"/>
                </a:cubicBezTo>
                <a:cubicBezTo>
                  <a:pt x="2536479" y="1157802"/>
                  <a:pt x="2527522" y="1169578"/>
                  <a:pt x="2515745" y="1155811"/>
                </a:cubicBezTo>
                <a:cubicBezTo>
                  <a:pt x="2503969" y="1142044"/>
                  <a:pt x="2492192" y="1151830"/>
                  <a:pt x="2485226" y="1154816"/>
                </a:cubicBezTo>
                <a:cubicBezTo>
                  <a:pt x="2478259" y="1157802"/>
                  <a:pt x="2469634" y="1150006"/>
                  <a:pt x="2456862" y="1145030"/>
                </a:cubicBezTo>
                <a:cubicBezTo>
                  <a:pt x="2444090" y="1140054"/>
                  <a:pt x="2453876" y="1127282"/>
                  <a:pt x="2443095" y="1119486"/>
                </a:cubicBezTo>
                <a:cubicBezTo>
                  <a:pt x="2432313" y="1111690"/>
                  <a:pt x="2431650" y="1134414"/>
                  <a:pt x="2431650" y="1134414"/>
                </a:cubicBezTo>
                <a:lnTo>
                  <a:pt x="1515725" y="1139225"/>
                </a:lnTo>
                <a:cubicBezTo>
                  <a:pt x="1516604" y="1140784"/>
                  <a:pt x="1517649" y="1142227"/>
                  <a:pt x="1518877" y="1143537"/>
                </a:cubicBezTo>
                <a:cubicBezTo>
                  <a:pt x="1529990" y="1155314"/>
                  <a:pt x="1521033" y="1164271"/>
                  <a:pt x="1524848" y="1178203"/>
                </a:cubicBezTo>
                <a:cubicBezTo>
                  <a:pt x="1528663" y="1192137"/>
                  <a:pt x="1524848" y="1211377"/>
                  <a:pt x="1514398" y="1211377"/>
                </a:cubicBezTo>
                <a:cubicBezTo>
                  <a:pt x="1509538" y="1211526"/>
                  <a:pt x="1505491" y="1207695"/>
                  <a:pt x="1505359" y="1202852"/>
                </a:cubicBezTo>
                <a:cubicBezTo>
                  <a:pt x="1505259" y="1199468"/>
                  <a:pt x="1507100" y="1196350"/>
                  <a:pt x="1510086" y="1194790"/>
                </a:cubicBezTo>
                <a:cubicBezTo>
                  <a:pt x="1518213" y="1190478"/>
                  <a:pt x="1513735" y="1174223"/>
                  <a:pt x="1505607" y="1174223"/>
                </a:cubicBezTo>
                <a:cubicBezTo>
                  <a:pt x="1500963" y="1174223"/>
                  <a:pt x="1498973" y="1168583"/>
                  <a:pt x="1499138" y="1162114"/>
                </a:cubicBezTo>
                <a:cubicBezTo>
                  <a:pt x="1481822" y="1165448"/>
                  <a:pt x="1464041" y="1165448"/>
                  <a:pt x="1446724" y="1162114"/>
                </a:cubicBezTo>
                <a:cubicBezTo>
                  <a:pt x="1446890" y="1162993"/>
                  <a:pt x="1446890" y="1163889"/>
                  <a:pt x="1446724" y="1164768"/>
                </a:cubicBezTo>
                <a:cubicBezTo>
                  <a:pt x="1448416" y="1180642"/>
                  <a:pt x="1454122" y="1195835"/>
                  <a:pt x="1463311" y="1208889"/>
                </a:cubicBezTo>
                <a:cubicBezTo>
                  <a:pt x="1475088" y="1224481"/>
                  <a:pt x="1467126" y="1234101"/>
                  <a:pt x="1478073" y="1239906"/>
                </a:cubicBezTo>
                <a:cubicBezTo>
                  <a:pt x="1489021" y="1245712"/>
                  <a:pt x="1488357" y="1252513"/>
                  <a:pt x="1478073" y="1251020"/>
                </a:cubicBezTo>
                <a:cubicBezTo>
                  <a:pt x="1467789" y="1249527"/>
                  <a:pt x="1475088" y="1259147"/>
                  <a:pt x="1471439" y="1281208"/>
                </a:cubicBezTo>
                <a:cubicBezTo>
                  <a:pt x="1467789" y="1303268"/>
                  <a:pt x="1468453" y="1349048"/>
                  <a:pt x="1466297" y="1362981"/>
                </a:cubicBezTo>
                <a:cubicBezTo>
                  <a:pt x="1464140" y="1376914"/>
                  <a:pt x="1447885" y="1399804"/>
                  <a:pt x="1457506" y="1414566"/>
                </a:cubicBezTo>
                <a:cubicBezTo>
                  <a:pt x="1468519" y="1430224"/>
                  <a:pt x="1472500" y="1449763"/>
                  <a:pt x="1468453" y="1468473"/>
                </a:cubicBezTo>
                <a:cubicBezTo>
                  <a:pt x="1462963" y="1482771"/>
                  <a:pt x="1464372" y="1498810"/>
                  <a:pt x="1472268" y="1511931"/>
                </a:cubicBezTo>
                <a:cubicBezTo>
                  <a:pt x="1480395" y="1525864"/>
                  <a:pt x="1473761" y="1550246"/>
                  <a:pt x="1482552" y="1555388"/>
                </a:cubicBezTo>
                <a:cubicBezTo>
                  <a:pt x="1493018" y="1562885"/>
                  <a:pt x="1501593" y="1572705"/>
                  <a:pt x="1507598" y="1584083"/>
                </a:cubicBezTo>
                <a:cubicBezTo>
                  <a:pt x="1515725" y="1597353"/>
                  <a:pt x="1523024" y="1589225"/>
                  <a:pt x="1524185" y="1602495"/>
                </a:cubicBezTo>
                <a:cubicBezTo>
                  <a:pt x="1525346" y="1615764"/>
                  <a:pt x="1525677" y="1617921"/>
                  <a:pt x="1537454" y="1623228"/>
                </a:cubicBezTo>
                <a:cubicBezTo>
                  <a:pt x="1549231" y="1628536"/>
                  <a:pt x="1541933" y="1641640"/>
                  <a:pt x="1541933" y="1648938"/>
                </a:cubicBezTo>
                <a:cubicBezTo>
                  <a:pt x="1541933" y="1656236"/>
                  <a:pt x="1557358" y="1669506"/>
                  <a:pt x="1576599" y="1686590"/>
                </a:cubicBezTo>
                <a:cubicBezTo>
                  <a:pt x="1595840" y="1703674"/>
                  <a:pt x="1579419" y="1717442"/>
                  <a:pt x="1593186" y="1717442"/>
                </a:cubicBezTo>
                <a:cubicBezTo>
                  <a:pt x="1608213" y="1719100"/>
                  <a:pt x="1622495" y="1724839"/>
                  <a:pt x="1634487" y="1734028"/>
                </a:cubicBezTo>
                <a:cubicBezTo>
                  <a:pt x="1648420" y="1742985"/>
                  <a:pt x="1652898" y="1737843"/>
                  <a:pt x="1662353" y="1739999"/>
                </a:cubicBezTo>
                <a:cubicBezTo>
                  <a:pt x="1676933" y="1747961"/>
                  <a:pt x="1688013" y="1761098"/>
                  <a:pt x="1693370" y="1776822"/>
                </a:cubicBezTo>
                <a:cubicBezTo>
                  <a:pt x="1695145" y="1784021"/>
                  <a:pt x="1697650" y="1791021"/>
                  <a:pt x="1700834" y="1797722"/>
                </a:cubicBezTo>
                <a:lnTo>
                  <a:pt x="1777300" y="1787770"/>
                </a:lnTo>
                <a:cubicBezTo>
                  <a:pt x="1788695" y="1795980"/>
                  <a:pt x="1801135" y="1802615"/>
                  <a:pt x="1814288" y="1807508"/>
                </a:cubicBezTo>
                <a:cubicBezTo>
                  <a:pt x="1827724" y="1810659"/>
                  <a:pt x="1900042" y="1837364"/>
                  <a:pt x="1900042" y="1837364"/>
                </a:cubicBezTo>
                <a:lnTo>
                  <a:pt x="1994587" y="1836535"/>
                </a:lnTo>
                <a:lnTo>
                  <a:pt x="2005534" y="1822436"/>
                </a:lnTo>
                <a:lnTo>
                  <a:pt x="2057617" y="1822436"/>
                </a:lnTo>
                <a:cubicBezTo>
                  <a:pt x="2069510" y="1834229"/>
                  <a:pt x="2082083" y="1845293"/>
                  <a:pt x="2095269" y="1855610"/>
                </a:cubicBezTo>
                <a:cubicBezTo>
                  <a:pt x="2100079" y="1857268"/>
                  <a:pt x="2116666" y="1872196"/>
                  <a:pt x="2116666" y="1881651"/>
                </a:cubicBezTo>
                <a:cubicBezTo>
                  <a:pt x="2116036" y="1890442"/>
                  <a:pt x="2120664" y="1898769"/>
                  <a:pt x="2128443" y="1902882"/>
                </a:cubicBezTo>
                <a:cubicBezTo>
                  <a:pt x="2140485" y="1910844"/>
                  <a:pt x="2153406" y="1917396"/>
                  <a:pt x="2166924" y="1922455"/>
                </a:cubicBezTo>
                <a:cubicBezTo>
                  <a:pt x="2170905" y="1920962"/>
                  <a:pt x="2178867" y="1891106"/>
                  <a:pt x="2192966" y="1891935"/>
                </a:cubicBezTo>
                <a:cubicBezTo>
                  <a:pt x="2207064" y="1892764"/>
                  <a:pt x="2245712" y="1903712"/>
                  <a:pt x="2252015" y="1925108"/>
                </a:cubicBezTo>
                <a:cubicBezTo>
                  <a:pt x="2258102" y="1942757"/>
                  <a:pt x="2269016" y="1958332"/>
                  <a:pt x="2283530" y="1970059"/>
                </a:cubicBezTo>
                <a:cubicBezTo>
                  <a:pt x="2289833" y="1974703"/>
                  <a:pt x="2286681" y="1988139"/>
                  <a:pt x="2291325" y="1995271"/>
                </a:cubicBezTo>
                <a:cubicBezTo>
                  <a:pt x="2295970" y="2002403"/>
                  <a:pt x="2295306" y="2015673"/>
                  <a:pt x="2300780" y="2015673"/>
                </a:cubicBezTo>
                <a:cubicBezTo>
                  <a:pt x="2306254" y="2015673"/>
                  <a:pt x="2333954" y="2032260"/>
                  <a:pt x="2347223" y="2032260"/>
                </a:cubicBezTo>
                <a:cubicBezTo>
                  <a:pt x="2352249" y="2032674"/>
                  <a:pt x="2357059" y="2034466"/>
                  <a:pt x="2361156" y="2037402"/>
                </a:cubicBezTo>
                <a:cubicBezTo>
                  <a:pt x="2362649" y="2011029"/>
                  <a:pt x="2335446" y="2006716"/>
                  <a:pt x="2351536" y="1994607"/>
                </a:cubicBezTo>
                <a:cubicBezTo>
                  <a:pt x="2367625" y="1982499"/>
                  <a:pt x="2351536" y="1968732"/>
                  <a:pt x="2359663" y="1962926"/>
                </a:cubicBezTo>
                <a:cubicBezTo>
                  <a:pt x="2367791" y="1957121"/>
                  <a:pt x="2383880" y="1951150"/>
                  <a:pt x="2383880" y="1942193"/>
                </a:cubicBezTo>
                <a:cubicBezTo>
                  <a:pt x="2383880" y="1933236"/>
                  <a:pt x="2392008" y="1933402"/>
                  <a:pt x="2403784" y="1934895"/>
                </a:cubicBezTo>
                <a:cubicBezTo>
                  <a:pt x="2415561" y="1936388"/>
                  <a:pt x="2437787" y="1915654"/>
                  <a:pt x="2436958" y="1907526"/>
                </a:cubicBezTo>
                <a:cubicBezTo>
                  <a:pt x="2436129" y="1899399"/>
                  <a:pt x="2439114" y="1898072"/>
                  <a:pt x="2453545" y="1901058"/>
                </a:cubicBezTo>
                <a:cubicBezTo>
                  <a:pt x="2467975" y="1904043"/>
                  <a:pt x="2465321" y="1884471"/>
                  <a:pt x="2474278" y="1887623"/>
                </a:cubicBezTo>
                <a:cubicBezTo>
                  <a:pt x="2483235" y="1890774"/>
                  <a:pt x="2490865" y="1895750"/>
                  <a:pt x="2490865" y="1889115"/>
                </a:cubicBezTo>
                <a:cubicBezTo>
                  <a:pt x="2490865" y="1882481"/>
                  <a:pt x="2500485" y="1883973"/>
                  <a:pt x="2507452" y="1892930"/>
                </a:cubicBezTo>
                <a:cubicBezTo>
                  <a:pt x="2514419" y="1901887"/>
                  <a:pt x="2533161" y="1903877"/>
                  <a:pt x="2534654" y="1892930"/>
                </a:cubicBezTo>
                <a:cubicBezTo>
                  <a:pt x="2536147" y="1881983"/>
                  <a:pt x="2547260" y="1892930"/>
                  <a:pt x="2556715" y="1903214"/>
                </a:cubicBezTo>
                <a:cubicBezTo>
                  <a:pt x="2566169" y="1913498"/>
                  <a:pt x="2570814" y="1910678"/>
                  <a:pt x="2584747" y="1911342"/>
                </a:cubicBezTo>
                <a:cubicBezTo>
                  <a:pt x="2598679" y="1912005"/>
                  <a:pt x="2598845" y="1908356"/>
                  <a:pt x="2599509" y="1899565"/>
                </a:cubicBezTo>
                <a:cubicBezTo>
                  <a:pt x="2600172" y="1890774"/>
                  <a:pt x="2614935" y="1918640"/>
                  <a:pt x="2629033" y="1920133"/>
                </a:cubicBezTo>
                <a:cubicBezTo>
                  <a:pt x="2643132" y="1921625"/>
                  <a:pt x="2632019" y="1911342"/>
                  <a:pt x="2621569" y="1903546"/>
                </a:cubicBezTo>
                <a:cubicBezTo>
                  <a:pt x="2611119" y="1895750"/>
                  <a:pt x="2623891" y="1891769"/>
                  <a:pt x="2614935" y="1885134"/>
                </a:cubicBezTo>
                <a:cubicBezTo>
                  <a:pt x="2605978" y="1878500"/>
                  <a:pt x="2626048" y="1869709"/>
                  <a:pt x="2643796" y="1870372"/>
                </a:cubicBezTo>
                <a:cubicBezTo>
                  <a:pt x="2661544" y="1871036"/>
                  <a:pt x="2660382" y="1875514"/>
                  <a:pt x="2667349" y="1865230"/>
                </a:cubicBezTo>
                <a:cubicBezTo>
                  <a:pt x="2674316" y="1854946"/>
                  <a:pt x="2680618" y="1865230"/>
                  <a:pt x="2680618" y="1874187"/>
                </a:cubicBezTo>
                <a:cubicBezTo>
                  <a:pt x="2680618" y="1883144"/>
                  <a:pt x="2709314" y="1868879"/>
                  <a:pt x="2724739" y="1868879"/>
                </a:cubicBezTo>
                <a:cubicBezTo>
                  <a:pt x="2738739" y="1869012"/>
                  <a:pt x="2751146" y="1877903"/>
                  <a:pt x="2755757" y="1891106"/>
                </a:cubicBezTo>
                <a:cubicBezTo>
                  <a:pt x="2757250" y="1899897"/>
                  <a:pt x="2767533" y="1904375"/>
                  <a:pt x="2778647" y="1894755"/>
                </a:cubicBezTo>
                <a:cubicBezTo>
                  <a:pt x="2789760" y="1885134"/>
                  <a:pt x="2799214" y="1874187"/>
                  <a:pt x="2809498" y="1884471"/>
                </a:cubicBezTo>
                <a:cubicBezTo>
                  <a:pt x="2819782" y="1894755"/>
                  <a:pt x="2830232" y="1908688"/>
                  <a:pt x="2842672" y="1921294"/>
                </a:cubicBezTo>
                <a:cubicBezTo>
                  <a:pt x="2855112" y="1933899"/>
                  <a:pt x="2836866" y="1949326"/>
                  <a:pt x="2842672" y="1958780"/>
                </a:cubicBezTo>
                <a:cubicBezTo>
                  <a:pt x="2848477" y="1968234"/>
                  <a:pt x="2842672" y="1981670"/>
                  <a:pt x="2856605" y="1991953"/>
                </a:cubicBezTo>
                <a:cubicBezTo>
                  <a:pt x="2870538" y="2002237"/>
                  <a:pt x="2858097" y="2023634"/>
                  <a:pt x="2869874" y="2026620"/>
                </a:cubicBezTo>
                <a:cubicBezTo>
                  <a:pt x="2881651" y="2029606"/>
                  <a:pt x="2891271" y="2048017"/>
                  <a:pt x="2892764" y="2055315"/>
                </a:cubicBezTo>
                <a:cubicBezTo>
                  <a:pt x="2894257" y="2062613"/>
                  <a:pt x="2916317" y="2071902"/>
                  <a:pt x="2917810" y="2059793"/>
                </a:cubicBezTo>
                <a:cubicBezTo>
                  <a:pt x="2919303" y="2047685"/>
                  <a:pt x="2931080" y="2032591"/>
                  <a:pt x="2932572" y="2020815"/>
                </a:cubicBezTo>
                <a:cubicBezTo>
                  <a:pt x="2931411" y="1997344"/>
                  <a:pt x="2925141" y="1974421"/>
                  <a:pt x="2914161" y="1953638"/>
                </a:cubicBezTo>
                <a:cubicBezTo>
                  <a:pt x="2904541" y="1940369"/>
                  <a:pt x="2916317" y="1937051"/>
                  <a:pt x="2904541" y="1921957"/>
                </a:cubicBezTo>
                <a:cubicBezTo>
                  <a:pt x="2891818" y="1902783"/>
                  <a:pt x="2885383" y="1880109"/>
                  <a:pt x="2886129" y="1857102"/>
                </a:cubicBezTo>
                <a:cubicBezTo>
                  <a:pt x="2886129" y="1835042"/>
                  <a:pt x="2912668" y="1798883"/>
                  <a:pt x="2925108" y="1787936"/>
                </a:cubicBezTo>
                <a:cubicBezTo>
                  <a:pt x="2937548" y="1776988"/>
                  <a:pt x="2951647" y="1782628"/>
                  <a:pt x="2954633" y="1771349"/>
                </a:cubicBezTo>
                <a:cubicBezTo>
                  <a:pt x="2957618" y="1760070"/>
                  <a:pt x="2973044" y="1744644"/>
                  <a:pt x="2981835" y="1744644"/>
                </a:cubicBezTo>
                <a:cubicBezTo>
                  <a:pt x="2990626" y="1744644"/>
                  <a:pt x="3000412" y="1746966"/>
                  <a:pt x="3001739" y="1737346"/>
                </a:cubicBezTo>
                <a:cubicBezTo>
                  <a:pt x="3003066" y="1727725"/>
                  <a:pt x="3018326" y="1715949"/>
                  <a:pt x="3037235" y="1712963"/>
                </a:cubicBezTo>
                <a:cubicBezTo>
                  <a:pt x="3056144" y="1709977"/>
                  <a:pt x="3045363" y="1699693"/>
                  <a:pt x="3040055" y="1690902"/>
                </a:cubicBezTo>
                <a:cubicBezTo>
                  <a:pt x="3034747" y="1682111"/>
                  <a:pt x="3044533" y="1673320"/>
                  <a:pt x="3048183" y="1679126"/>
                </a:cubicBezTo>
                <a:cubicBezTo>
                  <a:pt x="3054386" y="1685213"/>
                  <a:pt x="3064122" y="1685860"/>
                  <a:pt x="3071072" y="1680619"/>
                </a:cubicBezTo>
                <a:cubicBezTo>
                  <a:pt x="3078371" y="1675477"/>
                  <a:pt x="3095455" y="1661378"/>
                  <a:pt x="3079200" y="1660715"/>
                </a:cubicBezTo>
                <a:cubicBezTo>
                  <a:pt x="3062945" y="1660051"/>
                  <a:pt x="3059296" y="1653416"/>
                  <a:pt x="3068916" y="1649601"/>
                </a:cubicBezTo>
                <a:cubicBezTo>
                  <a:pt x="3078536" y="1645786"/>
                  <a:pt x="3070409" y="1628370"/>
                  <a:pt x="3057139" y="1626877"/>
                </a:cubicBezTo>
                <a:cubicBezTo>
                  <a:pt x="3043870" y="1625385"/>
                  <a:pt x="3048183" y="1618750"/>
                  <a:pt x="3056310" y="1610290"/>
                </a:cubicBezTo>
                <a:cubicBezTo>
                  <a:pt x="3064438" y="1601831"/>
                  <a:pt x="3044533" y="1588894"/>
                  <a:pt x="3034913" y="1582259"/>
                </a:cubicBezTo>
                <a:cubicBezTo>
                  <a:pt x="3025293" y="1575624"/>
                  <a:pt x="3040884" y="1571975"/>
                  <a:pt x="3048183" y="1570482"/>
                </a:cubicBezTo>
                <a:cubicBezTo>
                  <a:pt x="3055481" y="1568989"/>
                  <a:pt x="3049675" y="1535152"/>
                  <a:pt x="3053324" y="1527025"/>
                </a:cubicBezTo>
                <a:cubicBezTo>
                  <a:pt x="3056974" y="1518897"/>
                  <a:pt x="3069911" y="1518897"/>
                  <a:pt x="3064438" y="1527025"/>
                </a:cubicBezTo>
                <a:cubicBezTo>
                  <a:pt x="3058964" y="1535152"/>
                  <a:pt x="3051997" y="1548422"/>
                  <a:pt x="3061452" y="1560198"/>
                </a:cubicBezTo>
                <a:cubicBezTo>
                  <a:pt x="3071188" y="1570996"/>
                  <a:pt x="3074572" y="1586090"/>
                  <a:pt x="3070409" y="1600007"/>
                </a:cubicBezTo>
                <a:cubicBezTo>
                  <a:pt x="3066594" y="1616594"/>
                  <a:pt x="3074058" y="1612613"/>
                  <a:pt x="3085005" y="1590552"/>
                </a:cubicBezTo>
                <a:cubicBezTo>
                  <a:pt x="3095953" y="1568492"/>
                  <a:pt x="3097611" y="1549251"/>
                  <a:pt x="3090313" y="1546929"/>
                </a:cubicBezTo>
                <a:cubicBezTo>
                  <a:pt x="3083015" y="1544607"/>
                  <a:pt x="3083678" y="1522712"/>
                  <a:pt x="3091640" y="1532996"/>
                </a:cubicBezTo>
                <a:cubicBezTo>
                  <a:pt x="3099602" y="1543280"/>
                  <a:pt x="3102753" y="1544773"/>
                  <a:pt x="3115359" y="1531503"/>
                </a:cubicBezTo>
                <a:cubicBezTo>
                  <a:pt x="3127965" y="1518234"/>
                  <a:pt x="3141069" y="1495344"/>
                  <a:pt x="3132941" y="1490202"/>
                </a:cubicBezTo>
                <a:cubicBezTo>
                  <a:pt x="3124814" y="1485060"/>
                  <a:pt x="3136590" y="1479918"/>
                  <a:pt x="3151353" y="1480582"/>
                </a:cubicBezTo>
                <a:cubicBezTo>
                  <a:pt x="3168437" y="1480349"/>
                  <a:pt x="3185206" y="1475838"/>
                  <a:pt x="3200118" y="1467478"/>
                </a:cubicBezTo>
                <a:cubicBezTo>
                  <a:pt x="3207250" y="1453047"/>
                  <a:pt x="3149196" y="1473947"/>
                  <a:pt x="3149196" y="1465985"/>
                </a:cubicBezTo>
                <a:cubicBezTo>
                  <a:pt x="3149196" y="1458023"/>
                  <a:pt x="3186019" y="1449398"/>
                  <a:pt x="3202938" y="1449398"/>
                </a:cubicBezTo>
                <a:cubicBezTo>
                  <a:pt x="3219856" y="1449398"/>
                  <a:pt x="3211894" y="1425845"/>
                  <a:pt x="3219525" y="1435465"/>
                </a:cubicBezTo>
                <a:cubicBezTo>
                  <a:pt x="3226557" y="1443792"/>
                  <a:pt x="3239014" y="1444837"/>
                  <a:pt x="3247341" y="1437804"/>
                </a:cubicBezTo>
                <a:cubicBezTo>
                  <a:pt x="3247407" y="1437738"/>
                  <a:pt x="3247490" y="1437688"/>
                  <a:pt x="3247556" y="1437622"/>
                </a:cubicBezTo>
                <a:cubicBezTo>
                  <a:pt x="3257177" y="1431816"/>
                  <a:pt x="3249712" y="1414898"/>
                  <a:pt x="3238765" y="1411912"/>
                </a:cubicBezTo>
                <a:cubicBezTo>
                  <a:pt x="3227818" y="1408926"/>
                  <a:pt x="3246893" y="1401628"/>
                  <a:pt x="3243078" y="1395325"/>
                </a:cubicBezTo>
                <a:cubicBezTo>
                  <a:pt x="3242149" y="1380032"/>
                  <a:pt x="3250625" y="1365718"/>
                  <a:pt x="3264475" y="1359166"/>
                </a:cubicBezTo>
                <a:cubicBezTo>
                  <a:pt x="3278574" y="1356180"/>
                  <a:pt x="3271939" y="1347389"/>
                  <a:pt x="3283715" y="1347389"/>
                </a:cubicBezTo>
                <a:cubicBezTo>
                  <a:pt x="3295492" y="1347389"/>
                  <a:pt x="3297648" y="1333290"/>
                  <a:pt x="3307932" y="1323007"/>
                </a:cubicBezTo>
                <a:cubicBezTo>
                  <a:pt x="3318216" y="1312723"/>
                  <a:pt x="3332978" y="1339594"/>
                  <a:pt x="3349233" y="1324499"/>
                </a:cubicBezTo>
                <a:cubicBezTo>
                  <a:pt x="3356996" y="1317632"/>
                  <a:pt x="3365323" y="1311412"/>
                  <a:pt x="3374114" y="1305922"/>
                </a:cubicBezTo>
                <a:cubicBezTo>
                  <a:pt x="3352418" y="1280594"/>
                  <a:pt x="3342416" y="1247288"/>
                  <a:pt x="3346580" y="121419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15" name="Freeform: Shape 514">
            <a:extLst>
              <a:ext uri="{FF2B5EF4-FFF2-40B4-BE49-F238E27FC236}">
                <a16:creationId xmlns:a16="http://schemas.microsoft.com/office/drawing/2014/main" id="{AB17754B-90AE-495D-BAFD-70C08AE4C9EC}"/>
              </a:ext>
            </a:extLst>
          </p:cNvPr>
          <p:cNvSpPr/>
          <p:nvPr/>
        </p:nvSpPr>
        <p:spPr>
          <a:xfrm>
            <a:off x="5085763" y="3452591"/>
            <a:ext cx="334571" cy="234457"/>
          </a:xfrm>
          <a:custGeom>
            <a:avLst/>
            <a:gdLst>
              <a:gd name="connsiteX0" fmla="*/ 418893 w 421977"/>
              <a:gd name="connsiteY0" fmla="*/ 54139 h 301495"/>
              <a:gd name="connsiteX1" fmla="*/ 384724 w 421977"/>
              <a:gd name="connsiteY1" fmla="*/ 53144 h 301495"/>
              <a:gd name="connsiteX2" fmla="*/ 345248 w 421977"/>
              <a:gd name="connsiteY2" fmla="*/ 43524 h 301495"/>
              <a:gd name="connsiteX3" fmla="*/ 329822 w 421977"/>
              <a:gd name="connsiteY3" fmla="*/ 39875 h 301495"/>
              <a:gd name="connsiteX4" fmla="*/ 303449 w 421977"/>
              <a:gd name="connsiteY4" fmla="*/ 42363 h 301495"/>
              <a:gd name="connsiteX5" fmla="*/ 270275 w 421977"/>
              <a:gd name="connsiteY5" fmla="*/ 26771 h 301495"/>
              <a:gd name="connsiteX6" fmla="*/ 251532 w 421977"/>
              <a:gd name="connsiteY6" fmla="*/ 17482 h 301495"/>
              <a:gd name="connsiteX7" fmla="*/ 193976 w 421977"/>
              <a:gd name="connsiteY7" fmla="*/ 11179 h 301495"/>
              <a:gd name="connsiteX8" fmla="*/ 84337 w 421977"/>
              <a:gd name="connsiteY8" fmla="*/ 10184 h 301495"/>
              <a:gd name="connsiteX9" fmla="*/ 44197 w 421977"/>
              <a:gd name="connsiteY9" fmla="*/ -100 h 301495"/>
              <a:gd name="connsiteX10" fmla="*/ 16663 w 421977"/>
              <a:gd name="connsiteY10" fmla="*/ 16487 h 301495"/>
              <a:gd name="connsiteX11" fmla="*/ 9199 w 421977"/>
              <a:gd name="connsiteY11" fmla="*/ 40704 h 301495"/>
              <a:gd name="connsiteX12" fmla="*/ 15170 w 421977"/>
              <a:gd name="connsiteY12" fmla="*/ 73048 h 301495"/>
              <a:gd name="connsiteX13" fmla="*/ 24127 w 421977"/>
              <a:gd name="connsiteY13" fmla="*/ 69399 h 301495"/>
              <a:gd name="connsiteX14" fmla="*/ 36069 w 421977"/>
              <a:gd name="connsiteY14" fmla="*/ 70560 h 301495"/>
              <a:gd name="connsiteX15" fmla="*/ 56305 w 421977"/>
              <a:gd name="connsiteY15" fmla="*/ 75370 h 301495"/>
              <a:gd name="connsiteX16" fmla="*/ 69575 w 421977"/>
              <a:gd name="connsiteY16" fmla="*/ 75370 h 301495"/>
              <a:gd name="connsiteX17" fmla="*/ 89811 w 421977"/>
              <a:gd name="connsiteY17" fmla="*/ 78854 h 301495"/>
              <a:gd name="connsiteX18" fmla="*/ 98270 w 421977"/>
              <a:gd name="connsiteY18" fmla="*/ 92123 h 301495"/>
              <a:gd name="connsiteX19" fmla="*/ 76707 w 421977"/>
              <a:gd name="connsiteY19" fmla="*/ 111198 h 301495"/>
              <a:gd name="connsiteX20" fmla="*/ 79029 w 421977"/>
              <a:gd name="connsiteY20" fmla="*/ 142215 h 301495"/>
              <a:gd name="connsiteX21" fmla="*/ 73058 w 421977"/>
              <a:gd name="connsiteY21" fmla="*/ 164939 h 301495"/>
              <a:gd name="connsiteX22" fmla="*/ 64764 w 421977"/>
              <a:gd name="connsiteY22" fmla="*/ 178043 h 301495"/>
              <a:gd name="connsiteX23" fmla="*/ 74219 w 421977"/>
              <a:gd name="connsiteY23" fmla="*/ 196122 h 301495"/>
              <a:gd name="connsiteX24" fmla="*/ 65926 w 421977"/>
              <a:gd name="connsiteY24" fmla="*/ 214036 h 301495"/>
              <a:gd name="connsiteX25" fmla="*/ 73058 w 421977"/>
              <a:gd name="connsiteY25" fmla="*/ 230623 h 301495"/>
              <a:gd name="connsiteX26" fmla="*/ 59955 w 421977"/>
              <a:gd name="connsiteY26" fmla="*/ 250859 h 301495"/>
              <a:gd name="connsiteX27" fmla="*/ 64764 w 421977"/>
              <a:gd name="connsiteY27" fmla="*/ 261806 h 301495"/>
              <a:gd name="connsiteX28" fmla="*/ 82512 w 421977"/>
              <a:gd name="connsiteY28" fmla="*/ 262968 h 301495"/>
              <a:gd name="connsiteX29" fmla="*/ 122653 w 421977"/>
              <a:gd name="connsiteY29" fmla="*/ 301283 h 301495"/>
              <a:gd name="connsiteX30" fmla="*/ 130614 w 421977"/>
              <a:gd name="connsiteY30" fmla="*/ 290502 h 301495"/>
              <a:gd name="connsiteX31" fmla="*/ 149689 w 421977"/>
              <a:gd name="connsiteY31" fmla="*/ 289506 h 301495"/>
              <a:gd name="connsiteX32" fmla="*/ 180209 w 421977"/>
              <a:gd name="connsiteY32" fmla="*/ 277730 h 301495"/>
              <a:gd name="connsiteX33" fmla="*/ 222505 w 421977"/>
              <a:gd name="connsiteY33" fmla="*/ 276237 h 301495"/>
              <a:gd name="connsiteX34" fmla="*/ 246556 w 421977"/>
              <a:gd name="connsiteY34" fmla="*/ 264460 h 301495"/>
              <a:gd name="connsiteX35" fmla="*/ 272597 w 421977"/>
              <a:gd name="connsiteY35" fmla="*/ 246878 h 301495"/>
              <a:gd name="connsiteX36" fmla="*/ 284872 w 421977"/>
              <a:gd name="connsiteY36" fmla="*/ 223159 h 301495"/>
              <a:gd name="connsiteX37" fmla="*/ 309420 w 421977"/>
              <a:gd name="connsiteY37" fmla="*/ 197615 h 301495"/>
              <a:gd name="connsiteX38" fmla="*/ 309420 w 421977"/>
              <a:gd name="connsiteY38" fmla="*/ 149016 h 301495"/>
              <a:gd name="connsiteX39" fmla="*/ 336954 w 421977"/>
              <a:gd name="connsiteY39" fmla="*/ 115842 h 301495"/>
              <a:gd name="connsiteX40" fmla="*/ 367474 w 421977"/>
              <a:gd name="connsiteY40" fmla="*/ 99255 h 301495"/>
              <a:gd name="connsiteX41" fmla="*/ 403799 w 421977"/>
              <a:gd name="connsiteY41" fmla="*/ 80015 h 301495"/>
              <a:gd name="connsiteX42" fmla="*/ 418893 w 421977"/>
              <a:gd name="connsiteY42" fmla="*/ 54139 h 301495"/>
              <a:gd name="connsiteX43" fmla="*/ 421713 w 421977"/>
              <a:gd name="connsiteY43" fmla="*/ 161456 h 301495"/>
              <a:gd name="connsiteX44" fmla="*/ 392852 w 421977"/>
              <a:gd name="connsiteY44" fmla="*/ 171242 h 301495"/>
              <a:gd name="connsiteX45" fmla="*/ 421713 w 421977"/>
              <a:gd name="connsiteY45" fmla="*/ 161456 h 30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21977" h="301495">
                <a:moveTo>
                  <a:pt x="418893" y="54139"/>
                </a:moveTo>
                <a:cubicBezTo>
                  <a:pt x="407498" y="54670"/>
                  <a:pt x="396070" y="54338"/>
                  <a:pt x="384724" y="53144"/>
                </a:cubicBezTo>
                <a:cubicBezTo>
                  <a:pt x="373943" y="50656"/>
                  <a:pt x="351551" y="49495"/>
                  <a:pt x="345248" y="43524"/>
                </a:cubicBezTo>
                <a:cubicBezTo>
                  <a:pt x="338945" y="37552"/>
                  <a:pt x="329822" y="32742"/>
                  <a:pt x="329822" y="39875"/>
                </a:cubicBezTo>
                <a:cubicBezTo>
                  <a:pt x="329822" y="47007"/>
                  <a:pt x="313235" y="48334"/>
                  <a:pt x="303449" y="42363"/>
                </a:cubicBezTo>
                <a:cubicBezTo>
                  <a:pt x="293663" y="36391"/>
                  <a:pt x="278403" y="31581"/>
                  <a:pt x="270275" y="26771"/>
                </a:cubicBezTo>
                <a:cubicBezTo>
                  <a:pt x="266626" y="24283"/>
                  <a:pt x="258830" y="21132"/>
                  <a:pt x="251532" y="17482"/>
                </a:cubicBezTo>
                <a:cubicBezTo>
                  <a:pt x="241415" y="19307"/>
                  <a:pt x="212885" y="8857"/>
                  <a:pt x="193976" y="11179"/>
                </a:cubicBezTo>
                <a:cubicBezTo>
                  <a:pt x="175067" y="13502"/>
                  <a:pt x="109383" y="8194"/>
                  <a:pt x="84337" y="10184"/>
                </a:cubicBezTo>
                <a:cubicBezTo>
                  <a:pt x="59291" y="12175"/>
                  <a:pt x="57798" y="-100"/>
                  <a:pt x="44197" y="-100"/>
                </a:cubicBezTo>
                <a:cubicBezTo>
                  <a:pt x="30596" y="-100"/>
                  <a:pt x="36235" y="16487"/>
                  <a:pt x="16663" y="16487"/>
                </a:cubicBezTo>
                <a:cubicBezTo>
                  <a:pt x="-2910" y="16487"/>
                  <a:pt x="-5066" y="29259"/>
                  <a:pt x="9199" y="40704"/>
                </a:cubicBezTo>
                <a:cubicBezTo>
                  <a:pt x="17326" y="47007"/>
                  <a:pt x="16331" y="60608"/>
                  <a:pt x="15170" y="73048"/>
                </a:cubicBezTo>
                <a:cubicBezTo>
                  <a:pt x="18487" y="72932"/>
                  <a:pt x="21672" y="71638"/>
                  <a:pt x="24127" y="69399"/>
                </a:cubicBezTo>
                <a:cubicBezTo>
                  <a:pt x="30098" y="62267"/>
                  <a:pt x="36069" y="63428"/>
                  <a:pt x="36069" y="70560"/>
                </a:cubicBezTo>
                <a:cubicBezTo>
                  <a:pt x="36069" y="77693"/>
                  <a:pt x="49173" y="75370"/>
                  <a:pt x="56305" y="75370"/>
                </a:cubicBezTo>
                <a:cubicBezTo>
                  <a:pt x="63438" y="75370"/>
                  <a:pt x="61115" y="81342"/>
                  <a:pt x="69575" y="75370"/>
                </a:cubicBezTo>
                <a:cubicBezTo>
                  <a:pt x="78034" y="69399"/>
                  <a:pt x="89811" y="71721"/>
                  <a:pt x="89811" y="78854"/>
                </a:cubicBezTo>
                <a:cubicBezTo>
                  <a:pt x="89811" y="85986"/>
                  <a:pt x="107724" y="82503"/>
                  <a:pt x="98270" y="92123"/>
                </a:cubicBezTo>
                <a:cubicBezTo>
                  <a:pt x="88815" y="101744"/>
                  <a:pt x="76707" y="104066"/>
                  <a:pt x="76707" y="111198"/>
                </a:cubicBezTo>
                <a:cubicBezTo>
                  <a:pt x="76707" y="118330"/>
                  <a:pt x="87489" y="133922"/>
                  <a:pt x="79029" y="142215"/>
                </a:cubicBezTo>
                <a:cubicBezTo>
                  <a:pt x="70570" y="150509"/>
                  <a:pt x="81517" y="164939"/>
                  <a:pt x="73058" y="164939"/>
                </a:cubicBezTo>
                <a:cubicBezTo>
                  <a:pt x="64599" y="164939"/>
                  <a:pt x="55144" y="168589"/>
                  <a:pt x="64764" y="178043"/>
                </a:cubicBezTo>
                <a:cubicBezTo>
                  <a:pt x="74385" y="187498"/>
                  <a:pt x="81351" y="196122"/>
                  <a:pt x="74219" y="196122"/>
                </a:cubicBezTo>
                <a:cubicBezTo>
                  <a:pt x="67087" y="196122"/>
                  <a:pt x="62276" y="210387"/>
                  <a:pt x="65926" y="214036"/>
                </a:cubicBezTo>
                <a:cubicBezTo>
                  <a:pt x="69575" y="217685"/>
                  <a:pt x="86162" y="228301"/>
                  <a:pt x="73058" y="230623"/>
                </a:cubicBezTo>
                <a:cubicBezTo>
                  <a:pt x="59955" y="232945"/>
                  <a:pt x="59955" y="243727"/>
                  <a:pt x="59955" y="250859"/>
                </a:cubicBezTo>
                <a:cubicBezTo>
                  <a:pt x="60684" y="254840"/>
                  <a:pt x="62326" y="258589"/>
                  <a:pt x="64764" y="261806"/>
                </a:cubicBezTo>
                <a:cubicBezTo>
                  <a:pt x="70653" y="260347"/>
                  <a:pt x="76856" y="260761"/>
                  <a:pt x="82512" y="262968"/>
                </a:cubicBezTo>
                <a:cubicBezTo>
                  <a:pt x="96114" y="269437"/>
                  <a:pt x="104241" y="303605"/>
                  <a:pt x="122653" y="301283"/>
                </a:cubicBezTo>
                <a:cubicBezTo>
                  <a:pt x="130614" y="300288"/>
                  <a:pt x="126633" y="294483"/>
                  <a:pt x="130614" y="290502"/>
                </a:cubicBezTo>
                <a:cubicBezTo>
                  <a:pt x="134595" y="286521"/>
                  <a:pt x="141894" y="289506"/>
                  <a:pt x="149689" y="289506"/>
                </a:cubicBezTo>
                <a:cubicBezTo>
                  <a:pt x="157485" y="289506"/>
                  <a:pt x="161631" y="278228"/>
                  <a:pt x="180209" y="277730"/>
                </a:cubicBezTo>
                <a:cubicBezTo>
                  <a:pt x="198786" y="277232"/>
                  <a:pt x="210729" y="275739"/>
                  <a:pt x="222505" y="276237"/>
                </a:cubicBezTo>
                <a:cubicBezTo>
                  <a:pt x="234282" y="276735"/>
                  <a:pt x="243570" y="272920"/>
                  <a:pt x="246556" y="264460"/>
                </a:cubicBezTo>
                <a:cubicBezTo>
                  <a:pt x="251466" y="254359"/>
                  <a:pt x="261401" y="247658"/>
                  <a:pt x="272597" y="246878"/>
                </a:cubicBezTo>
                <a:cubicBezTo>
                  <a:pt x="285867" y="244888"/>
                  <a:pt x="283877" y="231121"/>
                  <a:pt x="284872" y="223159"/>
                </a:cubicBezTo>
                <a:cubicBezTo>
                  <a:pt x="285867" y="215197"/>
                  <a:pt x="307927" y="203587"/>
                  <a:pt x="309420" y="197615"/>
                </a:cubicBezTo>
                <a:cubicBezTo>
                  <a:pt x="310913" y="191644"/>
                  <a:pt x="296648" y="169252"/>
                  <a:pt x="309420" y="149016"/>
                </a:cubicBezTo>
                <a:cubicBezTo>
                  <a:pt x="322192" y="128780"/>
                  <a:pt x="336954" y="127951"/>
                  <a:pt x="336954" y="115842"/>
                </a:cubicBezTo>
                <a:cubicBezTo>
                  <a:pt x="336954" y="103734"/>
                  <a:pt x="350722" y="101744"/>
                  <a:pt x="367474" y="99255"/>
                </a:cubicBezTo>
                <a:cubicBezTo>
                  <a:pt x="384227" y="96768"/>
                  <a:pt x="389535" y="85986"/>
                  <a:pt x="403799" y="80015"/>
                </a:cubicBezTo>
                <a:cubicBezTo>
                  <a:pt x="414763" y="76581"/>
                  <a:pt x="421299" y="65369"/>
                  <a:pt x="418893" y="54139"/>
                </a:cubicBezTo>
                <a:close/>
                <a:moveTo>
                  <a:pt x="421713" y="161456"/>
                </a:moveTo>
                <a:cubicBezTo>
                  <a:pt x="419391" y="144869"/>
                  <a:pt x="385554" y="166432"/>
                  <a:pt x="392852" y="171242"/>
                </a:cubicBezTo>
                <a:cubicBezTo>
                  <a:pt x="407614" y="181194"/>
                  <a:pt x="424201" y="178209"/>
                  <a:pt x="421713" y="161456"/>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516" name="Freeform: Shape 515">
            <a:extLst>
              <a:ext uri="{FF2B5EF4-FFF2-40B4-BE49-F238E27FC236}">
                <a16:creationId xmlns:a16="http://schemas.microsoft.com/office/drawing/2014/main" id="{C6D335A5-E0E3-4A44-8C2C-CF9D575312C8}"/>
              </a:ext>
            </a:extLst>
          </p:cNvPr>
          <p:cNvSpPr/>
          <p:nvPr/>
        </p:nvSpPr>
        <p:spPr>
          <a:xfrm>
            <a:off x="4693120" y="2614808"/>
            <a:ext cx="277842" cy="133026"/>
          </a:xfrm>
          <a:custGeom>
            <a:avLst/>
            <a:gdLst>
              <a:gd name="connsiteX0" fmla="*/ 297415 w 350427"/>
              <a:gd name="connsiteY0" fmla="*/ 124479 h 171062"/>
              <a:gd name="connsiteX1" fmla="*/ 323954 w 350427"/>
              <a:gd name="connsiteY1" fmla="*/ 103414 h 171062"/>
              <a:gd name="connsiteX2" fmla="*/ 349498 w 350427"/>
              <a:gd name="connsiteY2" fmla="*/ 78865 h 171062"/>
              <a:gd name="connsiteX3" fmla="*/ 334902 w 350427"/>
              <a:gd name="connsiteY3" fmla="*/ 51828 h 171062"/>
              <a:gd name="connsiteX4" fmla="*/ 332911 w 350427"/>
              <a:gd name="connsiteY4" fmla="*/ 51331 h 171062"/>
              <a:gd name="connsiteX5" fmla="*/ 314666 w 350427"/>
              <a:gd name="connsiteY5" fmla="*/ 34744 h 171062"/>
              <a:gd name="connsiteX6" fmla="*/ 308860 w 350427"/>
              <a:gd name="connsiteY6" fmla="*/ 14176 h 171062"/>
              <a:gd name="connsiteX7" fmla="*/ 286136 w 350427"/>
              <a:gd name="connsiteY7" fmla="*/ 15669 h 171062"/>
              <a:gd name="connsiteX8" fmla="*/ 254289 w 350427"/>
              <a:gd name="connsiteY8" fmla="*/ 409 h 171062"/>
              <a:gd name="connsiteX9" fmla="*/ 250309 w 350427"/>
              <a:gd name="connsiteY9" fmla="*/ 20479 h 171062"/>
              <a:gd name="connsiteX10" fmla="*/ 230736 w 350427"/>
              <a:gd name="connsiteY10" fmla="*/ 21972 h 171062"/>
              <a:gd name="connsiteX11" fmla="*/ 217467 w 350427"/>
              <a:gd name="connsiteY11" fmla="*/ 21972 h 171062"/>
              <a:gd name="connsiteX12" fmla="*/ 198226 w 350427"/>
              <a:gd name="connsiteY12" fmla="*/ 24958 h 171062"/>
              <a:gd name="connsiteX13" fmla="*/ 181639 w 350427"/>
              <a:gd name="connsiteY13" fmla="*/ 18987 h 171062"/>
              <a:gd name="connsiteX14" fmla="*/ 159579 w 350427"/>
              <a:gd name="connsiteY14" fmla="*/ 34246 h 171062"/>
              <a:gd name="connsiteX15" fmla="*/ 146309 w 350427"/>
              <a:gd name="connsiteY15" fmla="*/ 27446 h 171062"/>
              <a:gd name="connsiteX16" fmla="*/ 131049 w 350427"/>
              <a:gd name="connsiteY16" fmla="*/ 37730 h 171062"/>
              <a:gd name="connsiteX17" fmla="*/ 126737 w 350427"/>
              <a:gd name="connsiteY17" fmla="*/ 52990 h 171062"/>
              <a:gd name="connsiteX18" fmla="*/ 105008 w 350427"/>
              <a:gd name="connsiteY18" fmla="*/ 62776 h 171062"/>
              <a:gd name="connsiteX19" fmla="*/ 96217 w 350427"/>
              <a:gd name="connsiteY19" fmla="*/ 36237 h 171062"/>
              <a:gd name="connsiteX20" fmla="*/ 45627 w 350427"/>
              <a:gd name="connsiteY20" fmla="*/ 3063 h 171062"/>
              <a:gd name="connsiteX21" fmla="*/ 50603 w 350427"/>
              <a:gd name="connsiteY21" fmla="*/ 21641 h 171062"/>
              <a:gd name="connsiteX22" fmla="*/ 38163 w 350427"/>
              <a:gd name="connsiteY22" fmla="*/ 20645 h 171062"/>
              <a:gd name="connsiteX23" fmla="*/ 16600 w 350427"/>
              <a:gd name="connsiteY23" fmla="*/ 29105 h 171062"/>
              <a:gd name="connsiteX24" fmla="*/ 14 w 350427"/>
              <a:gd name="connsiteY24" fmla="*/ 51165 h 171062"/>
              <a:gd name="connsiteX25" fmla="*/ 32026 w 350427"/>
              <a:gd name="connsiteY25" fmla="*/ 58961 h 171062"/>
              <a:gd name="connsiteX26" fmla="*/ 72332 w 350427"/>
              <a:gd name="connsiteY26" fmla="*/ 58961 h 171062"/>
              <a:gd name="connsiteX27" fmla="*/ 65863 w 350427"/>
              <a:gd name="connsiteY27" fmla="*/ 75548 h 171062"/>
              <a:gd name="connsiteX28" fmla="*/ 49276 w 350427"/>
              <a:gd name="connsiteY28" fmla="*/ 84836 h 171062"/>
              <a:gd name="connsiteX29" fmla="*/ 11459 w 350427"/>
              <a:gd name="connsiteY29" fmla="*/ 95286 h 171062"/>
              <a:gd name="connsiteX30" fmla="*/ 59560 w 350427"/>
              <a:gd name="connsiteY30" fmla="*/ 96281 h 171062"/>
              <a:gd name="connsiteX31" fmla="*/ 71337 w 350427"/>
              <a:gd name="connsiteY31" fmla="*/ 108555 h 171062"/>
              <a:gd name="connsiteX32" fmla="*/ 81123 w 350427"/>
              <a:gd name="connsiteY32" fmla="*/ 119835 h 171062"/>
              <a:gd name="connsiteX33" fmla="*/ 69844 w 350427"/>
              <a:gd name="connsiteY33" fmla="*/ 135094 h 171062"/>
              <a:gd name="connsiteX34" fmla="*/ 53257 w 350427"/>
              <a:gd name="connsiteY34" fmla="*/ 145876 h 171062"/>
              <a:gd name="connsiteX35" fmla="*/ 95553 w 350427"/>
              <a:gd name="connsiteY35" fmla="*/ 144383 h 171062"/>
              <a:gd name="connsiteX36" fmla="*/ 155930 w 350427"/>
              <a:gd name="connsiteY36" fmla="*/ 168434 h 171062"/>
              <a:gd name="connsiteX37" fmla="*/ 213486 w 350427"/>
              <a:gd name="connsiteY37" fmla="*/ 155164 h 171062"/>
              <a:gd name="connsiteX38" fmla="*/ 254787 w 350427"/>
              <a:gd name="connsiteY38" fmla="*/ 141397 h 171062"/>
              <a:gd name="connsiteX39" fmla="*/ 297415 w 350427"/>
              <a:gd name="connsiteY39" fmla="*/ 124479 h 17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0427" h="171062">
                <a:moveTo>
                  <a:pt x="297415" y="124479"/>
                </a:moveTo>
                <a:cubicBezTo>
                  <a:pt x="316656" y="124479"/>
                  <a:pt x="316159" y="102418"/>
                  <a:pt x="323954" y="103414"/>
                </a:cubicBezTo>
                <a:cubicBezTo>
                  <a:pt x="331750" y="104409"/>
                  <a:pt x="344688" y="88651"/>
                  <a:pt x="349498" y="78865"/>
                </a:cubicBezTo>
                <a:cubicBezTo>
                  <a:pt x="352931" y="67370"/>
                  <a:pt x="346396" y="55262"/>
                  <a:pt x="334902" y="51828"/>
                </a:cubicBezTo>
                <a:cubicBezTo>
                  <a:pt x="334238" y="51630"/>
                  <a:pt x="333574" y="51464"/>
                  <a:pt x="332911" y="51331"/>
                </a:cubicBezTo>
                <a:cubicBezTo>
                  <a:pt x="320968" y="51331"/>
                  <a:pt x="312177" y="42042"/>
                  <a:pt x="314666" y="34744"/>
                </a:cubicBezTo>
                <a:cubicBezTo>
                  <a:pt x="317154" y="27446"/>
                  <a:pt x="308363" y="18157"/>
                  <a:pt x="308860" y="14176"/>
                </a:cubicBezTo>
                <a:cubicBezTo>
                  <a:pt x="309358" y="10196"/>
                  <a:pt x="294098" y="14176"/>
                  <a:pt x="286136" y="15669"/>
                </a:cubicBezTo>
                <a:cubicBezTo>
                  <a:pt x="278175" y="17162"/>
                  <a:pt x="261588" y="-3571"/>
                  <a:pt x="254289" y="409"/>
                </a:cubicBezTo>
                <a:cubicBezTo>
                  <a:pt x="246991" y="4390"/>
                  <a:pt x="252299" y="14674"/>
                  <a:pt x="250309" y="20479"/>
                </a:cubicBezTo>
                <a:cubicBezTo>
                  <a:pt x="248318" y="26285"/>
                  <a:pt x="230736" y="15172"/>
                  <a:pt x="230736" y="21972"/>
                </a:cubicBezTo>
                <a:cubicBezTo>
                  <a:pt x="230736" y="28773"/>
                  <a:pt x="223272" y="29934"/>
                  <a:pt x="217467" y="21972"/>
                </a:cubicBezTo>
                <a:cubicBezTo>
                  <a:pt x="211661" y="14011"/>
                  <a:pt x="197728" y="18987"/>
                  <a:pt x="198226" y="24958"/>
                </a:cubicBezTo>
                <a:cubicBezTo>
                  <a:pt x="198723" y="30929"/>
                  <a:pt x="192420" y="25953"/>
                  <a:pt x="181639" y="18987"/>
                </a:cubicBezTo>
                <a:cubicBezTo>
                  <a:pt x="170858" y="12020"/>
                  <a:pt x="158584" y="26948"/>
                  <a:pt x="159579" y="34246"/>
                </a:cubicBezTo>
                <a:cubicBezTo>
                  <a:pt x="160574" y="41545"/>
                  <a:pt x="155598" y="43535"/>
                  <a:pt x="146309" y="27446"/>
                </a:cubicBezTo>
                <a:cubicBezTo>
                  <a:pt x="137020" y="11357"/>
                  <a:pt x="126239" y="28939"/>
                  <a:pt x="131049" y="37730"/>
                </a:cubicBezTo>
                <a:cubicBezTo>
                  <a:pt x="135860" y="46521"/>
                  <a:pt x="134035" y="57302"/>
                  <a:pt x="126737" y="52990"/>
                </a:cubicBezTo>
                <a:cubicBezTo>
                  <a:pt x="119438" y="48677"/>
                  <a:pt x="110150" y="55975"/>
                  <a:pt x="105008" y="62776"/>
                </a:cubicBezTo>
                <a:cubicBezTo>
                  <a:pt x="99866" y="69577"/>
                  <a:pt x="84938" y="42706"/>
                  <a:pt x="96217" y="36237"/>
                </a:cubicBezTo>
                <a:cubicBezTo>
                  <a:pt x="107496" y="29768"/>
                  <a:pt x="60389" y="3063"/>
                  <a:pt x="45627" y="3063"/>
                </a:cubicBezTo>
                <a:cubicBezTo>
                  <a:pt x="30865" y="3063"/>
                  <a:pt x="40651" y="13845"/>
                  <a:pt x="50603" y="21641"/>
                </a:cubicBezTo>
                <a:cubicBezTo>
                  <a:pt x="60555" y="29436"/>
                  <a:pt x="43637" y="27612"/>
                  <a:pt x="38163" y="20645"/>
                </a:cubicBezTo>
                <a:cubicBezTo>
                  <a:pt x="32690" y="13679"/>
                  <a:pt x="22571" y="19152"/>
                  <a:pt x="16600" y="29105"/>
                </a:cubicBezTo>
                <a:cubicBezTo>
                  <a:pt x="10629" y="39057"/>
                  <a:pt x="843" y="44364"/>
                  <a:pt x="14" y="51165"/>
                </a:cubicBezTo>
                <a:cubicBezTo>
                  <a:pt x="-816" y="57966"/>
                  <a:pt x="16600" y="65430"/>
                  <a:pt x="32026" y="58961"/>
                </a:cubicBezTo>
                <a:cubicBezTo>
                  <a:pt x="44582" y="52061"/>
                  <a:pt x="59776" y="52061"/>
                  <a:pt x="72332" y="58961"/>
                </a:cubicBezTo>
                <a:cubicBezTo>
                  <a:pt x="80128" y="66425"/>
                  <a:pt x="58067" y="69410"/>
                  <a:pt x="65863" y="75548"/>
                </a:cubicBezTo>
                <a:cubicBezTo>
                  <a:pt x="73659" y="81685"/>
                  <a:pt x="67356" y="86329"/>
                  <a:pt x="49276" y="84836"/>
                </a:cubicBezTo>
                <a:cubicBezTo>
                  <a:pt x="31197" y="83343"/>
                  <a:pt x="7975" y="88817"/>
                  <a:pt x="11459" y="95286"/>
                </a:cubicBezTo>
                <a:cubicBezTo>
                  <a:pt x="14942" y="101755"/>
                  <a:pt x="59063" y="89812"/>
                  <a:pt x="59560" y="96281"/>
                </a:cubicBezTo>
                <a:cubicBezTo>
                  <a:pt x="60058" y="102750"/>
                  <a:pt x="59560" y="112868"/>
                  <a:pt x="71337" y="108555"/>
                </a:cubicBezTo>
                <a:cubicBezTo>
                  <a:pt x="83113" y="104243"/>
                  <a:pt x="75317" y="117346"/>
                  <a:pt x="81123" y="119835"/>
                </a:cubicBezTo>
                <a:cubicBezTo>
                  <a:pt x="86928" y="122323"/>
                  <a:pt x="85602" y="134099"/>
                  <a:pt x="69844" y="135094"/>
                </a:cubicBezTo>
                <a:cubicBezTo>
                  <a:pt x="54086" y="136090"/>
                  <a:pt x="46456" y="139075"/>
                  <a:pt x="53257" y="145876"/>
                </a:cubicBezTo>
                <a:cubicBezTo>
                  <a:pt x="60058" y="152676"/>
                  <a:pt x="78801" y="148364"/>
                  <a:pt x="95553" y="144383"/>
                </a:cubicBezTo>
                <a:cubicBezTo>
                  <a:pt x="112306" y="140402"/>
                  <a:pt x="136357" y="160970"/>
                  <a:pt x="155930" y="168434"/>
                </a:cubicBezTo>
                <a:cubicBezTo>
                  <a:pt x="175502" y="175898"/>
                  <a:pt x="209505" y="165448"/>
                  <a:pt x="213486" y="155164"/>
                </a:cubicBezTo>
                <a:cubicBezTo>
                  <a:pt x="217467" y="144881"/>
                  <a:pt x="244006" y="148696"/>
                  <a:pt x="254787" y="141397"/>
                </a:cubicBezTo>
                <a:cubicBezTo>
                  <a:pt x="267227" y="132042"/>
                  <a:pt x="281956" y="126204"/>
                  <a:pt x="297415" y="12447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17" name="Freeform: Shape 516">
            <a:extLst>
              <a:ext uri="{FF2B5EF4-FFF2-40B4-BE49-F238E27FC236}">
                <a16:creationId xmlns:a16="http://schemas.microsoft.com/office/drawing/2014/main" id="{D09505B7-BE81-41DE-83E5-BF70A009A038}"/>
              </a:ext>
            </a:extLst>
          </p:cNvPr>
          <p:cNvSpPr/>
          <p:nvPr/>
        </p:nvSpPr>
        <p:spPr>
          <a:xfrm>
            <a:off x="5057413" y="3067159"/>
            <a:ext cx="111251" cy="127972"/>
          </a:xfrm>
          <a:custGeom>
            <a:avLst/>
            <a:gdLst>
              <a:gd name="connsiteX0" fmla="*/ 130709 w 140315"/>
              <a:gd name="connsiteY0" fmla="*/ 50181 h 164563"/>
              <a:gd name="connsiteX1" fmla="*/ 119762 w 140315"/>
              <a:gd name="connsiteY1" fmla="*/ 40229 h 164563"/>
              <a:gd name="connsiteX2" fmla="*/ 100521 w 140315"/>
              <a:gd name="connsiteY2" fmla="*/ 46034 h 164563"/>
              <a:gd name="connsiteX3" fmla="*/ 79622 w 140315"/>
              <a:gd name="connsiteY3" fmla="*/ 41722 h 164563"/>
              <a:gd name="connsiteX4" fmla="*/ 87086 w 140315"/>
              <a:gd name="connsiteY4" fmla="*/ 22315 h 164563"/>
              <a:gd name="connsiteX5" fmla="*/ 96209 w 140315"/>
              <a:gd name="connsiteY5" fmla="*/ 3406 h 164563"/>
              <a:gd name="connsiteX6" fmla="*/ 92062 w 140315"/>
              <a:gd name="connsiteY6" fmla="*/ 3406 h 164563"/>
              <a:gd name="connsiteX7" fmla="*/ 58889 w 140315"/>
              <a:gd name="connsiteY7" fmla="*/ 10207 h 164563"/>
              <a:gd name="connsiteX8" fmla="*/ 74646 w 140315"/>
              <a:gd name="connsiteY8" fmla="*/ 25964 h 164563"/>
              <a:gd name="connsiteX9" fmla="*/ 47609 w 140315"/>
              <a:gd name="connsiteY9" fmla="*/ 39731 h 164563"/>
              <a:gd name="connsiteX10" fmla="*/ 12280 w 140315"/>
              <a:gd name="connsiteY10" fmla="*/ 39731 h 164563"/>
              <a:gd name="connsiteX11" fmla="*/ 16260 w 140315"/>
              <a:gd name="connsiteY11" fmla="*/ 64778 h 164563"/>
              <a:gd name="connsiteX12" fmla="*/ 31354 w 140315"/>
              <a:gd name="connsiteY12" fmla="*/ 88331 h 164563"/>
              <a:gd name="connsiteX13" fmla="*/ 22563 w 140315"/>
              <a:gd name="connsiteY13" fmla="*/ 116363 h 164563"/>
              <a:gd name="connsiteX14" fmla="*/ 503 w 140315"/>
              <a:gd name="connsiteY14" fmla="*/ 137925 h 164563"/>
              <a:gd name="connsiteX15" fmla="*/ 33676 w 140315"/>
              <a:gd name="connsiteY15" fmla="*/ 164464 h 164563"/>
              <a:gd name="connsiteX16" fmla="*/ 91233 w 140315"/>
              <a:gd name="connsiteY16" fmla="*/ 140911 h 164563"/>
              <a:gd name="connsiteX17" fmla="*/ 132037 w 140315"/>
              <a:gd name="connsiteY17" fmla="*/ 132618 h 164563"/>
              <a:gd name="connsiteX18" fmla="*/ 132037 w 140315"/>
              <a:gd name="connsiteY18" fmla="*/ 55489 h 164563"/>
              <a:gd name="connsiteX19" fmla="*/ 130709 w 140315"/>
              <a:gd name="connsiteY19" fmla="*/ 50181 h 16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0315" h="164563">
                <a:moveTo>
                  <a:pt x="130709" y="50181"/>
                </a:moveTo>
                <a:cubicBezTo>
                  <a:pt x="126729" y="47245"/>
                  <a:pt x="123063" y="43911"/>
                  <a:pt x="119762" y="40229"/>
                </a:cubicBezTo>
                <a:cubicBezTo>
                  <a:pt x="107156" y="25301"/>
                  <a:pt x="101848" y="37243"/>
                  <a:pt x="100521" y="46034"/>
                </a:cubicBezTo>
                <a:cubicBezTo>
                  <a:pt x="99194" y="54825"/>
                  <a:pt x="87086" y="43215"/>
                  <a:pt x="79622" y="41722"/>
                </a:cubicBezTo>
                <a:cubicBezTo>
                  <a:pt x="72158" y="40229"/>
                  <a:pt x="81944" y="26130"/>
                  <a:pt x="87086" y="22315"/>
                </a:cubicBezTo>
                <a:cubicBezTo>
                  <a:pt x="92095" y="17173"/>
                  <a:pt x="95296" y="10539"/>
                  <a:pt x="96209" y="3406"/>
                </a:cubicBezTo>
                <a:cubicBezTo>
                  <a:pt x="94832" y="3655"/>
                  <a:pt x="93439" y="3655"/>
                  <a:pt x="92062" y="3406"/>
                </a:cubicBezTo>
                <a:cubicBezTo>
                  <a:pt x="78295" y="-2067"/>
                  <a:pt x="58889" y="-2067"/>
                  <a:pt x="58889" y="10207"/>
                </a:cubicBezTo>
                <a:cubicBezTo>
                  <a:pt x="58889" y="22481"/>
                  <a:pt x="74148" y="18169"/>
                  <a:pt x="74646" y="25964"/>
                </a:cubicBezTo>
                <a:cubicBezTo>
                  <a:pt x="75143" y="33760"/>
                  <a:pt x="58889" y="31935"/>
                  <a:pt x="47609" y="39731"/>
                </a:cubicBezTo>
                <a:cubicBezTo>
                  <a:pt x="36330" y="47527"/>
                  <a:pt x="24056" y="34424"/>
                  <a:pt x="12280" y="39731"/>
                </a:cubicBezTo>
                <a:cubicBezTo>
                  <a:pt x="503" y="45039"/>
                  <a:pt x="25051" y="52503"/>
                  <a:pt x="16260" y="64778"/>
                </a:cubicBezTo>
                <a:cubicBezTo>
                  <a:pt x="7469" y="77052"/>
                  <a:pt x="16260" y="76554"/>
                  <a:pt x="31354" y="88331"/>
                </a:cubicBezTo>
                <a:cubicBezTo>
                  <a:pt x="46448" y="100107"/>
                  <a:pt x="22563" y="103093"/>
                  <a:pt x="22563" y="116363"/>
                </a:cubicBezTo>
                <a:cubicBezTo>
                  <a:pt x="22563" y="129632"/>
                  <a:pt x="4484" y="129134"/>
                  <a:pt x="503" y="137925"/>
                </a:cubicBezTo>
                <a:cubicBezTo>
                  <a:pt x="-3478" y="146717"/>
                  <a:pt x="16260" y="164464"/>
                  <a:pt x="33676" y="164464"/>
                </a:cubicBezTo>
                <a:cubicBezTo>
                  <a:pt x="54858" y="162855"/>
                  <a:pt x="74994" y="154612"/>
                  <a:pt x="91233" y="140911"/>
                </a:cubicBezTo>
                <a:cubicBezTo>
                  <a:pt x="107819" y="124324"/>
                  <a:pt x="116776" y="140911"/>
                  <a:pt x="132037" y="132618"/>
                </a:cubicBezTo>
                <a:cubicBezTo>
                  <a:pt x="147296" y="124324"/>
                  <a:pt x="137842" y="67266"/>
                  <a:pt x="132037" y="55489"/>
                </a:cubicBezTo>
                <a:cubicBezTo>
                  <a:pt x="130859" y="53996"/>
                  <a:pt x="130361" y="52056"/>
                  <a:pt x="130709" y="5018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18" name="Freeform: Shape 517">
            <a:extLst>
              <a:ext uri="{FF2B5EF4-FFF2-40B4-BE49-F238E27FC236}">
                <a16:creationId xmlns:a16="http://schemas.microsoft.com/office/drawing/2014/main" id="{7D6A3A16-3C32-44E3-B692-799A5DE6F192}"/>
              </a:ext>
            </a:extLst>
          </p:cNvPr>
          <p:cNvSpPr/>
          <p:nvPr/>
        </p:nvSpPr>
        <p:spPr>
          <a:xfrm>
            <a:off x="5118464" y="2855561"/>
            <a:ext cx="261186" cy="392045"/>
          </a:xfrm>
          <a:custGeom>
            <a:avLst/>
            <a:gdLst>
              <a:gd name="connsiteX0" fmla="*/ 60677 w 329420"/>
              <a:gd name="connsiteY0" fmla="*/ 268373 h 504140"/>
              <a:gd name="connsiteX1" fmla="*/ 19210 w 329420"/>
              <a:gd name="connsiteY1" fmla="*/ 275008 h 504140"/>
              <a:gd name="connsiteX2" fmla="*/ 10087 w 329420"/>
              <a:gd name="connsiteY2" fmla="*/ 293917 h 504140"/>
              <a:gd name="connsiteX3" fmla="*/ 2623 w 329420"/>
              <a:gd name="connsiteY3" fmla="*/ 313324 h 504140"/>
              <a:gd name="connsiteX4" fmla="*/ 23522 w 329420"/>
              <a:gd name="connsiteY4" fmla="*/ 317636 h 504140"/>
              <a:gd name="connsiteX5" fmla="*/ 42763 w 329420"/>
              <a:gd name="connsiteY5" fmla="*/ 311831 h 504140"/>
              <a:gd name="connsiteX6" fmla="*/ 53710 w 329420"/>
              <a:gd name="connsiteY6" fmla="*/ 321783 h 504140"/>
              <a:gd name="connsiteX7" fmla="*/ 79420 w 329420"/>
              <a:gd name="connsiteY7" fmla="*/ 305196 h 504140"/>
              <a:gd name="connsiteX8" fmla="*/ 60677 w 329420"/>
              <a:gd name="connsiteY8" fmla="*/ 268373 h 504140"/>
              <a:gd name="connsiteX9" fmla="*/ 329383 w 329420"/>
              <a:gd name="connsiteY9" fmla="*/ 390287 h 504140"/>
              <a:gd name="connsiteX10" fmla="*/ 294551 w 329420"/>
              <a:gd name="connsiteY10" fmla="*/ 373700 h 504140"/>
              <a:gd name="connsiteX11" fmla="*/ 277964 w 329420"/>
              <a:gd name="connsiteY11" fmla="*/ 371709 h 504140"/>
              <a:gd name="connsiteX12" fmla="*/ 277964 w 329420"/>
              <a:gd name="connsiteY12" fmla="*/ 353630 h 504140"/>
              <a:gd name="connsiteX13" fmla="*/ 267183 w 329420"/>
              <a:gd name="connsiteY13" fmla="*/ 335384 h 504140"/>
              <a:gd name="connsiteX14" fmla="*/ 242137 w 329420"/>
              <a:gd name="connsiteY14" fmla="*/ 295078 h 504140"/>
              <a:gd name="connsiteX15" fmla="*/ 220076 w 329420"/>
              <a:gd name="connsiteY15" fmla="*/ 254772 h 504140"/>
              <a:gd name="connsiteX16" fmla="*/ 198016 w 329420"/>
              <a:gd name="connsiteY16" fmla="*/ 238185 h 504140"/>
              <a:gd name="connsiteX17" fmla="*/ 167994 w 329420"/>
              <a:gd name="connsiteY17" fmla="*/ 233209 h 504140"/>
              <a:gd name="connsiteX18" fmla="*/ 179770 w 329420"/>
              <a:gd name="connsiteY18" fmla="*/ 211646 h 504140"/>
              <a:gd name="connsiteX19" fmla="*/ 205314 w 329420"/>
              <a:gd name="connsiteY19" fmla="*/ 153593 h 504140"/>
              <a:gd name="connsiteX20" fmla="*/ 143942 w 329420"/>
              <a:gd name="connsiteY20" fmla="*/ 150607 h 504140"/>
              <a:gd name="connsiteX21" fmla="*/ 132664 w 329420"/>
              <a:gd name="connsiteY21" fmla="*/ 139825 h 504140"/>
              <a:gd name="connsiteX22" fmla="*/ 157709 w 329420"/>
              <a:gd name="connsiteY22" fmla="*/ 112291 h 504140"/>
              <a:gd name="connsiteX23" fmla="*/ 162520 w 329420"/>
              <a:gd name="connsiteY23" fmla="*/ 92719 h 504140"/>
              <a:gd name="connsiteX24" fmla="*/ 147758 w 329420"/>
              <a:gd name="connsiteY24" fmla="*/ 105988 h 504140"/>
              <a:gd name="connsiteX25" fmla="*/ 111930 w 329420"/>
              <a:gd name="connsiteY25" fmla="*/ 105988 h 504140"/>
              <a:gd name="connsiteX26" fmla="*/ 91362 w 329420"/>
              <a:gd name="connsiteY26" fmla="*/ 134020 h 504140"/>
              <a:gd name="connsiteX27" fmla="*/ 76600 w 329420"/>
              <a:gd name="connsiteY27" fmla="*/ 156578 h 504140"/>
              <a:gd name="connsiteX28" fmla="*/ 68307 w 329420"/>
              <a:gd name="connsiteY28" fmla="*/ 165867 h 504140"/>
              <a:gd name="connsiteX29" fmla="*/ 48071 w 329420"/>
              <a:gd name="connsiteY29" fmla="*/ 158569 h 504140"/>
              <a:gd name="connsiteX30" fmla="*/ 72122 w 329420"/>
              <a:gd name="connsiteY30" fmla="*/ 178141 h 504140"/>
              <a:gd name="connsiteX31" fmla="*/ 59847 w 329420"/>
              <a:gd name="connsiteY31" fmla="*/ 202689 h 504140"/>
              <a:gd name="connsiteX32" fmla="*/ 77595 w 329420"/>
              <a:gd name="connsiteY32" fmla="*/ 220437 h 504140"/>
              <a:gd name="connsiteX33" fmla="*/ 50061 w 329420"/>
              <a:gd name="connsiteY33" fmla="*/ 241005 h 504140"/>
              <a:gd name="connsiteX34" fmla="*/ 73614 w 329420"/>
              <a:gd name="connsiteY34" fmla="*/ 232712 h 504140"/>
              <a:gd name="connsiteX35" fmla="*/ 87381 w 329420"/>
              <a:gd name="connsiteY35" fmla="*/ 252948 h 504140"/>
              <a:gd name="connsiteX36" fmla="*/ 106622 w 329420"/>
              <a:gd name="connsiteY36" fmla="*/ 226741 h 504140"/>
              <a:gd name="connsiteX37" fmla="*/ 109110 w 329420"/>
              <a:gd name="connsiteY37" fmla="*/ 249962 h 504140"/>
              <a:gd name="connsiteX38" fmla="*/ 97167 w 329420"/>
              <a:gd name="connsiteY38" fmla="*/ 283136 h 504140"/>
              <a:gd name="connsiteX39" fmla="*/ 144938 w 329420"/>
              <a:gd name="connsiteY39" fmla="*/ 278823 h 504140"/>
              <a:gd name="connsiteX40" fmla="*/ 153729 w 329420"/>
              <a:gd name="connsiteY40" fmla="*/ 288609 h 504140"/>
              <a:gd name="connsiteX41" fmla="*/ 151871 w 329420"/>
              <a:gd name="connsiteY41" fmla="*/ 304931 h 504140"/>
              <a:gd name="connsiteX42" fmla="*/ 159203 w 329420"/>
              <a:gd name="connsiteY42" fmla="*/ 309177 h 504140"/>
              <a:gd name="connsiteX43" fmla="*/ 167994 w 329420"/>
              <a:gd name="connsiteY43" fmla="*/ 321451 h 504140"/>
              <a:gd name="connsiteX44" fmla="*/ 165008 w 329420"/>
              <a:gd name="connsiteY44" fmla="*/ 351473 h 504140"/>
              <a:gd name="connsiteX45" fmla="*/ 131834 w 329420"/>
              <a:gd name="connsiteY45" fmla="*/ 352966 h 504140"/>
              <a:gd name="connsiteX46" fmla="*/ 121550 w 329420"/>
              <a:gd name="connsiteY46" fmla="*/ 358274 h 504140"/>
              <a:gd name="connsiteX47" fmla="*/ 111598 w 329420"/>
              <a:gd name="connsiteY47" fmla="*/ 379008 h 504140"/>
              <a:gd name="connsiteX48" fmla="*/ 131336 w 329420"/>
              <a:gd name="connsiteY48" fmla="*/ 391779 h 504140"/>
              <a:gd name="connsiteX49" fmla="*/ 99324 w 329420"/>
              <a:gd name="connsiteY49" fmla="*/ 414338 h 504140"/>
              <a:gd name="connsiteX50" fmla="*/ 112096 w 329420"/>
              <a:gd name="connsiteY50" fmla="*/ 428105 h 504140"/>
              <a:gd name="connsiteX51" fmla="*/ 131834 w 329420"/>
              <a:gd name="connsiteY51" fmla="*/ 432583 h 504140"/>
              <a:gd name="connsiteX52" fmla="*/ 166666 w 329420"/>
              <a:gd name="connsiteY52" fmla="*/ 437393 h 504140"/>
              <a:gd name="connsiteX53" fmla="*/ 169652 w 329420"/>
              <a:gd name="connsiteY53" fmla="*/ 445852 h 504140"/>
              <a:gd name="connsiteX54" fmla="*/ 132829 w 329420"/>
              <a:gd name="connsiteY54" fmla="*/ 450663 h 504140"/>
              <a:gd name="connsiteX55" fmla="*/ 90533 w 329420"/>
              <a:gd name="connsiteY55" fmla="*/ 502745 h 504140"/>
              <a:gd name="connsiteX56" fmla="*/ 115082 w 329420"/>
              <a:gd name="connsiteY56" fmla="*/ 488978 h 504140"/>
              <a:gd name="connsiteX57" fmla="*/ 139630 w 329420"/>
              <a:gd name="connsiteY57" fmla="*/ 493954 h 504140"/>
              <a:gd name="connsiteX58" fmla="*/ 154392 w 329420"/>
              <a:gd name="connsiteY58" fmla="*/ 479192 h 504140"/>
              <a:gd name="connsiteX59" fmla="*/ 178443 w 329420"/>
              <a:gd name="connsiteY59" fmla="*/ 475709 h 504140"/>
              <a:gd name="connsiteX60" fmla="*/ 204484 w 329420"/>
              <a:gd name="connsiteY60" fmla="*/ 468411 h 504140"/>
              <a:gd name="connsiteX61" fmla="*/ 231023 w 329420"/>
              <a:gd name="connsiteY61" fmla="*/ 474714 h 504140"/>
              <a:gd name="connsiteX62" fmla="*/ 268344 w 329420"/>
              <a:gd name="connsiteY62" fmla="*/ 467913 h 504140"/>
              <a:gd name="connsiteX63" fmla="*/ 314621 w 329420"/>
              <a:gd name="connsiteY63" fmla="*/ 448672 h 504140"/>
              <a:gd name="connsiteX64" fmla="*/ 300356 w 329420"/>
              <a:gd name="connsiteY64" fmla="*/ 441872 h 504140"/>
              <a:gd name="connsiteX65" fmla="*/ 302844 w 329420"/>
              <a:gd name="connsiteY65" fmla="*/ 422133 h 504140"/>
              <a:gd name="connsiteX66" fmla="*/ 329383 w 329420"/>
              <a:gd name="connsiteY66" fmla="*/ 390287 h 504140"/>
              <a:gd name="connsiteX67" fmla="*/ 34138 w 329420"/>
              <a:gd name="connsiteY67" fmla="*/ 143640 h 504140"/>
              <a:gd name="connsiteX68" fmla="*/ 56364 w 329420"/>
              <a:gd name="connsiteY68" fmla="*/ 114116 h 504140"/>
              <a:gd name="connsiteX69" fmla="*/ 34138 w 329420"/>
              <a:gd name="connsiteY69" fmla="*/ 143640 h 504140"/>
              <a:gd name="connsiteX70" fmla="*/ 224389 w 329420"/>
              <a:gd name="connsiteY70" fmla="*/ 36987 h 504140"/>
              <a:gd name="connsiteX71" fmla="*/ 229697 w 329420"/>
              <a:gd name="connsiteY71" fmla="*/ 164 h 504140"/>
              <a:gd name="connsiteX72" fmla="*/ 224389 w 329420"/>
              <a:gd name="connsiteY72" fmla="*/ 36987 h 5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29420" h="504140">
                <a:moveTo>
                  <a:pt x="60677" y="268373"/>
                </a:moveTo>
                <a:cubicBezTo>
                  <a:pt x="48237" y="256431"/>
                  <a:pt x="32313" y="275174"/>
                  <a:pt x="19210" y="275008"/>
                </a:cubicBezTo>
                <a:cubicBezTo>
                  <a:pt x="18297" y="282140"/>
                  <a:pt x="15096" y="288775"/>
                  <a:pt x="10087" y="293917"/>
                </a:cubicBezTo>
                <a:cubicBezTo>
                  <a:pt x="4945" y="297732"/>
                  <a:pt x="-4675" y="311831"/>
                  <a:pt x="2623" y="313324"/>
                </a:cubicBezTo>
                <a:cubicBezTo>
                  <a:pt x="9921" y="314817"/>
                  <a:pt x="21864" y="326593"/>
                  <a:pt x="23522" y="317636"/>
                </a:cubicBezTo>
                <a:cubicBezTo>
                  <a:pt x="25181" y="308679"/>
                  <a:pt x="30157" y="296903"/>
                  <a:pt x="42763" y="311831"/>
                </a:cubicBezTo>
                <a:cubicBezTo>
                  <a:pt x="46064" y="315513"/>
                  <a:pt x="49729" y="318847"/>
                  <a:pt x="53710" y="321783"/>
                </a:cubicBezTo>
                <a:cubicBezTo>
                  <a:pt x="55700" y="314982"/>
                  <a:pt x="71292" y="313821"/>
                  <a:pt x="79420" y="305196"/>
                </a:cubicBezTo>
                <a:cubicBezTo>
                  <a:pt x="87547" y="296571"/>
                  <a:pt x="74444" y="281643"/>
                  <a:pt x="60677" y="268373"/>
                </a:cubicBezTo>
                <a:close/>
                <a:moveTo>
                  <a:pt x="329383" y="390287"/>
                </a:moveTo>
                <a:cubicBezTo>
                  <a:pt x="330378" y="375524"/>
                  <a:pt x="298034" y="365240"/>
                  <a:pt x="294551" y="373700"/>
                </a:cubicBezTo>
                <a:cubicBezTo>
                  <a:pt x="291068" y="382159"/>
                  <a:pt x="283769" y="380666"/>
                  <a:pt x="277964" y="371709"/>
                </a:cubicBezTo>
                <a:cubicBezTo>
                  <a:pt x="272159" y="362752"/>
                  <a:pt x="282940" y="355122"/>
                  <a:pt x="277964" y="353630"/>
                </a:cubicBezTo>
                <a:cubicBezTo>
                  <a:pt x="271246" y="350030"/>
                  <a:pt x="267083" y="342997"/>
                  <a:pt x="267183" y="335384"/>
                </a:cubicBezTo>
                <a:cubicBezTo>
                  <a:pt x="268675" y="330574"/>
                  <a:pt x="258889" y="299059"/>
                  <a:pt x="242137" y="295078"/>
                </a:cubicBezTo>
                <a:cubicBezTo>
                  <a:pt x="225384" y="291097"/>
                  <a:pt x="223061" y="267544"/>
                  <a:pt x="220076" y="254772"/>
                </a:cubicBezTo>
                <a:cubicBezTo>
                  <a:pt x="217090" y="242000"/>
                  <a:pt x="206309" y="248967"/>
                  <a:pt x="198016" y="238185"/>
                </a:cubicBezTo>
                <a:cubicBezTo>
                  <a:pt x="189722" y="227404"/>
                  <a:pt x="175292" y="232712"/>
                  <a:pt x="167994" y="233209"/>
                </a:cubicBezTo>
                <a:cubicBezTo>
                  <a:pt x="160695" y="233707"/>
                  <a:pt x="167994" y="219442"/>
                  <a:pt x="179770" y="211646"/>
                </a:cubicBezTo>
                <a:cubicBezTo>
                  <a:pt x="191547" y="203851"/>
                  <a:pt x="205314" y="161886"/>
                  <a:pt x="205314" y="153593"/>
                </a:cubicBezTo>
                <a:cubicBezTo>
                  <a:pt x="205314" y="145299"/>
                  <a:pt x="153729" y="145797"/>
                  <a:pt x="143942" y="150607"/>
                </a:cubicBezTo>
                <a:cubicBezTo>
                  <a:pt x="134156" y="155417"/>
                  <a:pt x="124204" y="143309"/>
                  <a:pt x="132664" y="139825"/>
                </a:cubicBezTo>
                <a:cubicBezTo>
                  <a:pt x="141122" y="136342"/>
                  <a:pt x="158705" y="119258"/>
                  <a:pt x="157709" y="112291"/>
                </a:cubicBezTo>
                <a:cubicBezTo>
                  <a:pt x="156714" y="105325"/>
                  <a:pt x="169984" y="99022"/>
                  <a:pt x="162520" y="92719"/>
                </a:cubicBezTo>
                <a:cubicBezTo>
                  <a:pt x="155056" y="86416"/>
                  <a:pt x="154226" y="101012"/>
                  <a:pt x="147758" y="105988"/>
                </a:cubicBezTo>
                <a:cubicBezTo>
                  <a:pt x="136180" y="110168"/>
                  <a:pt x="123508" y="110168"/>
                  <a:pt x="111930" y="105988"/>
                </a:cubicBezTo>
                <a:cubicBezTo>
                  <a:pt x="96670" y="103003"/>
                  <a:pt x="90864" y="124566"/>
                  <a:pt x="91362" y="134020"/>
                </a:cubicBezTo>
                <a:cubicBezTo>
                  <a:pt x="91860" y="143475"/>
                  <a:pt x="73614" y="148782"/>
                  <a:pt x="76600" y="156578"/>
                </a:cubicBezTo>
                <a:cubicBezTo>
                  <a:pt x="79585" y="164374"/>
                  <a:pt x="73117" y="170345"/>
                  <a:pt x="68307" y="165867"/>
                </a:cubicBezTo>
                <a:cubicBezTo>
                  <a:pt x="63496" y="161388"/>
                  <a:pt x="57857" y="150607"/>
                  <a:pt x="48071" y="158569"/>
                </a:cubicBezTo>
                <a:cubicBezTo>
                  <a:pt x="38284" y="166530"/>
                  <a:pt x="59350" y="176648"/>
                  <a:pt x="72122" y="178141"/>
                </a:cubicBezTo>
                <a:cubicBezTo>
                  <a:pt x="84893" y="179634"/>
                  <a:pt x="62335" y="189088"/>
                  <a:pt x="59847" y="202689"/>
                </a:cubicBezTo>
                <a:cubicBezTo>
                  <a:pt x="57359" y="216291"/>
                  <a:pt x="76434" y="210651"/>
                  <a:pt x="77595" y="220437"/>
                </a:cubicBezTo>
                <a:cubicBezTo>
                  <a:pt x="78756" y="230224"/>
                  <a:pt x="50061" y="231716"/>
                  <a:pt x="50061" y="241005"/>
                </a:cubicBezTo>
                <a:cubicBezTo>
                  <a:pt x="50061" y="250294"/>
                  <a:pt x="66648" y="236692"/>
                  <a:pt x="73614" y="232712"/>
                </a:cubicBezTo>
                <a:cubicBezTo>
                  <a:pt x="80581" y="228731"/>
                  <a:pt x="69799" y="255767"/>
                  <a:pt x="87381" y="252948"/>
                </a:cubicBezTo>
                <a:cubicBezTo>
                  <a:pt x="104963" y="250128"/>
                  <a:pt x="100154" y="225911"/>
                  <a:pt x="106622" y="226741"/>
                </a:cubicBezTo>
                <a:cubicBezTo>
                  <a:pt x="113091" y="227570"/>
                  <a:pt x="103637" y="239678"/>
                  <a:pt x="109110" y="249962"/>
                </a:cubicBezTo>
                <a:cubicBezTo>
                  <a:pt x="114584" y="260246"/>
                  <a:pt x="96172" y="276003"/>
                  <a:pt x="97167" y="283136"/>
                </a:cubicBezTo>
                <a:cubicBezTo>
                  <a:pt x="98163" y="290268"/>
                  <a:pt x="133659" y="290600"/>
                  <a:pt x="144938" y="278823"/>
                </a:cubicBezTo>
                <a:cubicBezTo>
                  <a:pt x="156217" y="267046"/>
                  <a:pt x="161524" y="279652"/>
                  <a:pt x="153729" y="288609"/>
                </a:cubicBezTo>
                <a:cubicBezTo>
                  <a:pt x="148703" y="292607"/>
                  <a:pt x="147874" y="299905"/>
                  <a:pt x="151871" y="304931"/>
                </a:cubicBezTo>
                <a:cubicBezTo>
                  <a:pt x="153679" y="307220"/>
                  <a:pt x="156300" y="308729"/>
                  <a:pt x="159203" y="309177"/>
                </a:cubicBezTo>
                <a:cubicBezTo>
                  <a:pt x="168989" y="312660"/>
                  <a:pt x="172472" y="313655"/>
                  <a:pt x="167994" y="321451"/>
                </a:cubicBezTo>
                <a:cubicBezTo>
                  <a:pt x="163515" y="329247"/>
                  <a:pt x="167994" y="344009"/>
                  <a:pt x="165008" y="351473"/>
                </a:cubicBezTo>
                <a:cubicBezTo>
                  <a:pt x="162022" y="358938"/>
                  <a:pt x="131834" y="357776"/>
                  <a:pt x="131834" y="352966"/>
                </a:cubicBezTo>
                <a:cubicBezTo>
                  <a:pt x="131834" y="348156"/>
                  <a:pt x="118067" y="351473"/>
                  <a:pt x="121550" y="358274"/>
                </a:cubicBezTo>
                <a:cubicBezTo>
                  <a:pt x="125034" y="365075"/>
                  <a:pt x="110603" y="372539"/>
                  <a:pt x="111598" y="379008"/>
                </a:cubicBezTo>
                <a:cubicBezTo>
                  <a:pt x="112594" y="385476"/>
                  <a:pt x="130839" y="383818"/>
                  <a:pt x="131336" y="391779"/>
                </a:cubicBezTo>
                <a:cubicBezTo>
                  <a:pt x="131834" y="399741"/>
                  <a:pt x="118067" y="408366"/>
                  <a:pt x="99324" y="414338"/>
                </a:cubicBezTo>
                <a:cubicBezTo>
                  <a:pt x="80581" y="420309"/>
                  <a:pt x="103305" y="434407"/>
                  <a:pt x="112096" y="428105"/>
                </a:cubicBezTo>
                <a:cubicBezTo>
                  <a:pt x="120887" y="421802"/>
                  <a:pt x="119062" y="432583"/>
                  <a:pt x="131834" y="432583"/>
                </a:cubicBezTo>
                <a:cubicBezTo>
                  <a:pt x="144606" y="432583"/>
                  <a:pt x="152402" y="442867"/>
                  <a:pt x="166666" y="437393"/>
                </a:cubicBezTo>
                <a:cubicBezTo>
                  <a:pt x="180931" y="431920"/>
                  <a:pt x="180434" y="437393"/>
                  <a:pt x="169652" y="445852"/>
                </a:cubicBezTo>
                <a:cubicBezTo>
                  <a:pt x="158871" y="454312"/>
                  <a:pt x="142616" y="445852"/>
                  <a:pt x="132829" y="450663"/>
                </a:cubicBezTo>
                <a:cubicBezTo>
                  <a:pt x="123043" y="455473"/>
                  <a:pt x="83069" y="493623"/>
                  <a:pt x="90533" y="502745"/>
                </a:cubicBezTo>
                <a:cubicBezTo>
                  <a:pt x="95011" y="508219"/>
                  <a:pt x="100817" y="494950"/>
                  <a:pt x="115082" y="488978"/>
                </a:cubicBezTo>
                <a:cubicBezTo>
                  <a:pt x="129346" y="483007"/>
                  <a:pt x="131668" y="492959"/>
                  <a:pt x="139630" y="493954"/>
                </a:cubicBezTo>
                <a:cubicBezTo>
                  <a:pt x="147592" y="494950"/>
                  <a:pt x="147923" y="477368"/>
                  <a:pt x="154392" y="479192"/>
                </a:cubicBezTo>
                <a:cubicBezTo>
                  <a:pt x="160861" y="481017"/>
                  <a:pt x="166666" y="473718"/>
                  <a:pt x="178443" y="475709"/>
                </a:cubicBezTo>
                <a:cubicBezTo>
                  <a:pt x="187782" y="477384"/>
                  <a:pt x="197385" y="474697"/>
                  <a:pt x="204484" y="468411"/>
                </a:cubicBezTo>
                <a:cubicBezTo>
                  <a:pt x="210456" y="463434"/>
                  <a:pt x="226047" y="478197"/>
                  <a:pt x="231023" y="474714"/>
                </a:cubicBezTo>
                <a:cubicBezTo>
                  <a:pt x="242916" y="470069"/>
                  <a:pt x="255588" y="467764"/>
                  <a:pt x="268344" y="467913"/>
                </a:cubicBezTo>
                <a:cubicBezTo>
                  <a:pt x="285113" y="465375"/>
                  <a:pt x="300986" y="458757"/>
                  <a:pt x="314621" y="448672"/>
                </a:cubicBezTo>
                <a:cubicBezTo>
                  <a:pt x="321919" y="441872"/>
                  <a:pt x="310142" y="440379"/>
                  <a:pt x="300356" y="441872"/>
                </a:cubicBezTo>
                <a:cubicBezTo>
                  <a:pt x="290570" y="443364"/>
                  <a:pt x="292395" y="432085"/>
                  <a:pt x="302844" y="422133"/>
                </a:cubicBezTo>
                <a:cubicBezTo>
                  <a:pt x="313294" y="412181"/>
                  <a:pt x="328554" y="405215"/>
                  <a:pt x="329383" y="390287"/>
                </a:cubicBezTo>
                <a:close/>
                <a:moveTo>
                  <a:pt x="34138" y="143640"/>
                </a:moveTo>
                <a:cubicBezTo>
                  <a:pt x="47407" y="143640"/>
                  <a:pt x="62667" y="120585"/>
                  <a:pt x="56364" y="114116"/>
                </a:cubicBezTo>
                <a:cubicBezTo>
                  <a:pt x="50061" y="107647"/>
                  <a:pt x="24352" y="143972"/>
                  <a:pt x="34138" y="143640"/>
                </a:cubicBezTo>
                <a:close/>
                <a:moveTo>
                  <a:pt x="224389" y="36987"/>
                </a:moveTo>
                <a:cubicBezTo>
                  <a:pt x="232682" y="28694"/>
                  <a:pt x="242468" y="-3319"/>
                  <a:pt x="229697" y="164"/>
                </a:cubicBezTo>
                <a:cubicBezTo>
                  <a:pt x="216924" y="3647"/>
                  <a:pt x="220740" y="40304"/>
                  <a:pt x="224389" y="36987"/>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19" name="Freeform: Shape 518">
            <a:extLst>
              <a:ext uri="{FF2B5EF4-FFF2-40B4-BE49-F238E27FC236}">
                <a16:creationId xmlns:a16="http://schemas.microsoft.com/office/drawing/2014/main" id="{5F06B44F-34BF-4870-8866-3F1BCD33744C}"/>
              </a:ext>
            </a:extLst>
          </p:cNvPr>
          <p:cNvSpPr/>
          <p:nvPr/>
        </p:nvSpPr>
        <p:spPr>
          <a:xfrm>
            <a:off x="6205524" y="4541867"/>
            <a:ext cx="212127" cy="251935"/>
          </a:xfrm>
          <a:custGeom>
            <a:avLst/>
            <a:gdLst>
              <a:gd name="connsiteX0" fmla="*/ 235684 w 267545"/>
              <a:gd name="connsiteY0" fmla="*/ 73740 h 323969"/>
              <a:gd name="connsiteX1" fmla="*/ 250944 w 267545"/>
              <a:gd name="connsiteY1" fmla="*/ 49855 h 323969"/>
              <a:gd name="connsiteX2" fmla="*/ 267531 w 267545"/>
              <a:gd name="connsiteY2" fmla="*/ 26634 h 323969"/>
              <a:gd name="connsiteX3" fmla="*/ 250944 w 267545"/>
              <a:gd name="connsiteY3" fmla="*/ 31278 h 323969"/>
              <a:gd name="connsiteX4" fmla="*/ 234357 w 267545"/>
              <a:gd name="connsiteY4" fmla="*/ 24643 h 323969"/>
              <a:gd name="connsiteX5" fmla="*/ 205662 w 267545"/>
              <a:gd name="connsiteY5" fmla="*/ 30614 h 323969"/>
              <a:gd name="connsiteX6" fmla="*/ 183601 w 267545"/>
              <a:gd name="connsiteY6" fmla="*/ 48196 h 323969"/>
              <a:gd name="connsiteX7" fmla="*/ 145285 w 267545"/>
              <a:gd name="connsiteY7" fmla="*/ 41562 h 323969"/>
              <a:gd name="connsiteX8" fmla="*/ 106970 w 267545"/>
              <a:gd name="connsiteY8" fmla="*/ 19502 h 323969"/>
              <a:gd name="connsiteX9" fmla="*/ 72967 w 267545"/>
              <a:gd name="connsiteY9" fmla="*/ 12866 h 323969"/>
              <a:gd name="connsiteX10" fmla="*/ 53892 w 267545"/>
              <a:gd name="connsiteY10" fmla="*/ 3246 h 323969"/>
              <a:gd name="connsiteX11" fmla="*/ 33988 w 267545"/>
              <a:gd name="connsiteY11" fmla="*/ 1090 h 323969"/>
              <a:gd name="connsiteX12" fmla="*/ 7449 w 267545"/>
              <a:gd name="connsiteY12" fmla="*/ 18672 h 323969"/>
              <a:gd name="connsiteX13" fmla="*/ 3137 w 267545"/>
              <a:gd name="connsiteY13" fmla="*/ 24146 h 323969"/>
              <a:gd name="connsiteX14" fmla="*/ 18230 w 267545"/>
              <a:gd name="connsiteY14" fmla="*/ 37913 h 323969"/>
              <a:gd name="connsiteX15" fmla="*/ 21714 w 267545"/>
              <a:gd name="connsiteY15" fmla="*/ 61798 h 323969"/>
              <a:gd name="connsiteX16" fmla="*/ 35315 w 267545"/>
              <a:gd name="connsiteY16" fmla="*/ 73740 h 323969"/>
              <a:gd name="connsiteX17" fmla="*/ 33656 w 267545"/>
              <a:gd name="connsiteY17" fmla="*/ 100943 h 323969"/>
              <a:gd name="connsiteX18" fmla="*/ 11430 w 267545"/>
              <a:gd name="connsiteY18" fmla="*/ 140088 h 323969"/>
              <a:gd name="connsiteX19" fmla="*/ 1643 w 267545"/>
              <a:gd name="connsiteY19" fmla="*/ 160655 h 323969"/>
              <a:gd name="connsiteX20" fmla="*/ 23538 w 267545"/>
              <a:gd name="connsiteY20" fmla="*/ 172764 h 323969"/>
              <a:gd name="connsiteX21" fmla="*/ -15 w 267545"/>
              <a:gd name="connsiteY21" fmla="*/ 194161 h 323969"/>
              <a:gd name="connsiteX22" fmla="*/ -15 w 267545"/>
              <a:gd name="connsiteY22" fmla="*/ 197478 h 323969"/>
              <a:gd name="connsiteX23" fmla="*/ 125547 w 267545"/>
              <a:gd name="connsiteY23" fmla="*/ 263825 h 323969"/>
              <a:gd name="connsiteX24" fmla="*/ 123889 w 267545"/>
              <a:gd name="connsiteY24" fmla="*/ 284227 h 323969"/>
              <a:gd name="connsiteX25" fmla="*/ 179620 w 267545"/>
              <a:gd name="connsiteY25" fmla="*/ 323870 h 323969"/>
              <a:gd name="connsiteX26" fmla="*/ 212794 w 267545"/>
              <a:gd name="connsiteY26" fmla="*/ 251551 h 323969"/>
              <a:gd name="connsiteX27" fmla="*/ 234025 w 267545"/>
              <a:gd name="connsiteY27" fmla="*/ 234964 h 323969"/>
              <a:gd name="connsiteX28" fmla="*/ 252105 w 267545"/>
              <a:gd name="connsiteY28" fmla="*/ 223188 h 323969"/>
              <a:gd name="connsiteX29" fmla="*/ 255091 w 267545"/>
              <a:gd name="connsiteY29" fmla="*/ 219207 h 323969"/>
              <a:gd name="connsiteX30" fmla="*/ 238504 w 267545"/>
              <a:gd name="connsiteY30" fmla="*/ 193166 h 32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67545" h="323969">
                <a:moveTo>
                  <a:pt x="235684" y="73740"/>
                </a:moveTo>
                <a:lnTo>
                  <a:pt x="250944" y="49855"/>
                </a:lnTo>
                <a:lnTo>
                  <a:pt x="267531" y="26634"/>
                </a:lnTo>
                <a:cubicBezTo>
                  <a:pt x="261891" y="27745"/>
                  <a:pt x="256334" y="29304"/>
                  <a:pt x="250944" y="31278"/>
                </a:cubicBezTo>
                <a:cubicBezTo>
                  <a:pt x="244524" y="33766"/>
                  <a:pt x="237292" y="30864"/>
                  <a:pt x="234357" y="24643"/>
                </a:cubicBezTo>
                <a:cubicBezTo>
                  <a:pt x="232201" y="19502"/>
                  <a:pt x="217770" y="24643"/>
                  <a:pt x="205662" y="30614"/>
                </a:cubicBezTo>
                <a:cubicBezTo>
                  <a:pt x="193553" y="36586"/>
                  <a:pt x="187914" y="51182"/>
                  <a:pt x="183601" y="48196"/>
                </a:cubicBezTo>
                <a:cubicBezTo>
                  <a:pt x="171177" y="44299"/>
                  <a:pt x="158289" y="42076"/>
                  <a:pt x="145285" y="41562"/>
                </a:cubicBezTo>
                <a:cubicBezTo>
                  <a:pt x="131187" y="36818"/>
                  <a:pt x="118149" y="29321"/>
                  <a:pt x="106970" y="19502"/>
                </a:cubicBezTo>
                <a:cubicBezTo>
                  <a:pt x="99506" y="12866"/>
                  <a:pt x="78109" y="15686"/>
                  <a:pt x="72967" y="12866"/>
                </a:cubicBezTo>
                <a:cubicBezTo>
                  <a:pt x="67825" y="10047"/>
                  <a:pt x="57541" y="7725"/>
                  <a:pt x="53892" y="3246"/>
                </a:cubicBezTo>
                <a:cubicBezTo>
                  <a:pt x="50243" y="-1232"/>
                  <a:pt x="41286" y="-403"/>
                  <a:pt x="33988" y="1090"/>
                </a:cubicBezTo>
                <a:cubicBezTo>
                  <a:pt x="26690" y="2583"/>
                  <a:pt x="8942" y="12866"/>
                  <a:pt x="7449" y="18672"/>
                </a:cubicBezTo>
                <a:cubicBezTo>
                  <a:pt x="6653" y="20911"/>
                  <a:pt x="5127" y="22835"/>
                  <a:pt x="3137" y="24146"/>
                </a:cubicBezTo>
                <a:lnTo>
                  <a:pt x="18230" y="37913"/>
                </a:lnTo>
                <a:lnTo>
                  <a:pt x="21714" y="61798"/>
                </a:lnTo>
                <a:lnTo>
                  <a:pt x="35315" y="73740"/>
                </a:lnTo>
                <a:cubicBezTo>
                  <a:pt x="35248" y="82830"/>
                  <a:pt x="34684" y="91903"/>
                  <a:pt x="33656" y="100943"/>
                </a:cubicBezTo>
                <a:cubicBezTo>
                  <a:pt x="29990" y="115788"/>
                  <a:pt x="22311" y="129339"/>
                  <a:pt x="11430" y="140088"/>
                </a:cubicBezTo>
                <a:cubicBezTo>
                  <a:pt x="7184" y="146440"/>
                  <a:pt x="3883" y="153357"/>
                  <a:pt x="1643" y="160655"/>
                </a:cubicBezTo>
                <a:cubicBezTo>
                  <a:pt x="14582" y="163973"/>
                  <a:pt x="24368" y="168783"/>
                  <a:pt x="23538" y="172764"/>
                </a:cubicBezTo>
                <a:cubicBezTo>
                  <a:pt x="22211" y="180891"/>
                  <a:pt x="-15" y="177242"/>
                  <a:pt x="-15" y="194161"/>
                </a:cubicBezTo>
                <a:cubicBezTo>
                  <a:pt x="68" y="195272"/>
                  <a:pt x="68" y="196367"/>
                  <a:pt x="-15" y="197478"/>
                </a:cubicBezTo>
                <a:lnTo>
                  <a:pt x="125547" y="263825"/>
                </a:lnTo>
                <a:lnTo>
                  <a:pt x="123889" y="284227"/>
                </a:lnTo>
                <a:cubicBezTo>
                  <a:pt x="123889" y="284227"/>
                  <a:pt x="152086" y="304961"/>
                  <a:pt x="179620" y="323870"/>
                </a:cubicBezTo>
                <a:cubicBezTo>
                  <a:pt x="189340" y="299172"/>
                  <a:pt x="200420" y="275038"/>
                  <a:pt x="212794" y="251551"/>
                </a:cubicBezTo>
                <a:cubicBezTo>
                  <a:pt x="220258" y="240272"/>
                  <a:pt x="227556" y="242263"/>
                  <a:pt x="234025" y="234964"/>
                </a:cubicBezTo>
                <a:cubicBezTo>
                  <a:pt x="240494" y="227666"/>
                  <a:pt x="242318" y="238945"/>
                  <a:pt x="252105" y="223188"/>
                </a:cubicBezTo>
                <a:cubicBezTo>
                  <a:pt x="253033" y="221811"/>
                  <a:pt x="254029" y="220484"/>
                  <a:pt x="255091" y="219207"/>
                </a:cubicBezTo>
                <a:lnTo>
                  <a:pt x="238504" y="193166"/>
                </a:ln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0" name="Freeform: Shape 519">
            <a:extLst>
              <a:ext uri="{FF2B5EF4-FFF2-40B4-BE49-F238E27FC236}">
                <a16:creationId xmlns:a16="http://schemas.microsoft.com/office/drawing/2014/main" id="{69230E42-E523-4068-8D8B-EEB2267029B5}"/>
              </a:ext>
            </a:extLst>
          </p:cNvPr>
          <p:cNvSpPr/>
          <p:nvPr/>
        </p:nvSpPr>
        <p:spPr>
          <a:xfrm>
            <a:off x="6088742" y="4560335"/>
            <a:ext cx="144004" cy="146139"/>
          </a:xfrm>
          <a:custGeom>
            <a:avLst/>
            <a:gdLst>
              <a:gd name="connsiteX0" fmla="*/ 168673 w 181625"/>
              <a:gd name="connsiteY0" fmla="*/ 37552 h 187925"/>
              <a:gd name="connsiteX1" fmla="*/ 165190 w 181625"/>
              <a:gd name="connsiteY1" fmla="*/ 13667 h 187925"/>
              <a:gd name="connsiteX2" fmla="*/ 150096 w 181625"/>
              <a:gd name="connsiteY2" fmla="*/ -100 h 187925"/>
              <a:gd name="connsiteX3" fmla="*/ 138817 w 181625"/>
              <a:gd name="connsiteY3" fmla="*/ 10682 h 187925"/>
              <a:gd name="connsiteX4" fmla="*/ 118249 w 181625"/>
              <a:gd name="connsiteY4" fmla="*/ 12175 h 187925"/>
              <a:gd name="connsiteX5" fmla="*/ 93203 w 181625"/>
              <a:gd name="connsiteY5" fmla="*/ 20966 h 187925"/>
              <a:gd name="connsiteX6" fmla="*/ 72635 w 181625"/>
              <a:gd name="connsiteY6" fmla="*/ 13667 h 187925"/>
              <a:gd name="connsiteX7" fmla="*/ 47589 w 181625"/>
              <a:gd name="connsiteY7" fmla="*/ 20966 h 187925"/>
              <a:gd name="connsiteX8" fmla="*/ 44604 w 181625"/>
              <a:gd name="connsiteY8" fmla="*/ 49661 h 187925"/>
              <a:gd name="connsiteX9" fmla="*/ 55717 w 181625"/>
              <a:gd name="connsiteY9" fmla="*/ 66248 h 187925"/>
              <a:gd name="connsiteX10" fmla="*/ 46096 w 181625"/>
              <a:gd name="connsiteY10" fmla="*/ 82835 h 187925"/>
              <a:gd name="connsiteX11" fmla="*/ 32164 w 181625"/>
              <a:gd name="connsiteY11" fmla="*/ 92455 h 187925"/>
              <a:gd name="connsiteX12" fmla="*/ 19557 w 181625"/>
              <a:gd name="connsiteY12" fmla="*/ 110866 h 187925"/>
              <a:gd name="connsiteX13" fmla="*/ 11430 w 181625"/>
              <a:gd name="connsiteY13" fmla="*/ 134419 h 187925"/>
              <a:gd name="connsiteX14" fmla="*/ 5624 w 181625"/>
              <a:gd name="connsiteY14" fmla="*/ 163115 h 187925"/>
              <a:gd name="connsiteX15" fmla="*/ -15 w 181625"/>
              <a:gd name="connsiteY15" fmla="*/ 187331 h 187925"/>
              <a:gd name="connsiteX16" fmla="*/ 16572 w 181625"/>
              <a:gd name="connsiteY16" fmla="*/ 184346 h 187925"/>
              <a:gd name="connsiteX17" fmla="*/ 50575 w 181625"/>
              <a:gd name="connsiteY17" fmla="*/ 174228 h 187925"/>
              <a:gd name="connsiteX18" fmla="*/ 78275 w 181625"/>
              <a:gd name="connsiteY18" fmla="*/ 171906 h 187925"/>
              <a:gd name="connsiteX19" fmla="*/ 103653 w 181625"/>
              <a:gd name="connsiteY19" fmla="*/ 135912 h 187925"/>
              <a:gd name="connsiteX20" fmla="*/ 147939 w 181625"/>
              <a:gd name="connsiteY20" fmla="*/ 137073 h 187925"/>
              <a:gd name="connsiteX21" fmla="*/ 157726 w 181625"/>
              <a:gd name="connsiteY21" fmla="*/ 116506 h 187925"/>
              <a:gd name="connsiteX22" fmla="*/ 179952 w 181625"/>
              <a:gd name="connsiteY22" fmla="*/ 77361 h 187925"/>
              <a:gd name="connsiteX23" fmla="*/ 181611 w 181625"/>
              <a:gd name="connsiteY23" fmla="*/ 50159 h 18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1625" h="187925">
                <a:moveTo>
                  <a:pt x="168673" y="37552"/>
                </a:moveTo>
                <a:lnTo>
                  <a:pt x="165190" y="13667"/>
                </a:lnTo>
                <a:lnTo>
                  <a:pt x="150096" y="-100"/>
                </a:lnTo>
                <a:cubicBezTo>
                  <a:pt x="145617" y="3715"/>
                  <a:pt x="139314" y="7199"/>
                  <a:pt x="138817" y="10682"/>
                </a:cubicBezTo>
                <a:cubicBezTo>
                  <a:pt x="138319" y="14165"/>
                  <a:pt x="124220" y="15160"/>
                  <a:pt x="118249" y="12175"/>
                </a:cubicBezTo>
                <a:cubicBezTo>
                  <a:pt x="108977" y="10914"/>
                  <a:pt x="99655" y="14182"/>
                  <a:pt x="93203" y="20966"/>
                </a:cubicBezTo>
                <a:cubicBezTo>
                  <a:pt x="90383" y="25444"/>
                  <a:pt x="79934" y="12838"/>
                  <a:pt x="72635" y="13667"/>
                </a:cubicBezTo>
                <a:cubicBezTo>
                  <a:pt x="64093" y="15392"/>
                  <a:pt x="55717" y="17831"/>
                  <a:pt x="47589" y="20966"/>
                </a:cubicBezTo>
                <a:cubicBezTo>
                  <a:pt x="47589" y="20966"/>
                  <a:pt x="44604" y="41533"/>
                  <a:pt x="44604" y="49661"/>
                </a:cubicBezTo>
                <a:cubicBezTo>
                  <a:pt x="44604" y="57788"/>
                  <a:pt x="55717" y="59281"/>
                  <a:pt x="55717" y="66248"/>
                </a:cubicBezTo>
                <a:cubicBezTo>
                  <a:pt x="55717" y="73214"/>
                  <a:pt x="46926" y="78688"/>
                  <a:pt x="46096" y="82835"/>
                </a:cubicBezTo>
                <a:cubicBezTo>
                  <a:pt x="45267" y="86981"/>
                  <a:pt x="39462" y="90298"/>
                  <a:pt x="32164" y="92455"/>
                </a:cubicBezTo>
                <a:cubicBezTo>
                  <a:pt x="24865" y="94611"/>
                  <a:pt x="25529" y="106388"/>
                  <a:pt x="19557" y="110866"/>
                </a:cubicBezTo>
                <a:cubicBezTo>
                  <a:pt x="13586" y="115345"/>
                  <a:pt x="15245" y="126292"/>
                  <a:pt x="11430" y="134419"/>
                </a:cubicBezTo>
                <a:cubicBezTo>
                  <a:pt x="7632" y="143509"/>
                  <a:pt x="5657" y="153262"/>
                  <a:pt x="5624" y="163115"/>
                </a:cubicBezTo>
                <a:cubicBezTo>
                  <a:pt x="6238" y="171574"/>
                  <a:pt x="4264" y="180017"/>
                  <a:pt x="-15" y="187331"/>
                </a:cubicBezTo>
                <a:cubicBezTo>
                  <a:pt x="5691" y="188559"/>
                  <a:pt x="11646" y="187481"/>
                  <a:pt x="16572" y="184346"/>
                </a:cubicBezTo>
                <a:cubicBezTo>
                  <a:pt x="27718" y="180365"/>
                  <a:pt x="39063" y="176981"/>
                  <a:pt x="50575" y="174228"/>
                </a:cubicBezTo>
                <a:lnTo>
                  <a:pt x="78275" y="171906"/>
                </a:lnTo>
                <a:cubicBezTo>
                  <a:pt x="84578" y="155319"/>
                  <a:pt x="93534" y="138732"/>
                  <a:pt x="103653" y="135912"/>
                </a:cubicBezTo>
                <a:cubicBezTo>
                  <a:pt x="118282" y="132661"/>
                  <a:pt x="133492" y="133059"/>
                  <a:pt x="147939" y="137073"/>
                </a:cubicBezTo>
                <a:cubicBezTo>
                  <a:pt x="150179" y="129775"/>
                  <a:pt x="153480" y="122859"/>
                  <a:pt x="157726" y="116506"/>
                </a:cubicBezTo>
                <a:cubicBezTo>
                  <a:pt x="168607" y="105757"/>
                  <a:pt x="176286" y="92206"/>
                  <a:pt x="179952" y="77361"/>
                </a:cubicBezTo>
                <a:cubicBezTo>
                  <a:pt x="180980" y="68321"/>
                  <a:pt x="181544" y="59248"/>
                  <a:pt x="181611" y="5015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1" name="Freeform: Shape 520">
            <a:extLst>
              <a:ext uri="{FF2B5EF4-FFF2-40B4-BE49-F238E27FC236}">
                <a16:creationId xmlns:a16="http://schemas.microsoft.com/office/drawing/2014/main" id="{B840709E-6458-46B5-AE6A-23F90B2D6B1A}"/>
              </a:ext>
            </a:extLst>
          </p:cNvPr>
          <p:cNvSpPr/>
          <p:nvPr/>
        </p:nvSpPr>
        <p:spPr>
          <a:xfrm>
            <a:off x="7427655" y="4423342"/>
            <a:ext cx="55128" cy="99621"/>
          </a:xfrm>
          <a:custGeom>
            <a:avLst/>
            <a:gdLst>
              <a:gd name="connsiteX0" fmla="*/ 15416 w 69530"/>
              <a:gd name="connsiteY0" fmla="*/ -90 h 128105"/>
              <a:gd name="connsiteX1" fmla="*/ 3639 w 69530"/>
              <a:gd name="connsiteY1" fmla="*/ 31426 h 128105"/>
              <a:gd name="connsiteX2" fmla="*/ 1814 w 69530"/>
              <a:gd name="connsiteY2" fmla="*/ 75547 h 128105"/>
              <a:gd name="connsiteX3" fmla="*/ 18401 w 69530"/>
              <a:gd name="connsiteY3" fmla="*/ 125307 h 128105"/>
              <a:gd name="connsiteX4" fmla="*/ 69489 w 69530"/>
              <a:gd name="connsiteY4" fmla="*/ 78035 h 128105"/>
              <a:gd name="connsiteX5" fmla="*/ 15416 w 69530"/>
              <a:gd name="connsiteY5" fmla="*/ -90 h 12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530" h="128105">
                <a:moveTo>
                  <a:pt x="15416" y="-90"/>
                </a:moveTo>
                <a:cubicBezTo>
                  <a:pt x="6625" y="906"/>
                  <a:pt x="8616" y="18654"/>
                  <a:pt x="3639" y="31426"/>
                </a:cubicBezTo>
                <a:cubicBezTo>
                  <a:pt x="-508" y="45773"/>
                  <a:pt x="-1138" y="60900"/>
                  <a:pt x="1814" y="75547"/>
                </a:cubicBezTo>
                <a:cubicBezTo>
                  <a:pt x="3639" y="94290"/>
                  <a:pt x="1814" y="113862"/>
                  <a:pt x="18401" y="125307"/>
                </a:cubicBezTo>
                <a:cubicBezTo>
                  <a:pt x="37643" y="137581"/>
                  <a:pt x="68162" y="105569"/>
                  <a:pt x="69489" y="78035"/>
                </a:cubicBezTo>
                <a:cubicBezTo>
                  <a:pt x="70816" y="50501"/>
                  <a:pt x="22880" y="-919"/>
                  <a:pt x="15416" y="-90"/>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2" name="Freeform: Shape 521">
            <a:extLst>
              <a:ext uri="{FF2B5EF4-FFF2-40B4-BE49-F238E27FC236}">
                <a16:creationId xmlns:a16="http://schemas.microsoft.com/office/drawing/2014/main" id="{17CA5906-F578-4EBC-AB18-B960E4A1FEAC}"/>
              </a:ext>
            </a:extLst>
          </p:cNvPr>
          <p:cNvSpPr/>
          <p:nvPr/>
        </p:nvSpPr>
        <p:spPr>
          <a:xfrm>
            <a:off x="6450470" y="4982604"/>
            <a:ext cx="190541" cy="367067"/>
          </a:xfrm>
          <a:custGeom>
            <a:avLst/>
            <a:gdLst>
              <a:gd name="connsiteX0" fmla="*/ 203415 w 240319"/>
              <a:gd name="connsiteY0" fmla="*/ 5918 h 472021"/>
              <a:gd name="connsiteX1" fmla="*/ 191639 w 240319"/>
              <a:gd name="connsiteY1" fmla="*/ 15704 h 472021"/>
              <a:gd name="connsiteX2" fmla="*/ 186663 w 240319"/>
              <a:gd name="connsiteY2" fmla="*/ 39257 h 472021"/>
              <a:gd name="connsiteX3" fmla="*/ 167090 w 240319"/>
              <a:gd name="connsiteY3" fmla="*/ 54020 h 472021"/>
              <a:gd name="connsiteX4" fmla="*/ 150503 w 240319"/>
              <a:gd name="connsiteY4" fmla="*/ 68782 h 472021"/>
              <a:gd name="connsiteX5" fmla="*/ 149508 w 240319"/>
              <a:gd name="connsiteY5" fmla="*/ 86530 h 472021"/>
              <a:gd name="connsiteX6" fmla="*/ 124960 w 240319"/>
              <a:gd name="connsiteY6" fmla="*/ 107097 h 472021"/>
              <a:gd name="connsiteX7" fmla="*/ 78848 w 240319"/>
              <a:gd name="connsiteY7" fmla="*/ 130651 h 472021"/>
              <a:gd name="connsiteX8" fmla="*/ 36552 w 240319"/>
              <a:gd name="connsiteY8" fmla="*/ 138612 h 472021"/>
              <a:gd name="connsiteX9" fmla="*/ 22785 w 240319"/>
              <a:gd name="connsiteY9" fmla="*/ 182899 h 472021"/>
              <a:gd name="connsiteX10" fmla="*/ 26766 w 240319"/>
              <a:gd name="connsiteY10" fmla="*/ 242778 h 472021"/>
              <a:gd name="connsiteX11" fmla="*/ 18804 w 240319"/>
              <a:gd name="connsiteY11" fmla="*/ 310618 h 472021"/>
              <a:gd name="connsiteX12" fmla="*/ 6032 w 240319"/>
              <a:gd name="connsiteY12" fmla="*/ 390069 h 472021"/>
              <a:gd name="connsiteX13" fmla="*/ 27761 w 240319"/>
              <a:gd name="connsiteY13" fmla="*/ 453099 h 472021"/>
              <a:gd name="connsiteX14" fmla="*/ 86644 w 240319"/>
              <a:gd name="connsiteY14" fmla="*/ 467696 h 472021"/>
              <a:gd name="connsiteX15" fmla="*/ 120979 w 240319"/>
              <a:gd name="connsiteY15" fmla="*/ 454923 h 472021"/>
              <a:gd name="connsiteX16" fmla="*/ 169246 w 240319"/>
              <a:gd name="connsiteY16" fmla="*/ 315428 h 472021"/>
              <a:gd name="connsiteX17" fmla="*/ 205572 w 240319"/>
              <a:gd name="connsiteY17" fmla="*/ 185719 h 472021"/>
              <a:gd name="connsiteX18" fmla="*/ 211543 w 240319"/>
              <a:gd name="connsiteY18" fmla="*/ 148399 h 472021"/>
              <a:gd name="connsiteX19" fmla="*/ 220334 w 240319"/>
              <a:gd name="connsiteY19" fmla="*/ 127831 h 472021"/>
              <a:gd name="connsiteX20" fmla="*/ 239906 w 240319"/>
              <a:gd name="connsiteY20" fmla="*/ 123850 h 472021"/>
              <a:gd name="connsiteX21" fmla="*/ 227134 w 240319"/>
              <a:gd name="connsiteY21" fmla="*/ 60986 h 472021"/>
              <a:gd name="connsiteX22" fmla="*/ 203415 w 240319"/>
              <a:gd name="connsiteY22" fmla="*/ 5918 h 47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0319" h="472021">
                <a:moveTo>
                  <a:pt x="203415" y="5918"/>
                </a:moveTo>
                <a:cubicBezTo>
                  <a:pt x="199103" y="-10669"/>
                  <a:pt x="195619" y="11889"/>
                  <a:pt x="191639" y="15704"/>
                </a:cubicBezTo>
                <a:cubicBezTo>
                  <a:pt x="187326" y="22754"/>
                  <a:pt x="185568" y="31064"/>
                  <a:pt x="186663" y="39257"/>
                </a:cubicBezTo>
                <a:cubicBezTo>
                  <a:pt x="187658" y="47219"/>
                  <a:pt x="174886" y="55844"/>
                  <a:pt x="167090" y="54020"/>
                </a:cubicBezTo>
                <a:cubicBezTo>
                  <a:pt x="159294" y="52195"/>
                  <a:pt x="146523" y="58001"/>
                  <a:pt x="150503" y="68782"/>
                </a:cubicBezTo>
                <a:cubicBezTo>
                  <a:pt x="154484" y="79563"/>
                  <a:pt x="144698" y="77739"/>
                  <a:pt x="149508" y="86530"/>
                </a:cubicBezTo>
                <a:cubicBezTo>
                  <a:pt x="154318" y="95321"/>
                  <a:pt x="138727" y="106102"/>
                  <a:pt x="124960" y="107097"/>
                </a:cubicBezTo>
                <a:cubicBezTo>
                  <a:pt x="111192" y="108093"/>
                  <a:pt x="93610" y="132641"/>
                  <a:pt x="78848" y="130651"/>
                </a:cubicBezTo>
                <a:cubicBezTo>
                  <a:pt x="64086" y="128661"/>
                  <a:pt x="49323" y="140603"/>
                  <a:pt x="36552" y="138612"/>
                </a:cubicBezTo>
                <a:cubicBezTo>
                  <a:pt x="23780" y="136622"/>
                  <a:pt x="32571" y="165151"/>
                  <a:pt x="22785" y="182899"/>
                </a:cubicBezTo>
                <a:cubicBezTo>
                  <a:pt x="12999" y="200647"/>
                  <a:pt x="17975" y="221049"/>
                  <a:pt x="26766" y="242778"/>
                </a:cubicBezTo>
                <a:cubicBezTo>
                  <a:pt x="35557" y="264507"/>
                  <a:pt x="42523" y="282089"/>
                  <a:pt x="18804" y="310618"/>
                </a:cubicBezTo>
                <a:cubicBezTo>
                  <a:pt x="-404" y="332430"/>
                  <a:pt x="-5363" y="363331"/>
                  <a:pt x="6032" y="390069"/>
                </a:cubicBezTo>
                <a:cubicBezTo>
                  <a:pt x="14989" y="409807"/>
                  <a:pt x="14989" y="439829"/>
                  <a:pt x="27761" y="453099"/>
                </a:cubicBezTo>
                <a:cubicBezTo>
                  <a:pt x="40532" y="466368"/>
                  <a:pt x="75862" y="478642"/>
                  <a:pt x="86644" y="467696"/>
                </a:cubicBezTo>
                <a:cubicBezTo>
                  <a:pt x="97426" y="456748"/>
                  <a:pt x="108871" y="469188"/>
                  <a:pt x="120979" y="454923"/>
                </a:cubicBezTo>
                <a:cubicBezTo>
                  <a:pt x="133087" y="440659"/>
                  <a:pt x="152494" y="365521"/>
                  <a:pt x="169246" y="315428"/>
                </a:cubicBezTo>
                <a:cubicBezTo>
                  <a:pt x="185999" y="265336"/>
                  <a:pt x="207562" y="199320"/>
                  <a:pt x="205572" y="185719"/>
                </a:cubicBezTo>
                <a:cubicBezTo>
                  <a:pt x="203581" y="172118"/>
                  <a:pt x="217348" y="163161"/>
                  <a:pt x="211543" y="148399"/>
                </a:cubicBezTo>
                <a:cubicBezTo>
                  <a:pt x="205738" y="133636"/>
                  <a:pt x="213367" y="116054"/>
                  <a:pt x="220334" y="127831"/>
                </a:cubicBezTo>
                <a:cubicBezTo>
                  <a:pt x="227300" y="139608"/>
                  <a:pt x="236921" y="139608"/>
                  <a:pt x="239906" y="123850"/>
                </a:cubicBezTo>
                <a:cubicBezTo>
                  <a:pt x="242892" y="108093"/>
                  <a:pt x="228130" y="83544"/>
                  <a:pt x="227134" y="60986"/>
                </a:cubicBezTo>
                <a:cubicBezTo>
                  <a:pt x="226139" y="38428"/>
                  <a:pt x="206401" y="16700"/>
                  <a:pt x="203415" y="591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3" name="Freeform: Shape 522">
            <a:extLst>
              <a:ext uri="{FF2B5EF4-FFF2-40B4-BE49-F238E27FC236}">
                <a16:creationId xmlns:a16="http://schemas.microsoft.com/office/drawing/2014/main" id="{EB9A3B06-1739-46E2-A5D4-DA85D831C826}"/>
              </a:ext>
            </a:extLst>
          </p:cNvPr>
          <p:cNvSpPr/>
          <p:nvPr/>
        </p:nvSpPr>
        <p:spPr>
          <a:xfrm>
            <a:off x="6440271" y="4170792"/>
            <a:ext cx="312734" cy="181764"/>
          </a:xfrm>
          <a:custGeom>
            <a:avLst/>
            <a:gdLst>
              <a:gd name="connsiteX0" fmla="*/ 280137 w 394435"/>
              <a:gd name="connsiteY0" fmla="*/ 8858 h 233736"/>
              <a:gd name="connsiteX1" fmla="*/ 214619 w 394435"/>
              <a:gd name="connsiteY1" fmla="*/ 12672 h 233736"/>
              <a:gd name="connsiteX2" fmla="*/ 163365 w 394435"/>
              <a:gd name="connsiteY2" fmla="*/ 57457 h 233736"/>
              <a:gd name="connsiteX3" fmla="*/ 140642 w 394435"/>
              <a:gd name="connsiteY3" fmla="*/ 65916 h 233736"/>
              <a:gd name="connsiteX4" fmla="*/ 94033 w 394435"/>
              <a:gd name="connsiteY4" fmla="*/ 58286 h 233736"/>
              <a:gd name="connsiteX5" fmla="*/ 53229 w 394435"/>
              <a:gd name="connsiteY5" fmla="*/ 54471 h 233736"/>
              <a:gd name="connsiteX6" fmla="*/ 28514 w 394435"/>
              <a:gd name="connsiteY6" fmla="*/ 50822 h 233736"/>
              <a:gd name="connsiteX7" fmla="*/ 14416 w 394435"/>
              <a:gd name="connsiteY7" fmla="*/ 63096 h 233736"/>
              <a:gd name="connsiteX8" fmla="*/ 15245 w 394435"/>
              <a:gd name="connsiteY8" fmla="*/ 81176 h 233736"/>
              <a:gd name="connsiteX9" fmla="*/ -15 w 394435"/>
              <a:gd name="connsiteY9" fmla="*/ 89469 h 233736"/>
              <a:gd name="connsiteX10" fmla="*/ 2805 w 394435"/>
              <a:gd name="connsiteY10" fmla="*/ 110037 h 233736"/>
              <a:gd name="connsiteX11" fmla="*/ 12591 w 394435"/>
              <a:gd name="connsiteY11" fmla="*/ 163115 h 233736"/>
              <a:gd name="connsiteX12" fmla="*/ 23870 w 394435"/>
              <a:gd name="connsiteY12" fmla="*/ 211714 h 233736"/>
              <a:gd name="connsiteX13" fmla="*/ 84246 w 394435"/>
              <a:gd name="connsiteY13" fmla="*/ 204748 h 233736"/>
              <a:gd name="connsiteX14" fmla="*/ 127040 w 394435"/>
              <a:gd name="connsiteY14" fmla="*/ 191478 h 233736"/>
              <a:gd name="connsiteX15" fmla="*/ 163365 w 394435"/>
              <a:gd name="connsiteY15" fmla="*/ 173896 h 233736"/>
              <a:gd name="connsiteX16" fmla="*/ 196539 w 394435"/>
              <a:gd name="connsiteY16" fmla="*/ 168423 h 233736"/>
              <a:gd name="connsiteX17" fmla="*/ 222581 w 394435"/>
              <a:gd name="connsiteY17" fmla="*/ 150841 h 233736"/>
              <a:gd name="connsiteX18" fmla="*/ 292743 w 394435"/>
              <a:gd name="connsiteY18" fmla="*/ 127785 h 233736"/>
              <a:gd name="connsiteX19" fmla="*/ 324755 w 394435"/>
              <a:gd name="connsiteY19" fmla="*/ 94611 h 233736"/>
              <a:gd name="connsiteX20" fmla="*/ 353119 w 394435"/>
              <a:gd name="connsiteY20" fmla="*/ 83996 h 233736"/>
              <a:gd name="connsiteX21" fmla="*/ 312481 w 394435"/>
              <a:gd name="connsiteY21" fmla="*/ -100 h 233736"/>
              <a:gd name="connsiteX22" fmla="*/ 280137 w 394435"/>
              <a:gd name="connsiteY22" fmla="*/ 8858 h 233736"/>
              <a:gd name="connsiteX23" fmla="*/ 361247 w 394435"/>
              <a:gd name="connsiteY23" fmla="*/ 229131 h 233736"/>
              <a:gd name="connsiteX24" fmla="*/ 394420 w 394435"/>
              <a:gd name="connsiteY24" fmla="*/ 222662 h 233736"/>
              <a:gd name="connsiteX25" fmla="*/ 360583 w 394435"/>
              <a:gd name="connsiteY25" fmla="*/ 229131 h 23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435" h="233736">
                <a:moveTo>
                  <a:pt x="280137" y="8858"/>
                </a:moveTo>
                <a:cubicBezTo>
                  <a:pt x="263550" y="12672"/>
                  <a:pt x="220424" y="9853"/>
                  <a:pt x="214619" y="12672"/>
                </a:cubicBezTo>
                <a:cubicBezTo>
                  <a:pt x="208814" y="15492"/>
                  <a:pt x="169171" y="44022"/>
                  <a:pt x="163365" y="57457"/>
                </a:cubicBezTo>
                <a:cubicBezTo>
                  <a:pt x="157560" y="70892"/>
                  <a:pt x="149101" y="72551"/>
                  <a:pt x="140642" y="65916"/>
                </a:cubicBezTo>
                <a:cubicBezTo>
                  <a:pt x="132182" y="59281"/>
                  <a:pt x="96853" y="61106"/>
                  <a:pt x="94033" y="58286"/>
                </a:cubicBezTo>
                <a:cubicBezTo>
                  <a:pt x="80846" y="54189"/>
                  <a:pt x="66946" y="52896"/>
                  <a:pt x="53229" y="54471"/>
                </a:cubicBezTo>
                <a:cubicBezTo>
                  <a:pt x="40955" y="56462"/>
                  <a:pt x="34320" y="48832"/>
                  <a:pt x="28514" y="50822"/>
                </a:cubicBezTo>
                <a:cubicBezTo>
                  <a:pt x="22792" y="53575"/>
                  <a:pt x="17932" y="57805"/>
                  <a:pt x="14416" y="63096"/>
                </a:cubicBezTo>
                <a:cubicBezTo>
                  <a:pt x="11430" y="66911"/>
                  <a:pt x="17235" y="77361"/>
                  <a:pt x="15245" y="81176"/>
                </a:cubicBezTo>
                <a:cubicBezTo>
                  <a:pt x="10485" y="84493"/>
                  <a:pt x="5359" y="87280"/>
                  <a:pt x="-15" y="89469"/>
                </a:cubicBezTo>
                <a:cubicBezTo>
                  <a:pt x="3104" y="95839"/>
                  <a:pt x="4082" y="103054"/>
                  <a:pt x="2805" y="110037"/>
                </a:cubicBezTo>
                <a:cubicBezTo>
                  <a:pt x="-628" y="128333"/>
                  <a:pt x="2855" y="147258"/>
                  <a:pt x="12591" y="163115"/>
                </a:cubicBezTo>
                <a:cubicBezTo>
                  <a:pt x="22875" y="178375"/>
                  <a:pt x="18894" y="206241"/>
                  <a:pt x="23870" y="211714"/>
                </a:cubicBezTo>
                <a:cubicBezTo>
                  <a:pt x="28846" y="217188"/>
                  <a:pt x="67162" y="216193"/>
                  <a:pt x="84246" y="204748"/>
                </a:cubicBezTo>
                <a:cubicBezTo>
                  <a:pt x="96653" y="195741"/>
                  <a:pt x="111698" y="191064"/>
                  <a:pt x="127040" y="191478"/>
                </a:cubicBezTo>
                <a:cubicBezTo>
                  <a:pt x="140840" y="190052"/>
                  <a:pt x="153696" y="183832"/>
                  <a:pt x="163365" y="173896"/>
                </a:cubicBezTo>
                <a:cubicBezTo>
                  <a:pt x="167844" y="167925"/>
                  <a:pt x="187914" y="167428"/>
                  <a:pt x="196539" y="168423"/>
                </a:cubicBezTo>
                <a:cubicBezTo>
                  <a:pt x="205165" y="169418"/>
                  <a:pt x="213126" y="160129"/>
                  <a:pt x="222581" y="150841"/>
                </a:cubicBezTo>
                <a:cubicBezTo>
                  <a:pt x="232035" y="141552"/>
                  <a:pt x="261394" y="137571"/>
                  <a:pt x="292743" y="127785"/>
                </a:cubicBezTo>
                <a:cubicBezTo>
                  <a:pt x="324092" y="117999"/>
                  <a:pt x="317291" y="103071"/>
                  <a:pt x="324755" y="94611"/>
                </a:cubicBezTo>
                <a:cubicBezTo>
                  <a:pt x="332220" y="86152"/>
                  <a:pt x="339517" y="89304"/>
                  <a:pt x="353119" y="83996"/>
                </a:cubicBezTo>
                <a:cubicBezTo>
                  <a:pt x="337859" y="52646"/>
                  <a:pt x="320940" y="17649"/>
                  <a:pt x="312481" y="-100"/>
                </a:cubicBezTo>
                <a:cubicBezTo>
                  <a:pt x="296724" y="4213"/>
                  <a:pt x="284284" y="7696"/>
                  <a:pt x="280137" y="8858"/>
                </a:cubicBezTo>
                <a:close/>
                <a:moveTo>
                  <a:pt x="361247" y="229131"/>
                </a:moveTo>
                <a:cubicBezTo>
                  <a:pt x="372194" y="240576"/>
                  <a:pt x="394420" y="227140"/>
                  <a:pt x="394420" y="222662"/>
                </a:cubicBezTo>
                <a:cubicBezTo>
                  <a:pt x="394420" y="218183"/>
                  <a:pt x="348143" y="216193"/>
                  <a:pt x="360583" y="22913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4" name="Freeform: Shape 523">
            <a:extLst>
              <a:ext uri="{FF2B5EF4-FFF2-40B4-BE49-F238E27FC236}">
                <a16:creationId xmlns:a16="http://schemas.microsoft.com/office/drawing/2014/main" id="{226F62B7-046A-449D-8891-73C4D4B35D5C}"/>
              </a:ext>
            </a:extLst>
          </p:cNvPr>
          <p:cNvSpPr/>
          <p:nvPr/>
        </p:nvSpPr>
        <p:spPr>
          <a:xfrm>
            <a:off x="8274424" y="4957098"/>
            <a:ext cx="1076014" cy="939015"/>
          </a:xfrm>
          <a:custGeom>
            <a:avLst/>
            <a:gdLst>
              <a:gd name="connsiteX0" fmla="*/ 1355176 w 1357119"/>
              <a:gd name="connsiteY0" fmla="*/ 605488 h 1207504"/>
              <a:gd name="connsiteX1" fmla="*/ 1347048 w 1357119"/>
              <a:gd name="connsiteY1" fmla="*/ 581271 h 1207504"/>
              <a:gd name="connsiteX2" fmla="*/ 1345556 w 1357119"/>
              <a:gd name="connsiteY2" fmla="*/ 525871 h 1207504"/>
              <a:gd name="connsiteX3" fmla="*/ 1337428 w 1357119"/>
              <a:gd name="connsiteY3" fmla="*/ 519236 h 1207504"/>
              <a:gd name="connsiteX4" fmla="*/ 1315368 w 1357119"/>
              <a:gd name="connsiteY4" fmla="*/ 493527 h 1207504"/>
              <a:gd name="connsiteX5" fmla="*/ 1289492 w 1357119"/>
              <a:gd name="connsiteY5" fmla="*/ 468480 h 1207504"/>
              <a:gd name="connsiteX6" fmla="*/ 1272905 w 1357119"/>
              <a:gd name="connsiteY6" fmla="*/ 453055 h 1207504"/>
              <a:gd name="connsiteX7" fmla="*/ 1261128 w 1357119"/>
              <a:gd name="connsiteY7" fmla="*/ 418388 h 1207504"/>
              <a:gd name="connsiteX8" fmla="*/ 1247693 w 1357119"/>
              <a:gd name="connsiteY8" fmla="*/ 407275 h 1207504"/>
              <a:gd name="connsiteX9" fmla="*/ 1228619 w 1357119"/>
              <a:gd name="connsiteY9" fmla="*/ 408768 h 1207504"/>
              <a:gd name="connsiteX10" fmla="*/ 1220490 w 1357119"/>
              <a:gd name="connsiteY10" fmla="*/ 385878 h 1207504"/>
              <a:gd name="connsiteX11" fmla="*/ 1208050 w 1357119"/>
              <a:gd name="connsiteY11" fmla="*/ 361496 h 1207504"/>
              <a:gd name="connsiteX12" fmla="*/ 1196937 w 1357119"/>
              <a:gd name="connsiteY12" fmla="*/ 337278 h 1207504"/>
              <a:gd name="connsiteX13" fmla="*/ 1120306 w 1357119"/>
              <a:gd name="connsiteY13" fmla="*/ 292328 h 1207504"/>
              <a:gd name="connsiteX14" fmla="*/ 1112179 w 1357119"/>
              <a:gd name="connsiteY14" fmla="*/ 269438 h 1207504"/>
              <a:gd name="connsiteX15" fmla="*/ 1104052 w 1357119"/>
              <a:gd name="connsiteY15" fmla="*/ 228966 h 1207504"/>
              <a:gd name="connsiteX16" fmla="*/ 1084147 w 1357119"/>
              <a:gd name="connsiteY16" fmla="*/ 194300 h 1207504"/>
              <a:gd name="connsiteX17" fmla="*/ 1079835 w 1357119"/>
              <a:gd name="connsiteY17" fmla="*/ 153828 h 1207504"/>
              <a:gd name="connsiteX18" fmla="*/ 1057609 w 1357119"/>
              <a:gd name="connsiteY18" fmla="*/ 127290 h 1207504"/>
              <a:gd name="connsiteX19" fmla="*/ 1031898 w 1357119"/>
              <a:gd name="connsiteY19" fmla="*/ 127290 h 1207504"/>
              <a:gd name="connsiteX20" fmla="*/ 1021615 w 1357119"/>
              <a:gd name="connsiteY20" fmla="*/ 94116 h 1207504"/>
              <a:gd name="connsiteX21" fmla="*/ 1006023 w 1357119"/>
              <a:gd name="connsiteY21" fmla="*/ 41038 h 1207504"/>
              <a:gd name="connsiteX22" fmla="*/ 989436 w 1357119"/>
              <a:gd name="connsiteY22" fmla="*/ 566 h 1207504"/>
              <a:gd name="connsiteX23" fmla="*/ 968039 w 1357119"/>
              <a:gd name="connsiteY23" fmla="*/ 24949 h 1207504"/>
              <a:gd name="connsiteX24" fmla="*/ 959912 w 1357119"/>
              <a:gd name="connsiteY24" fmla="*/ 51488 h 1207504"/>
              <a:gd name="connsiteX25" fmla="*/ 955433 w 1357119"/>
              <a:gd name="connsiteY25" fmla="*/ 88310 h 1207504"/>
              <a:gd name="connsiteX26" fmla="*/ 952448 w 1357119"/>
              <a:gd name="connsiteY26" fmla="*/ 147193 h 1207504"/>
              <a:gd name="connsiteX27" fmla="*/ 942164 w 1357119"/>
              <a:gd name="connsiteY27" fmla="*/ 198115 h 1207504"/>
              <a:gd name="connsiteX28" fmla="*/ 914132 w 1357119"/>
              <a:gd name="connsiteY28" fmla="*/ 237094 h 1207504"/>
              <a:gd name="connsiteX29" fmla="*/ 873660 w 1357119"/>
              <a:gd name="connsiteY29" fmla="*/ 220507 h 1207504"/>
              <a:gd name="connsiteX30" fmla="*/ 844135 w 1357119"/>
              <a:gd name="connsiteY30" fmla="*/ 206575 h 1207504"/>
              <a:gd name="connsiteX31" fmla="*/ 811792 w 1357119"/>
              <a:gd name="connsiteY31" fmla="*/ 180699 h 1207504"/>
              <a:gd name="connsiteX32" fmla="*/ 777788 w 1357119"/>
              <a:gd name="connsiteY32" fmla="*/ 168922 h 1207504"/>
              <a:gd name="connsiteX33" fmla="*/ 755728 w 1357119"/>
              <a:gd name="connsiteY33" fmla="*/ 143876 h 1207504"/>
              <a:gd name="connsiteX34" fmla="*/ 758714 w 1357119"/>
              <a:gd name="connsiteY34" fmla="*/ 127290 h 1207504"/>
              <a:gd name="connsiteX35" fmla="*/ 761699 w 1357119"/>
              <a:gd name="connsiteY35" fmla="*/ 99258 h 1207504"/>
              <a:gd name="connsiteX36" fmla="*/ 783096 w 1357119"/>
              <a:gd name="connsiteY36" fmla="*/ 83832 h 1207504"/>
              <a:gd name="connsiteX37" fmla="*/ 794044 w 1357119"/>
              <a:gd name="connsiteY37" fmla="*/ 61771 h 1207504"/>
              <a:gd name="connsiteX38" fmla="*/ 786745 w 1357119"/>
              <a:gd name="connsiteY38" fmla="*/ 45185 h 1207504"/>
              <a:gd name="connsiteX39" fmla="*/ 774139 w 1357119"/>
              <a:gd name="connsiteY39" fmla="*/ 58454 h 1207504"/>
              <a:gd name="connsiteX40" fmla="*/ 761699 w 1357119"/>
              <a:gd name="connsiteY40" fmla="*/ 40706 h 1207504"/>
              <a:gd name="connsiteX41" fmla="*/ 736653 w 1357119"/>
              <a:gd name="connsiteY41" fmla="*/ 51156 h 1207504"/>
              <a:gd name="connsiteX42" fmla="*/ 671633 w 1357119"/>
              <a:gd name="connsiteY42" fmla="*/ 31252 h 1207504"/>
              <a:gd name="connsiteX43" fmla="*/ 640782 w 1357119"/>
              <a:gd name="connsiteY43" fmla="*/ 12011 h 1207504"/>
              <a:gd name="connsiteX44" fmla="*/ 653222 w 1357119"/>
              <a:gd name="connsiteY44" fmla="*/ 34237 h 1207504"/>
              <a:gd name="connsiteX45" fmla="*/ 602466 w 1357119"/>
              <a:gd name="connsiteY45" fmla="*/ 49663 h 1207504"/>
              <a:gd name="connsiteX46" fmla="*/ 592845 w 1357119"/>
              <a:gd name="connsiteY46" fmla="*/ 59117 h 1207504"/>
              <a:gd name="connsiteX47" fmla="*/ 569292 w 1357119"/>
              <a:gd name="connsiteY47" fmla="*/ 89306 h 1207504"/>
              <a:gd name="connsiteX48" fmla="*/ 556022 w 1357119"/>
              <a:gd name="connsiteY48" fmla="*/ 113688 h 1207504"/>
              <a:gd name="connsiteX49" fmla="*/ 557515 w 1357119"/>
              <a:gd name="connsiteY49" fmla="*/ 141720 h 1207504"/>
              <a:gd name="connsiteX50" fmla="*/ 540929 w 1357119"/>
              <a:gd name="connsiteY50" fmla="*/ 145369 h 1207504"/>
              <a:gd name="connsiteX51" fmla="*/ 519532 w 1357119"/>
              <a:gd name="connsiteY51" fmla="*/ 146862 h 1207504"/>
              <a:gd name="connsiteX52" fmla="*/ 508418 w 1357119"/>
              <a:gd name="connsiteY52" fmla="*/ 139564 h 1207504"/>
              <a:gd name="connsiteX53" fmla="*/ 490007 w 1357119"/>
              <a:gd name="connsiteY53" fmla="*/ 124138 h 1207504"/>
              <a:gd name="connsiteX54" fmla="*/ 461975 w 1357119"/>
              <a:gd name="connsiteY54" fmla="*/ 103404 h 1207504"/>
              <a:gd name="connsiteX55" fmla="*/ 442901 w 1357119"/>
              <a:gd name="connsiteY55" fmla="*/ 114517 h 1207504"/>
              <a:gd name="connsiteX56" fmla="*/ 432451 w 1357119"/>
              <a:gd name="connsiteY56" fmla="*/ 129943 h 1207504"/>
              <a:gd name="connsiteX57" fmla="*/ 406741 w 1357119"/>
              <a:gd name="connsiteY57" fmla="*/ 129943 h 1207504"/>
              <a:gd name="connsiteX58" fmla="*/ 400936 w 1357119"/>
              <a:gd name="connsiteY58" fmla="*/ 144706 h 1207504"/>
              <a:gd name="connsiteX59" fmla="*/ 385344 w 1357119"/>
              <a:gd name="connsiteY59" fmla="*/ 155819 h 1207504"/>
              <a:gd name="connsiteX60" fmla="*/ 378709 w 1357119"/>
              <a:gd name="connsiteY60" fmla="*/ 188163 h 1207504"/>
              <a:gd name="connsiteX61" fmla="*/ 354493 w 1357119"/>
              <a:gd name="connsiteY61" fmla="*/ 186007 h 1207504"/>
              <a:gd name="connsiteX62" fmla="*/ 359635 w 1357119"/>
              <a:gd name="connsiteY62" fmla="*/ 211053 h 1207504"/>
              <a:gd name="connsiteX63" fmla="*/ 349351 w 1357119"/>
              <a:gd name="connsiteY63" fmla="*/ 227640 h 1207504"/>
              <a:gd name="connsiteX64" fmla="*/ 336082 w 1357119"/>
              <a:gd name="connsiteY64" fmla="*/ 202593 h 1207504"/>
              <a:gd name="connsiteX65" fmla="*/ 310206 w 1357119"/>
              <a:gd name="connsiteY65" fmla="*/ 215863 h 1207504"/>
              <a:gd name="connsiteX66" fmla="*/ 308713 w 1357119"/>
              <a:gd name="connsiteY66" fmla="*/ 255008 h 1207504"/>
              <a:gd name="connsiteX67" fmla="*/ 260777 w 1357119"/>
              <a:gd name="connsiteY67" fmla="*/ 302114 h 1207504"/>
              <a:gd name="connsiteX68" fmla="*/ 201894 w 1357119"/>
              <a:gd name="connsiteY68" fmla="*/ 318701 h 1207504"/>
              <a:gd name="connsiteX69" fmla="*/ 170213 w 1357119"/>
              <a:gd name="connsiteY69" fmla="*/ 328985 h 1207504"/>
              <a:gd name="connsiteX70" fmla="*/ 138532 w 1357119"/>
              <a:gd name="connsiteY70" fmla="*/ 342918 h 1207504"/>
              <a:gd name="connsiteX71" fmla="*/ 98724 w 1357119"/>
              <a:gd name="connsiteY71" fmla="*/ 352538 h 1207504"/>
              <a:gd name="connsiteX72" fmla="*/ 57422 w 1357119"/>
              <a:gd name="connsiteY72" fmla="*/ 375428 h 1207504"/>
              <a:gd name="connsiteX73" fmla="*/ 39840 w 1357119"/>
              <a:gd name="connsiteY73" fmla="*/ 399811 h 1207504"/>
              <a:gd name="connsiteX74" fmla="*/ 36025 w 1357119"/>
              <a:gd name="connsiteY74" fmla="*/ 379078 h 1207504"/>
              <a:gd name="connsiteX75" fmla="*/ 19439 w 1357119"/>
              <a:gd name="connsiteY75" fmla="*/ 403460 h 1207504"/>
              <a:gd name="connsiteX76" fmla="*/ 20932 w 1357119"/>
              <a:gd name="connsiteY76" fmla="*/ 440946 h 1207504"/>
              <a:gd name="connsiteX77" fmla="*/ 15126 w 1357119"/>
              <a:gd name="connsiteY77" fmla="*/ 494024 h 1207504"/>
              <a:gd name="connsiteX78" fmla="*/ 34201 w 1357119"/>
              <a:gd name="connsiteY78" fmla="*/ 538311 h 1207504"/>
              <a:gd name="connsiteX79" fmla="*/ 14297 w 1357119"/>
              <a:gd name="connsiteY79" fmla="*/ 521724 h 1207504"/>
              <a:gd name="connsiteX80" fmla="*/ 23917 w 1357119"/>
              <a:gd name="connsiteY80" fmla="*/ 545277 h 1207504"/>
              <a:gd name="connsiteX81" fmla="*/ 198 w 1357119"/>
              <a:gd name="connsiteY81" fmla="*/ 527529 h 1207504"/>
              <a:gd name="connsiteX82" fmla="*/ 33372 w 1357119"/>
              <a:gd name="connsiteY82" fmla="*/ 602668 h 1207504"/>
              <a:gd name="connsiteX83" fmla="*/ 61404 w 1357119"/>
              <a:gd name="connsiteY83" fmla="*/ 665366 h 1207504"/>
              <a:gd name="connsiteX84" fmla="*/ 90928 w 1357119"/>
              <a:gd name="connsiteY84" fmla="*/ 741334 h 1207504"/>
              <a:gd name="connsiteX85" fmla="*/ 83463 w 1357119"/>
              <a:gd name="connsiteY85" fmla="*/ 785455 h 1207504"/>
              <a:gd name="connsiteX86" fmla="*/ 64389 w 1357119"/>
              <a:gd name="connsiteY86" fmla="*/ 812823 h 1207504"/>
              <a:gd name="connsiteX87" fmla="*/ 73180 w 1357119"/>
              <a:gd name="connsiteY87" fmla="*/ 834883 h 1207504"/>
              <a:gd name="connsiteX88" fmla="*/ 97397 w 1357119"/>
              <a:gd name="connsiteY88" fmla="*/ 856281 h 1207504"/>
              <a:gd name="connsiteX89" fmla="*/ 162251 w 1357119"/>
              <a:gd name="connsiteY89" fmla="*/ 862915 h 1207504"/>
              <a:gd name="connsiteX90" fmla="*/ 195425 w 1357119"/>
              <a:gd name="connsiteY90" fmla="*/ 843011 h 1207504"/>
              <a:gd name="connsiteX91" fmla="*/ 218979 w 1357119"/>
              <a:gd name="connsiteY91" fmla="*/ 826424 h 1207504"/>
              <a:gd name="connsiteX92" fmla="*/ 304566 w 1357119"/>
              <a:gd name="connsiteY92" fmla="*/ 821283 h 1207504"/>
              <a:gd name="connsiteX93" fmla="*/ 366435 w 1357119"/>
              <a:gd name="connsiteY93" fmla="*/ 795407 h 1207504"/>
              <a:gd name="connsiteX94" fmla="*/ 410722 w 1357119"/>
              <a:gd name="connsiteY94" fmla="*/ 770361 h 1207504"/>
              <a:gd name="connsiteX95" fmla="*/ 460483 w 1357119"/>
              <a:gd name="connsiteY95" fmla="*/ 760906 h 1207504"/>
              <a:gd name="connsiteX96" fmla="*/ 534293 w 1357119"/>
              <a:gd name="connsiteY96" fmla="*/ 739509 h 1207504"/>
              <a:gd name="connsiteX97" fmla="*/ 604290 w 1357119"/>
              <a:gd name="connsiteY97" fmla="*/ 730553 h 1207504"/>
              <a:gd name="connsiteX98" fmla="*/ 644762 w 1357119"/>
              <a:gd name="connsiteY98" fmla="*/ 750456 h 1207504"/>
              <a:gd name="connsiteX99" fmla="*/ 683907 w 1357119"/>
              <a:gd name="connsiteY99" fmla="*/ 755764 h 1207504"/>
              <a:gd name="connsiteX100" fmla="*/ 702982 w 1357119"/>
              <a:gd name="connsiteY100" fmla="*/ 765219 h 1207504"/>
              <a:gd name="connsiteX101" fmla="*/ 705304 w 1357119"/>
              <a:gd name="connsiteY101" fmla="*/ 785952 h 1207504"/>
              <a:gd name="connsiteX102" fmla="*/ 734663 w 1357119"/>
              <a:gd name="connsiteY102" fmla="*/ 813984 h 1207504"/>
              <a:gd name="connsiteX103" fmla="*/ 742790 w 1357119"/>
              <a:gd name="connsiteY103" fmla="*/ 850807 h 1207504"/>
              <a:gd name="connsiteX104" fmla="*/ 769993 w 1357119"/>
              <a:gd name="connsiteY104" fmla="*/ 841186 h 1207504"/>
              <a:gd name="connsiteX105" fmla="*/ 803166 w 1357119"/>
              <a:gd name="connsiteY105" fmla="*/ 816141 h 1207504"/>
              <a:gd name="connsiteX106" fmla="*/ 831198 w 1357119"/>
              <a:gd name="connsiteY106" fmla="*/ 786616 h 1207504"/>
              <a:gd name="connsiteX107" fmla="*/ 817265 w 1357119"/>
              <a:gd name="connsiteY107" fmla="*/ 833723 h 1207504"/>
              <a:gd name="connsiteX108" fmla="*/ 796531 w 1357119"/>
              <a:gd name="connsiteY108" fmla="*/ 859598 h 1207504"/>
              <a:gd name="connsiteX109" fmla="*/ 827548 w 1357119"/>
              <a:gd name="connsiteY109" fmla="*/ 856613 h 1207504"/>
              <a:gd name="connsiteX110" fmla="*/ 845961 w 1357119"/>
              <a:gd name="connsiteY110" fmla="*/ 846992 h 1207504"/>
              <a:gd name="connsiteX111" fmla="*/ 841482 w 1357119"/>
              <a:gd name="connsiteY111" fmla="*/ 883981 h 1207504"/>
              <a:gd name="connsiteX112" fmla="*/ 865865 w 1357119"/>
              <a:gd name="connsiteY112" fmla="*/ 882488 h 1207504"/>
              <a:gd name="connsiteX113" fmla="*/ 893896 w 1357119"/>
              <a:gd name="connsiteY113" fmla="*/ 928102 h 1207504"/>
              <a:gd name="connsiteX114" fmla="*/ 911644 w 1357119"/>
              <a:gd name="connsiteY114" fmla="*/ 970896 h 1207504"/>
              <a:gd name="connsiteX115" fmla="*/ 944817 w 1357119"/>
              <a:gd name="connsiteY115" fmla="*/ 985658 h 1207504"/>
              <a:gd name="connsiteX116" fmla="*/ 1011165 w 1357119"/>
              <a:gd name="connsiteY116" fmla="*/ 1009211 h 1207504"/>
              <a:gd name="connsiteX117" fmla="*/ 1053130 w 1357119"/>
              <a:gd name="connsiteY117" fmla="*/ 984828 h 1207504"/>
              <a:gd name="connsiteX118" fmla="*/ 1067228 w 1357119"/>
              <a:gd name="connsiteY118" fmla="*/ 990136 h 1207504"/>
              <a:gd name="connsiteX119" fmla="*/ 1073200 w 1357119"/>
              <a:gd name="connsiteY119" fmla="*/ 1000420 h 1207504"/>
              <a:gd name="connsiteX120" fmla="*/ 1081991 w 1357119"/>
              <a:gd name="connsiteY120" fmla="*/ 993785 h 1207504"/>
              <a:gd name="connsiteX121" fmla="*/ 1104052 w 1357119"/>
              <a:gd name="connsiteY121" fmla="*/ 1013689 h 1207504"/>
              <a:gd name="connsiteX122" fmla="*/ 1115165 w 1357119"/>
              <a:gd name="connsiteY122" fmla="*/ 1021651 h 1207504"/>
              <a:gd name="connsiteX123" fmla="*/ 1129927 w 1357119"/>
              <a:gd name="connsiteY123" fmla="*/ 1003240 h 1207504"/>
              <a:gd name="connsiteX124" fmla="*/ 1161607 w 1357119"/>
              <a:gd name="connsiteY124" fmla="*/ 980516 h 1207504"/>
              <a:gd name="connsiteX125" fmla="*/ 1230775 w 1357119"/>
              <a:gd name="connsiteY125" fmla="*/ 967910 h 1207504"/>
              <a:gd name="connsiteX126" fmla="*/ 1241888 w 1357119"/>
              <a:gd name="connsiteY126" fmla="*/ 901563 h 1207504"/>
              <a:gd name="connsiteX127" fmla="*/ 1266934 w 1357119"/>
              <a:gd name="connsiteY127" fmla="*/ 850641 h 1207504"/>
              <a:gd name="connsiteX128" fmla="*/ 1302264 w 1357119"/>
              <a:gd name="connsiteY128" fmla="*/ 779152 h 1207504"/>
              <a:gd name="connsiteX129" fmla="*/ 1322168 w 1357119"/>
              <a:gd name="connsiteY129" fmla="*/ 756428 h 1207504"/>
              <a:gd name="connsiteX130" fmla="*/ 1339916 w 1357119"/>
              <a:gd name="connsiteY130" fmla="*/ 709985 h 1207504"/>
              <a:gd name="connsiteX131" fmla="*/ 1348043 w 1357119"/>
              <a:gd name="connsiteY131" fmla="*/ 667854 h 1207504"/>
              <a:gd name="connsiteX132" fmla="*/ 1351693 w 1357119"/>
              <a:gd name="connsiteY132" fmla="*/ 634681 h 1207504"/>
              <a:gd name="connsiteX133" fmla="*/ 1355176 w 1357119"/>
              <a:gd name="connsiteY133" fmla="*/ 605488 h 1207504"/>
              <a:gd name="connsiteX134" fmla="*/ 616730 w 1357119"/>
              <a:gd name="connsiteY134" fmla="*/ 28432 h 1207504"/>
              <a:gd name="connsiteX135" fmla="*/ 573936 w 1357119"/>
              <a:gd name="connsiteY135" fmla="*/ 38881 h 1207504"/>
              <a:gd name="connsiteX136" fmla="*/ 616730 w 1357119"/>
              <a:gd name="connsiteY136" fmla="*/ 28598 h 1207504"/>
              <a:gd name="connsiteX137" fmla="*/ 782599 w 1357119"/>
              <a:gd name="connsiteY137" fmla="*/ 901065 h 1207504"/>
              <a:gd name="connsiteX138" fmla="*/ 822407 w 1357119"/>
              <a:gd name="connsiteY138" fmla="*/ 895923 h 1207504"/>
              <a:gd name="connsiteX139" fmla="*/ 782599 w 1357119"/>
              <a:gd name="connsiteY139" fmla="*/ 901231 h 1207504"/>
              <a:gd name="connsiteX140" fmla="*/ 1115663 w 1357119"/>
              <a:gd name="connsiteY140" fmla="*/ 1105913 h 1207504"/>
              <a:gd name="connsiteX141" fmla="*/ 1058935 w 1357119"/>
              <a:gd name="connsiteY141" fmla="*/ 1089326 h 1207504"/>
              <a:gd name="connsiteX142" fmla="*/ 1074361 w 1357119"/>
              <a:gd name="connsiteY142" fmla="*/ 1155673 h 1207504"/>
              <a:gd name="connsiteX143" fmla="*/ 1118648 w 1357119"/>
              <a:gd name="connsiteY143" fmla="*/ 1207258 h 1207504"/>
              <a:gd name="connsiteX144" fmla="*/ 1137059 w 1357119"/>
              <a:gd name="connsiteY144" fmla="*/ 1193989 h 1207504"/>
              <a:gd name="connsiteX145" fmla="*/ 1144358 w 1357119"/>
              <a:gd name="connsiteY145" fmla="*/ 1177402 h 1207504"/>
              <a:gd name="connsiteX146" fmla="*/ 1163598 w 1357119"/>
              <a:gd name="connsiteY146" fmla="*/ 1181051 h 1207504"/>
              <a:gd name="connsiteX147" fmla="*/ 1173052 w 1357119"/>
              <a:gd name="connsiteY147" fmla="*/ 1145057 h 1207504"/>
              <a:gd name="connsiteX148" fmla="*/ 1171560 w 1357119"/>
              <a:gd name="connsiteY148" fmla="*/ 1094136 h 1207504"/>
              <a:gd name="connsiteX149" fmla="*/ 1115663 w 1357119"/>
              <a:gd name="connsiteY149" fmla="*/ 1106078 h 120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357119" h="1207504">
                <a:moveTo>
                  <a:pt x="1355176" y="605488"/>
                </a:moveTo>
                <a:cubicBezTo>
                  <a:pt x="1360981" y="601175"/>
                  <a:pt x="1352190" y="577456"/>
                  <a:pt x="1347048" y="581271"/>
                </a:cubicBezTo>
                <a:cubicBezTo>
                  <a:pt x="1341906" y="585086"/>
                  <a:pt x="1341906" y="544448"/>
                  <a:pt x="1345556" y="525871"/>
                </a:cubicBezTo>
                <a:cubicBezTo>
                  <a:pt x="1349204" y="507293"/>
                  <a:pt x="1347048" y="509284"/>
                  <a:pt x="1337428" y="519236"/>
                </a:cubicBezTo>
                <a:cubicBezTo>
                  <a:pt x="1327808" y="529188"/>
                  <a:pt x="1317524" y="500825"/>
                  <a:pt x="1315368" y="493527"/>
                </a:cubicBezTo>
                <a:cubicBezTo>
                  <a:pt x="1313211" y="486228"/>
                  <a:pt x="1302098" y="465495"/>
                  <a:pt x="1289492" y="468480"/>
                </a:cubicBezTo>
                <a:cubicBezTo>
                  <a:pt x="1276886" y="471466"/>
                  <a:pt x="1285180" y="450733"/>
                  <a:pt x="1272905" y="453055"/>
                </a:cubicBezTo>
                <a:cubicBezTo>
                  <a:pt x="1260631" y="455377"/>
                  <a:pt x="1258806" y="436468"/>
                  <a:pt x="1261128" y="418388"/>
                </a:cubicBezTo>
                <a:cubicBezTo>
                  <a:pt x="1263451" y="400309"/>
                  <a:pt x="1253001" y="414739"/>
                  <a:pt x="1247693" y="407275"/>
                </a:cubicBezTo>
                <a:cubicBezTo>
                  <a:pt x="1242385" y="399811"/>
                  <a:pt x="1236746" y="405782"/>
                  <a:pt x="1228619" y="408768"/>
                </a:cubicBezTo>
                <a:cubicBezTo>
                  <a:pt x="1220490" y="411754"/>
                  <a:pt x="1218335" y="393342"/>
                  <a:pt x="1220490" y="385878"/>
                </a:cubicBezTo>
                <a:cubicBezTo>
                  <a:pt x="1222647" y="378414"/>
                  <a:pt x="1218998" y="369291"/>
                  <a:pt x="1208050" y="361496"/>
                </a:cubicBezTo>
                <a:cubicBezTo>
                  <a:pt x="1199509" y="356668"/>
                  <a:pt x="1195030" y="346899"/>
                  <a:pt x="1196937" y="337278"/>
                </a:cubicBezTo>
                <a:cubicBezTo>
                  <a:pt x="1196937" y="327658"/>
                  <a:pt x="1134240" y="295314"/>
                  <a:pt x="1120306" y="292328"/>
                </a:cubicBezTo>
                <a:cubicBezTo>
                  <a:pt x="1106374" y="289343"/>
                  <a:pt x="1118150" y="274580"/>
                  <a:pt x="1112179" y="269438"/>
                </a:cubicBezTo>
                <a:cubicBezTo>
                  <a:pt x="1105544" y="257048"/>
                  <a:pt x="1102708" y="242966"/>
                  <a:pt x="1104052" y="228966"/>
                </a:cubicBezTo>
                <a:cubicBezTo>
                  <a:pt x="1104052" y="212380"/>
                  <a:pt x="1083484" y="207570"/>
                  <a:pt x="1084147" y="194300"/>
                </a:cubicBezTo>
                <a:cubicBezTo>
                  <a:pt x="1084810" y="181031"/>
                  <a:pt x="1078342" y="168591"/>
                  <a:pt x="1079835" y="153828"/>
                </a:cubicBezTo>
                <a:cubicBezTo>
                  <a:pt x="1081328" y="139066"/>
                  <a:pt x="1058438" y="135417"/>
                  <a:pt x="1057609" y="127290"/>
                </a:cubicBezTo>
                <a:cubicBezTo>
                  <a:pt x="1056779" y="119162"/>
                  <a:pt x="1044338" y="126460"/>
                  <a:pt x="1031898" y="127290"/>
                </a:cubicBezTo>
                <a:cubicBezTo>
                  <a:pt x="1019458" y="128119"/>
                  <a:pt x="1020122" y="110703"/>
                  <a:pt x="1021615" y="94116"/>
                </a:cubicBezTo>
                <a:cubicBezTo>
                  <a:pt x="1023157" y="75107"/>
                  <a:pt x="1017600" y="56198"/>
                  <a:pt x="1006023" y="41038"/>
                </a:cubicBezTo>
                <a:cubicBezTo>
                  <a:pt x="995739" y="33076"/>
                  <a:pt x="995076" y="5044"/>
                  <a:pt x="989436" y="566"/>
                </a:cubicBezTo>
                <a:cubicBezTo>
                  <a:pt x="983797" y="-3912"/>
                  <a:pt x="967210" y="15328"/>
                  <a:pt x="968039" y="24949"/>
                </a:cubicBezTo>
                <a:cubicBezTo>
                  <a:pt x="969333" y="34553"/>
                  <a:pt x="966364" y="44256"/>
                  <a:pt x="959912" y="51488"/>
                </a:cubicBezTo>
                <a:cubicBezTo>
                  <a:pt x="953277" y="57293"/>
                  <a:pt x="964390" y="80182"/>
                  <a:pt x="955433" y="88310"/>
                </a:cubicBezTo>
                <a:cubicBezTo>
                  <a:pt x="946477" y="96438"/>
                  <a:pt x="955433" y="128782"/>
                  <a:pt x="952448" y="147193"/>
                </a:cubicBezTo>
                <a:cubicBezTo>
                  <a:pt x="952829" y="164726"/>
                  <a:pt x="949312" y="182109"/>
                  <a:pt x="942164" y="198115"/>
                </a:cubicBezTo>
                <a:cubicBezTo>
                  <a:pt x="933372" y="210555"/>
                  <a:pt x="931880" y="230460"/>
                  <a:pt x="914132" y="237094"/>
                </a:cubicBezTo>
                <a:cubicBezTo>
                  <a:pt x="896384" y="243729"/>
                  <a:pt x="872997" y="229796"/>
                  <a:pt x="873660" y="220507"/>
                </a:cubicBezTo>
                <a:cubicBezTo>
                  <a:pt x="874323" y="211219"/>
                  <a:pt x="854420" y="205081"/>
                  <a:pt x="844135" y="206575"/>
                </a:cubicBezTo>
                <a:cubicBezTo>
                  <a:pt x="833852" y="208067"/>
                  <a:pt x="827548" y="193305"/>
                  <a:pt x="811792" y="180699"/>
                </a:cubicBezTo>
                <a:cubicBezTo>
                  <a:pt x="796034" y="168093"/>
                  <a:pt x="783096" y="183685"/>
                  <a:pt x="777788" y="168922"/>
                </a:cubicBezTo>
                <a:cubicBezTo>
                  <a:pt x="772481" y="154160"/>
                  <a:pt x="767504" y="152335"/>
                  <a:pt x="755728" y="143876"/>
                </a:cubicBezTo>
                <a:cubicBezTo>
                  <a:pt x="743951" y="135417"/>
                  <a:pt x="747601" y="135748"/>
                  <a:pt x="758714" y="127290"/>
                </a:cubicBezTo>
                <a:cubicBezTo>
                  <a:pt x="769827" y="118830"/>
                  <a:pt x="767504" y="108878"/>
                  <a:pt x="761699" y="99258"/>
                </a:cubicBezTo>
                <a:cubicBezTo>
                  <a:pt x="755894" y="89637"/>
                  <a:pt x="768334" y="91960"/>
                  <a:pt x="783096" y="83832"/>
                </a:cubicBezTo>
                <a:cubicBezTo>
                  <a:pt x="797858" y="75704"/>
                  <a:pt x="783096" y="66084"/>
                  <a:pt x="794044" y="61771"/>
                </a:cubicBezTo>
                <a:cubicBezTo>
                  <a:pt x="804991" y="57459"/>
                  <a:pt x="798521" y="47672"/>
                  <a:pt x="786745" y="45185"/>
                </a:cubicBezTo>
                <a:cubicBezTo>
                  <a:pt x="774968" y="42697"/>
                  <a:pt x="778618" y="56961"/>
                  <a:pt x="774139" y="58454"/>
                </a:cubicBezTo>
                <a:cubicBezTo>
                  <a:pt x="769661" y="59947"/>
                  <a:pt x="765348" y="40043"/>
                  <a:pt x="761699" y="40706"/>
                </a:cubicBezTo>
                <a:cubicBezTo>
                  <a:pt x="758051" y="41369"/>
                  <a:pt x="743951" y="60610"/>
                  <a:pt x="736653" y="51156"/>
                </a:cubicBezTo>
                <a:cubicBezTo>
                  <a:pt x="729355" y="41701"/>
                  <a:pt x="687888" y="33408"/>
                  <a:pt x="671633" y="31252"/>
                </a:cubicBezTo>
                <a:cubicBezTo>
                  <a:pt x="655378" y="29095"/>
                  <a:pt x="650401" y="8362"/>
                  <a:pt x="640782" y="12011"/>
                </a:cubicBezTo>
                <a:cubicBezTo>
                  <a:pt x="631161" y="15660"/>
                  <a:pt x="642274" y="22295"/>
                  <a:pt x="653222" y="34237"/>
                </a:cubicBezTo>
                <a:cubicBezTo>
                  <a:pt x="664169" y="46180"/>
                  <a:pt x="616398" y="53976"/>
                  <a:pt x="602466" y="49663"/>
                </a:cubicBezTo>
                <a:cubicBezTo>
                  <a:pt x="588533" y="45351"/>
                  <a:pt x="604622" y="59947"/>
                  <a:pt x="592845" y="59117"/>
                </a:cubicBezTo>
                <a:cubicBezTo>
                  <a:pt x="581068" y="58288"/>
                  <a:pt x="578912" y="79022"/>
                  <a:pt x="569292" y="89306"/>
                </a:cubicBezTo>
                <a:cubicBezTo>
                  <a:pt x="559672" y="99589"/>
                  <a:pt x="566306" y="107054"/>
                  <a:pt x="556022" y="113688"/>
                </a:cubicBezTo>
                <a:cubicBezTo>
                  <a:pt x="545738" y="120323"/>
                  <a:pt x="544909" y="127787"/>
                  <a:pt x="557515" y="141720"/>
                </a:cubicBezTo>
                <a:cubicBezTo>
                  <a:pt x="570122" y="155653"/>
                  <a:pt x="551544" y="156482"/>
                  <a:pt x="540929" y="145369"/>
                </a:cubicBezTo>
                <a:cubicBezTo>
                  <a:pt x="530313" y="134256"/>
                  <a:pt x="518702" y="134422"/>
                  <a:pt x="519532" y="146862"/>
                </a:cubicBezTo>
                <a:cubicBezTo>
                  <a:pt x="520361" y="159302"/>
                  <a:pt x="506262" y="153497"/>
                  <a:pt x="508418" y="139564"/>
                </a:cubicBezTo>
                <a:cubicBezTo>
                  <a:pt x="510574" y="125631"/>
                  <a:pt x="492992" y="132099"/>
                  <a:pt x="490007" y="124138"/>
                </a:cubicBezTo>
                <a:cubicBezTo>
                  <a:pt x="484517" y="113141"/>
                  <a:pt x="474100" y="105444"/>
                  <a:pt x="461975" y="103404"/>
                </a:cubicBezTo>
                <a:cubicBezTo>
                  <a:pt x="452520" y="103404"/>
                  <a:pt x="452520" y="114517"/>
                  <a:pt x="442901" y="114517"/>
                </a:cubicBezTo>
                <a:cubicBezTo>
                  <a:pt x="433280" y="114517"/>
                  <a:pt x="431124" y="119659"/>
                  <a:pt x="432451" y="129943"/>
                </a:cubicBezTo>
                <a:cubicBezTo>
                  <a:pt x="433777" y="140227"/>
                  <a:pt x="417855" y="129943"/>
                  <a:pt x="406741" y="129943"/>
                </a:cubicBezTo>
                <a:cubicBezTo>
                  <a:pt x="395628" y="129943"/>
                  <a:pt x="406741" y="144042"/>
                  <a:pt x="400936" y="144706"/>
                </a:cubicBezTo>
                <a:cubicBezTo>
                  <a:pt x="395131" y="145369"/>
                  <a:pt x="394965" y="155819"/>
                  <a:pt x="385344" y="155819"/>
                </a:cubicBezTo>
                <a:cubicBezTo>
                  <a:pt x="375723" y="155819"/>
                  <a:pt x="377217" y="177216"/>
                  <a:pt x="378709" y="188163"/>
                </a:cubicBezTo>
                <a:cubicBezTo>
                  <a:pt x="380202" y="199110"/>
                  <a:pt x="363947" y="183021"/>
                  <a:pt x="354493" y="186007"/>
                </a:cubicBezTo>
                <a:cubicBezTo>
                  <a:pt x="345038" y="188993"/>
                  <a:pt x="356649" y="198613"/>
                  <a:pt x="359635" y="211053"/>
                </a:cubicBezTo>
                <a:cubicBezTo>
                  <a:pt x="362620" y="223493"/>
                  <a:pt x="354493" y="222829"/>
                  <a:pt x="349351" y="227640"/>
                </a:cubicBezTo>
                <a:cubicBezTo>
                  <a:pt x="344209" y="232450"/>
                  <a:pt x="336082" y="213707"/>
                  <a:pt x="336082" y="202593"/>
                </a:cubicBezTo>
                <a:cubicBezTo>
                  <a:pt x="336082" y="191480"/>
                  <a:pt x="323475" y="202593"/>
                  <a:pt x="310206" y="215863"/>
                </a:cubicBezTo>
                <a:cubicBezTo>
                  <a:pt x="296936" y="229132"/>
                  <a:pt x="314684" y="251359"/>
                  <a:pt x="308713" y="255008"/>
                </a:cubicBezTo>
                <a:cubicBezTo>
                  <a:pt x="291430" y="269322"/>
                  <a:pt x="275390" y="285080"/>
                  <a:pt x="260777" y="302114"/>
                </a:cubicBezTo>
                <a:cubicBezTo>
                  <a:pt x="245351" y="320526"/>
                  <a:pt x="212177" y="309413"/>
                  <a:pt x="201894" y="318701"/>
                </a:cubicBezTo>
                <a:cubicBezTo>
                  <a:pt x="191610" y="327990"/>
                  <a:pt x="180497" y="320858"/>
                  <a:pt x="170213" y="328985"/>
                </a:cubicBezTo>
                <a:cubicBezTo>
                  <a:pt x="159929" y="337113"/>
                  <a:pt x="140688" y="352538"/>
                  <a:pt x="138532" y="342918"/>
                </a:cubicBezTo>
                <a:cubicBezTo>
                  <a:pt x="136375" y="333298"/>
                  <a:pt x="109837" y="340762"/>
                  <a:pt x="98724" y="352538"/>
                </a:cubicBezTo>
                <a:cubicBezTo>
                  <a:pt x="87875" y="364547"/>
                  <a:pt x="73346" y="372592"/>
                  <a:pt x="57422" y="375428"/>
                </a:cubicBezTo>
                <a:cubicBezTo>
                  <a:pt x="44982" y="375428"/>
                  <a:pt x="44982" y="395332"/>
                  <a:pt x="39840" y="399811"/>
                </a:cubicBezTo>
                <a:cubicBezTo>
                  <a:pt x="34698" y="404289"/>
                  <a:pt x="36025" y="384219"/>
                  <a:pt x="36025" y="379078"/>
                </a:cubicBezTo>
                <a:cubicBezTo>
                  <a:pt x="36025" y="373936"/>
                  <a:pt x="24248" y="387869"/>
                  <a:pt x="19439" y="403460"/>
                </a:cubicBezTo>
                <a:cubicBezTo>
                  <a:pt x="14629" y="419052"/>
                  <a:pt x="31879" y="424857"/>
                  <a:pt x="20932" y="440946"/>
                </a:cubicBezTo>
                <a:cubicBezTo>
                  <a:pt x="9984" y="457035"/>
                  <a:pt x="-466" y="474120"/>
                  <a:pt x="15126" y="494024"/>
                </a:cubicBezTo>
                <a:cubicBezTo>
                  <a:pt x="30717" y="513929"/>
                  <a:pt x="39343" y="528027"/>
                  <a:pt x="34201" y="538311"/>
                </a:cubicBezTo>
                <a:cubicBezTo>
                  <a:pt x="29059" y="548595"/>
                  <a:pt x="17614" y="517578"/>
                  <a:pt x="14297" y="521724"/>
                </a:cubicBezTo>
                <a:cubicBezTo>
                  <a:pt x="10979" y="525871"/>
                  <a:pt x="28230" y="538311"/>
                  <a:pt x="23917" y="545277"/>
                </a:cubicBezTo>
                <a:cubicBezTo>
                  <a:pt x="19605" y="552244"/>
                  <a:pt x="3515" y="520231"/>
                  <a:pt x="198" y="527529"/>
                </a:cubicBezTo>
                <a:cubicBezTo>
                  <a:pt x="-3119" y="534828"/>
                  <a:pt x="33372" y="584257"/>
                  <a:pt x="33372" y="602668"/>
                </a:cubicBezTo>
                <a:cubicBezTo>
                  <a:pt x="33372" y="621079"/>
                  <a:pt x="62896" y="638827"/>
                  <a:pt x="61404" y="665366"/>
                </a:cubicBezTo>
                <a:cubicBezTo>
                  <a:pt x="59910" y="691905"/>
                  <a:pt x="86449" y="734699"/>
                  <a:pt x="90928" y="741334"/>
                </a:cubicBezTo>
                <a:cubicBezTo>
                  <a:pt x="95407" y="747969"/>
                  <a:pt x="80478" y="765551"/>
                  <a:pt x="83463" y="785455"/>
                </a:cubicBezTo>
                <a:cubicBezTo>
                  <a:pt x="86449" y="805359"/>
                  <a:pt x="76829" y="812823"/>
                  <a:pt x="64389" y="812823"/>
                </a:cubicBezTo>
                <a:cubicBezTo>
                  <a:pt x="51949" y="812823"/>
                  <a:pt x="59247" y="833391"/>
                  <a:pt x="73180" y="834883"/>
                </a:cubicBezTo>
                <a:cubicBezTo>
                  <a:pt x="87113" y="836377"/>
                  <a:pt x="81971" y="845997"/>
                  <a:pt x="97397" y="856281"/>
                </a:cubicBezTo>
                <a:cubicBezTo>
                  <a:pt x="112822" y="866564"/>
                  <a:pt x="149811" y="862915"/>
                  <a:pt x="162251" y="862915"/>
                </a:cubicBezTo>
                <a:cubicBezTo>
                  <a:pt x="174691" y="862915"/>
                  <a:pt x="178838" y="843674"/>
                  <a:pt x="195425" y="843011"/>
                </a:cubicBezTo>
                <a:cubicBezTo>
                  <a:pt x="212011" y="842348"/>
                  <a:pt x="211016" y="837040"/>
                  <a:pt x="218979" y="826424"/>
                </a:cubicBezTo>
                <a:cubicBezTo>
                  <a:pt x="226940" y="815809"/>
                  <a:pt x="265422" y="819126"/>
                  <a:pt x="304566" y="821283"/>
                </a:cubicBezTo>
                <a:cubicBezTo>
                  <a:pt x="343711" y="823439"/>
                  <a:pt x="360630" y="811662"/>
                  <a:pt x="366435" y="795407"/>
                </a:cubicBezTo>
                <a:cubicBezTo>
                  <a:pt x="371411" y="781640"/>
                  <a:pt x="399608" y="780811"/>
                  <a:pt x="410722" y="770361"/>
                </a:cubicBezTo>
                <a:cubicBezTo>
                  <a:pt x="421835" y="759911"/>
                  <a:pt x="431290" y="759413"/>
                  <a:pt x="460483" y="760906"/>
                </a:cubicBezTo>
                <a:cubicBezTo>
                  <a:pt x="489675" y="762399"/>
                  <a:pt x="515882" y="746807"/>
                  <a:pt x="534293" y="739509"/>
                </a:cubicBezTo>
                <a:cubicBezTo>
                  <a:pt x="552706" y="732211"/>
                  <a:pt x="586542" y="735031"/>
                  <a:pt x="604290" y="730553"/>
                </a:cubicBezTo>
                <a:cubicBezTo>
                  <a:pt x="622038" y="726074"/>
                  <a:pt x="624858" y="752779"/>
                  <a:pt x="644762" y="750456"/>
                </a:cubicBezTo>
                <a:cubicBezTo>
                  <a:pt x="664667" y="748135"/>
                  <a:pt x="673457" y="756428"/>
                  <a:pt x="683907" y="755764"/>
                </a:cubicBezTo>
                <a:cubicBezTo>
                  <a:pt x="694357" y="755101"/>
                  <a:pt x="692698" y="763063"/>
                  <a:pt x="702982" y="765219"/>
                </a:cubicBezTo>
                <a:cubicBezTo>
                  <a:pt x="713266" y="767375"/>
                  <a:pt x="711939" y="776332"/>
                  <a:pt x="705304" y="785952"/>
                </a:cubicBezTo>
                <a:cubicBezTo>
                  <a:pt x="698669" y="795573"/>
                  <a:pt x="720730" y="794743"/>
                  <a:pt x="734663" y="813984"/>
                </a:cubicBezTo>
                <a:cubicBezTo>
                  <a:pt x="748596" y="833225"/>
                  <a:pt x="735492" y="836045"/>
                  <a:pt x="742790" y="850807"/>
                </a:cubicBezTo>
                <a:cubicBezTo>
                  <a:pt x="750088" y="865569"/>
                  <a:pt x="755396" y="861754"/>
                  <a:pt x="769993" y="841186"/>
                </a:cubicBezTo>
                <a:cubicBezTo>
                  <a:pt x="784589" y="820619"/>
                  <a:pt x="801010" y="833723"/>
                  <a:pt x="803166" y="816141"/>
                </a:cubicBezTo>
                <a:cubicBezTo>
                  <a:pt x="805323" y="798559"/>
                  <a:pt x="820914" y="777825"/>
                  <a:pt x="831198" y="786616"/>
                </a:cubicBezTo>
                <a:cubicBezTo>
                  <a:pt x="841482" y="795407"/>
                  <a:pt x="823900" y="799885"/>
                  <a:pt x="817265" y="833723"/>
                </a:cubicBezTo>
                <a:cubicBezTo>
                  <a:pt x="810631" y="867559"/>
                  <a:pt x="798854" y="850309"/>
                  <a:pt x="796531" y="859598"/>
                </a:cubicBezTo>
                <a:cubicBezTo>
                  <a:pt x="794210" y="868887"/>
                  <a:pt x="827548" y="874360"/>
                  <a:pt x="827548" y="856613"/>
                </a:cubicBezTo>
                <a:cubicBezTo>
                  <a:pt x="827548" y="838865"/>
                  <a:pt x="833520" y="830903"/>
                  <a:pt x="845961" y="846992"/>
                </a:cubicBezTo>
                <a:cubicBezTo>
                  <a:pt x="858401" y="863081"/>
                  <a:pt x="838662" y="876516"/>
                  <a:pt x="841482" y="883981"/>
                </a:cubicBezTo>
                <a:cubicBezTo>
                  <a:pt x="844301" y="891445"/>
                  <a:pt x="858069" y="881658"/>
                  <a:pt x="865865" y="882488"/>
                </a:cubicBezTo>
                <a:cubicBezTo>
                  <a:pt x="878968" y="883815"/>
                  <a:pt x="896882" y="912676"/>
                  <a:pt x="893896" y="928102"/>
                </a:cubicBezTo>
                <a:cubicBezTo>
                  <a:pt x="890910" y="943527"/>
                  <a:pt x="886432" y="958289"/>
                  <a:pt x="911644" y="970896"/>
                </a:cubicBezTo>
                <a:cubicBezTo>
                  <a:pt x="936856" y="983502"/>
                  <a:pt x="927069" y="985658"/>
                  <a:pt x="944817" y="985658"/>
                </a:cubicBezTo>
                <a:cubicBezTo>
                  <a:pt x="968454" y="988312"/>
                  <a:pt x="991145" y="996373"/>
                  <a:pt x="1011165" y="1009211"/>
                </a:cubicBezTo>
                <a:cubicBezTo>
                  <a:pt x="1021449" y="1018002"/>
                  <a:pt x="1047988" y="1002576"/>
                  <a:pt x="1053130" y="984828"/>
                </a:cubicBezTo>
                <a:cubicBezTo>
                  <a:pt x="1058272" y="967080"/>
                  <a:pt x="1077512" y="984828"/>
                  <a:pt x="1067228" y="990136"/>
                </a:cubicBezTo>
                <a:cubicBezTo>
                  <a:pt x="1056945" y="995444"/>
                  <a:pt x="1072370" y="1009875"/>
                  <a:pt x="1073200" y="1000420"/>
                </a:cubicBezTo>
                <a:cubicBezTo>
                  <a:pt x="1074030" y="990965"/>
                  <a:pt x="1078342" y="982672"/>
                  <a:pt x="1081991" y="993785"/>
                </a:cubicBezTo>
                <a:cubicBezTo>
                  <a:pt x="1085641" y="1004898"/>
                  <a:pt x="1098578" y="1004733"/>
                  <a:pt x="1104052" y="1013689"/>
                </a:cubicBezTo>
                <a:cubicBezTo>
                  <a:pt x="1109525" y="1022646"/>
                  <a:pt x="1115165" y="1029116"/>
                  <a:pt x="1115165" y="1021651"/>
                </a:cubicBezTo>
                <a:cubicBezTo>
                  <a:pt x="1115165" y="1014187"/>
                  <a:pt x="1118150" y="1007718"/>
                  <a:pt x="1129927" y="1003240"/>
                </a:cubicBezTo>
                <a:cubicBezTo>
                  <a:pt x="1141687" y="997501"/>
                  <a:pt x="1152402" y="989821"/>
                  <a:pt x="1161607" y="980516"/>
                </a:cubicBezTo>
                <a:cubicBezTo>
                  <a:pt x="1174048" y="970066"/>
                  <a:pt x="1225632" y="967910"/>
                  <a:pt x="1230775" y="967910"/>
                </a:cubicBezTo>
                <a:cubicBezTo>
                  <a:pt x="1235917" y="967910"/>
                  <a:pt x="1238903" y="923623"/>
                  <a:pt x="1241888" y="901563"/>
                </a:cubicBezTo>
                <a:cubicBezTo>
                  <a:pt x="1244874" y="879502"/>
                  <a:pt x="1263949" y="875024"/>
                  <a:pt x="1266934" y="850641"/>
                </a:cubicBezTo>
                <a:cubicBezTo>
                  <a:pt x="1272540" y="824235"/>
                  <a:pt x="1284682" y="799653"/>
                  <a:pt x="1302264" y="779152"/>
                </a:cubicBezTo>
                <a:cubicBezTo>
                  <a:pt x="1312929" y="776382"/>
                  <a:pt x="1320824" y="767375"/>
                  <a:pt x="1322168" y="756428"/>
                </a:cubicBezTo>
                <a:cubicBezTo>
                  <a:pt x="1322998" y="742329"/>
                  <a:pt x="1339916" y="726903"/>
                  <a:pt x="1339916" y="709985"/>
                </a:cubicBezTo>
                <a:cubicBezTo>
                  <a:pt x="1339916" y="693066"/>
                  <a:pt x="1349537" y="673162"/>
                  <a:pt x="1348043" y="667854"/>
                </a:cubicBezTo>
                <a:cubicBezTo>
                  <a:pt x="1343200" y="656940"/>
                  <a:pt x="1344594" y="644284"/>
                  <a:pt x="1351693" y="634681"/>
                </a:cubicBezTo>
                <a:cubicBezTo>
                  <a:pt x="1364796" y="624065"/>
                  <a:pt x="1349204" y="610132"/>
                  <a:pt x="1355176" y="605488"/>
                </a:cubicBezTo>
                <a:close/>
                <a:moveTo>
                  <a:pt x="616730" y="28432"/>
                </a:moveTo>
                <a:cubicBezTo>
                  <a:pt x="615237" y="19641"/>
                  <a:pt x="562823" y="29924"/>
                  <a:pt x="573936" y="38881"/>
                </a:cubicBezTo>
                <a:cubicBezTo>
                  <a:pt x="581400" y="44853"/>
                  <a:pt x="618223" y="37555"/>
                  <a:pt x="616730" y="28598"/>
                </a:cubicBezTo>
                <a:close/>
                <a:moveTo>
                  <a:pt x="782599" y="901065"/>
                </a:moveTo>
                <a:cubicBezTo>
                  <a:pt x="790560" y="908363"/>
                  <a:pt x="817929" y="906207"/>
                  <a:pt x="822407" y="895923"/>
                </a:cubicBezTo>
                <a:cubicBezTo>
                  <a:pt x="826885" y="885640"/>
                  <a:pt x="775301" y="894596"/>
                  <a:pt x="782599" y="901231"/>
                </a:cubicBezTo>
                <a:close/>
                <a:moveTo>
                  <a:pt x="1115663" y="1105913"/>
                </a:moveTo>
                <a:cubicBezTo>
                  <a:pt x="1095758" y="1108235"/>
                  <a:pt x="1065902" y="1087833"/>
                  <a:pt x="1058935" y="1089326"/>
                </a:cubicBezTo>
                <a:cubicBezTo>
                  <a:pt x="1051969" y="1090819"/>
                  <a:pt x="1084644" y="1142403"/>
                  <a:pt x="1074361" y="1155673"/>
                </a:cubicBezTo>
                <a:cubicBezTo>
                  <a:pt x="1064077" y="1168942"/>
                  <a:pt x="1104549" y="1205434"/>
                  <a:pt x="1118648" y="1207258"/>
                </a:cubicBezTo>
                <a:cubicBezTo>
                  <a:pt x="1132747" y="1209083"/>
                  <a:pt x="1127439" y="1193325"/>
                  <a:pt x="1137059" y="1193989"/>
                </a:cubicBezTo>
                <a:cubicBezTo>
                  <a:pt x="1146680" y="1194652"/>
                  <a:pt x="1142864" y="1184534"/>
                  <a:pt x="1144358" y="1177402"/>
                </a:cubicBezTo>
                <a:cubicBezTo>
                  <a:pt x="1145850" y="1170269"/>
                  <a:pt x="1155470" y="1185529"/>
                  <a:pt x="1163598" y="1181051"/>
                </a:cubicBezTo>
                <a:cubicBezTo>
                  <a:pt x="1171725" y="1176572"/>
                  <a:pt x="1161276" y="1145057"/>
                  <a:pt x="1173052" y="1145057"/>
                </a:cubicBezTo>
                <a:cubicBezTo>
                  <a:pt x="1184829" y="1145057"/>
                  <a:pt x="1175375" y="1106742"/>
                  <a:pt x="1171560" y="1094136"/>
                </a:cubicBezTo>
                <a:cubicBezTo>
                  <a:pt x="1167745" y="1081530"/>
                  <a:pt x="1134903" y="1103922"/>
                  <a:pt x="1115663" y="110607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5" name="Freeform: Shape 524">
            <a:extLst>
              <a:ext uri="{FF2B5EF4-FFF2-40B4-BE49-F238E27FC236}">
                <a16:creationId xmlns:a16="http://schemas.microsoft.com/office/drawing/2014/main" id="{364EA57A-AFD4-47E8-8CB1-A133C2DB2F77}"/>
              </a:ext>
            </a:extLst>
          </p:cNvPr>
          <p:cNvSpPr/>
          <p:nvPr/>
        </p:nvSpPr>
        <p:spPr>
          <a:xfrm>
            <a:off x="9695848" y="5625900"/>
            <a:ext cx="319200" cy="384211"/>
          </a:xfrm>
          <a:custGeom>
            <a:avLst/>
            <a:gdLst>
              <a:gd name="connsiteX0" fmla="*/ 249270 w 402590"/>
              <a:gd name="connsiteY0" fmla="*/ 239414 h 494067"/>
              <a:gd name="connsiteX1" fmla="*/ 222732 w 402590"/>
              <a:gd name="connsiteY1" fmla="*/ 247542 h 494067"/>
              <a:gd name="connsiteX2" fmla="*/ 189558 w 402590"/>
              <a:gd name="connsiteY2" fmla="*/ 234272 h 494067"/>
              <a:gd name="connsiteX3" fmla="*/ 172971 w 402590"/>
              <a:gd name="connsiteY3" fmla="*/ 262968 h 494067"/>
              <a:gd name="connsiteX4" fmla="*/ 145769 w 402590"/>
              <a:gd name="connsiteY4" fmla="*/ 309411 h 494067"/>
              <a:gd name="connsiteX5" fmla="*/ 54375 w 402590"/>
              <a:gd name="connsiteY5" fmla="*/ 369953 h 494067"/>
              <a:gd name="connsiteX6" fmla="*/ 12245 w 402590"/>
              <a:gd name="connsiteY6" fmla="*/ 409595 h 494067"/>
              <a:gd name="connsiteX7" fmla="*/ 3453 w 402590"/>
              <a:gd name="connsiteY7" fmla="*/ 445755 h 494067"/>
              <a:gd name="connsiteX8" fmla="*/ 33641 w 402590"/>
              <a:gd name="connsiteY8" fmla="*/ 459024 h 494067"/>
              <a:gd name="connsiteX9" fmla="*/ 57360 w 402590"/>
              <a:gd name="connsiteY9" fmla="*/ 468645 h 494067"/>
              <a:gd name="connsiteX10" fmla="*/ 118400 w 402590"/>
              <a:gd name="connsiteY10" fmla="*/ 454712 h 494067"/>
              <a:gd name="connsiteX11" fmla="*/ 140627 w 402590"/>
              <a:gd name="connsiteY11" fmla="*/ 416230 h 494067"/>
              <a:gd name="connsiteX12" fmla="*/ 157213 w 402590"/>
              <a:gd name="connsiteY12" fmla="*/ 381564 h 494067"/>
              <a:gd name="connsiteX13" fmla="*/ 194700 w 402590"/>
              <a:gd name="connsiteY13" fmla="*/ 359171 h 494067"/>
              <a:gd name="connsiteX14" fmla="*/ 205813 w 402590"/>
              <a:gd name="connsiteY14" fmla="*/ 341423 h 494067"/>
              <a:gd name="connsiteX15" fmla="*/ 227874 w 402590"/>
              <a:gd name="connsiteY15" fmla="*/ 310572 h 494067"/>
              <a:gd name="connsiteX16" fmla="*/ 253583 w 402590"/>
              <a:gd name="connsiteY16" fmla="*/ 266949 h 494067"/>
              <a:gd name="connsiteX17" fmla="*/ 249270 w 402590"/>
              <a:gd name="connsiteY17" fmla="*/ 239414 h 494067"/>
              <a:gd name="connsiteX18" fmla="*/ 36295 w 402590"/>
              <a:gd name="connsiteY18" fmla="*/ 493690 h 494067"/>
              <a:gd name="connsiteX19" fmla="*/ 48735 w 402590"/>
              <a:gd name="connsiteY19" fmla="*/ 478928 h 494067"/>
              <a:gd name="connsiteX20" fmla="*/ 36295 w 402590"/>
              <a:gd name="connsiteY20" fmla="*/ 493690 h 494067"/>
              <a:gd name="connsiteX21" fmla="*/ 369359 w 402590"/>
              <a:gd name="connsiteY21" fmla="*/ 120819 h 494067"/>
              <a:gd name="connsiteX22" fmla="*/ 336185 w 402590"/>
              <a:gd name="connsiteY22" fmla="*/ 117833 h 494067"/>
              <a:gd name="connsiteX23" fmla="*/ 316281 w 402590"/>
              <a:gd name="connsiteY23" fmla="*/ 99969 h 494067"/>
              <a:gd name="connsiteX24" fmla="*/ 316281 w 402590"/>
              <a:gd name="connsiteY24" fmla="*/ 97929 h 494067"/>
              <a:gd name="connsiteX25" fmla="*/ 301684 w 402590"/>
              <a:gd name="connsiteY25" fmla="*/ 71390 h 494067"/>
              <a:gd name="connsiteX26" fmla="*/ 301684 w 402590"/>
              <a:gd name="connsiteY26" fmla="*/ 89801 h 494067"/>
              <a:gd name="connsiteX27" fmla="*/ 288415 w 402590"/>
              <a:gd name="connsiteY27" fmla="*/ 83166 h 494067"/>
              <a:gd name="connsiteX28" fmla="*/ 275975 w 402590"/>
              <a:gd name="connsiteY28" fmla="*/ 60277 h 494067"/>
              <a:gd name="connsiteX29" fmla="*/ 263369 w 402590"/>
              <a:gd name="connsiteY29" fmla="*/ 30089 h 494067"/>
              <a:gd name="connsiteX30" fmla="*/ 222068 w 402590"/>
              <a:gd name="connsiteY30" fmla="*/ -100 h 494067"/>
              <a:gd name="connsiteX31" fmla="*/ 232351 w 402590"/>
              <a:gd name="connsiteY31" fmla="*/ 35231 h 494067"/>
              <a:gd name="connsiteX32" fmla="*/ 255241 w 402590"/>
              <a:gd name="connsiteY32" fmla="*/ 58950 h 494067"/>
              <a:gd name="connsiteX33" fmla="*/ 275146 w 402590"/>
              <a:gd name="connsiteY33" fmla="*/ 85323 h 494067"/>
              <a:gd name="connsiteX34" fmla="*/ 270004 w 402590"/>
              <a:gd name="connsiteY34" fmla="*/ 135083 h 494067"/>
              <a:gd name="connsiteX35" fmla="*/ 242801 w 402590"/>
              <a:gd name="connsiteY35" fmla="*/ 165271 h 494067"/>
              <a:gd name="connsiteX36" fmla="*/ 286923 w 402590"/>
              <a:gd name="connsiteY36" fmla="*/ 205080 h 494067"/>
              <a:gd name="connsiteX37" fmla="*/ 277468 w 402590"/>
              <a:gd name="connsiteY37" fmla="*/ 258158 h 494067"/>
              <a:gd name="connsiteX38" fmla="*/ 307656 w 402590"/>
              <a:gd name="connsiteY38" fmla="*/ 262636 h 494067"/>
              <a:gd name="connsiteX39" fmla="*/ 344478 w 402590"/>
              <a:gd name="connsiteY39" fmla="*/ 211051 h 494067"/>
              <a:gd name="connsiteX40" fmla="*/ 354762 w 402590"/>
              <a:gd name="connsiteY40" fmla="*/ 176385 h 494067"/>
              <a:gd name="connsiteX41" fmla="*/ 376823 w 402590"/>
              <a:gd name="connsiteY41" fmla="*/ 169086 h 494067"/>
              <a:gd name="connsiteX42" fmla="*/ 390921 w 402590"/>
              <a:gd name="connsiteY42" fmla="*/ 149182 h 494067"/>
              <a:gd name="connsiteX43" fmla="*/ 401869 w 402590"/>
              <a:gd name="connsiteY43" fmla="*/ 119657 h 494067"/>
              <a:gd name="connsiteX44" fmla="*/ 369359 w 402590"/>
              <a:gd name="connsiteY44" fmla="*/ 120819 h 49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02590" h="494067">
                <a:moveTo>
                  <a:pt x="249270" y="239414"/>
                </a:moveTo>
                <a:cubicBezTo>
                  <a:pt x="238986" y="232116"/>
                  <a:pt x="233845" y="242400"/>
                  <a:pt x="222732" y="247542"/>
                </a:cubicBezTo>
                <a:cubicBezTo>
                  <a:pt x="211618" y="252684"/>
                  <a:pt x="204320" y="223159"/>
                  <a:pt x="189558" y="234272"/>
                </a:cubicBezTo>
                <a:cubicBezTo>
                  <a:pt x="174795" y="245386"/>
                  <a:pt x="188065" y="249698"/>
                  <a:pt x="172971" y="262968"/>
                </a:cubicBezTo>
                <a:cubicBezTo>
                  <a:pt x="157877" y="276237"/>
                  <a:pt x="164180" y="280715"/>
                  <a:pt x="145769" y="309411"/>
                </a:cubicBezTo>
                <a:cubicBezTo>
                  <a:pt x="127357" y="338106"/>
                  <a:pt x="63830" y="354361"/>
                  <a:pt x="54375" y="369953"/>
                </a:cubicBezTo>
                <a:cubicBezTo>
                  <a:pt x="44920" y="385544"/>
                  <a:pt x="13074" y="397818"/>
                  <a:pt x="12245" y="409595"/>
                </a:cubicBezTo>
                <a:cubicBezTo>
                  <a:pt x="11415" y="421372"/>
                  <a:pt x="-7660" y="429831"/>
                  <a:pt x="3453" y="445755"/>
                </a:cubicBezTo>
                <a:cubicBezTo>
                  <a:pt x="12245" y="458361"/>
                  <a:pt x="24187" y="449404"/>
                  <a:pt x="33641" y="459024"/>
                </a:cubicBezTo>
                <a:cubicBezTo>
                  <a:pt x="43096" y="468645"/>
                  <a:pt x="52882" y="460517"/>
                  <a:pt x="57360" y="468645"/>
                </a:cubicBezTo>
                <a:cubicBezTo>
                  <a:pt x="61839" y="476772"/>
                  <a:pt x="94184" y="476772"/>
                  <a:pt x="118400" y="454712"/>
                </a:cubicBezTo>
                <a:cubicBezTo>
                  <a:pt x="142617" y="432651"/>
                  <a:pt x="131006" y="421538"/>
                  <a:pt x="140627" y="416230"/>
                </a:cubicBezTo>
                <a:cubicBezTo>
                  <a:pt x="150246" y="410922"/>
                  <a:pt x="151574" y="392677"/>
                  <a:pt x="157213" y="381564"/>
                </a:cubicBezTo>
                <a:cubicBezTo>
                  <a:pt x="162338" y="365773"/>
                  <a:pt x="178361" y="356203"/>
                  <a:pt x="194700" y="359171"/>
                </a:cubicBezTo>
                <a:cubicBezTo>
                  <a:pt x="221238" y="359171"/>
                  <a:pt x="207305" y="354029"/>
                  <a:pt x="205813" y="341423"/>
                </a:cubicBezTo>
                <a:cubicBezTo>
                  <a:pt x="204320" y="328818"/>
                  <a:pt x="227874" y="326827"/>
                  <a:pt x="227874" y="310572"/>
                </a:cubicBezTo>
                <a:cubicBezTo>
                  <a:pt x="227874" y="294317"/>
                  <a:pt x="261047" y="279555"/>
                  <a:pt x="253583" y="266949"/>
                </a:cubicBezTo>
                <a:cubicBezTo>
                  <a:pt x="246119" y="254342"/>
                  <a:pt x="259554" y="246879"/>
                  <a:pt x="249270" y="239414"/>
                </a:cubicBezTo>
                <a:close/>
                <a:moveTo>
                  <a:pt x="36295" y="493690"/>
                </a:moveTo>
                <a:cubicBezTo>
                  <a:pt x="41437" y="495184"/>
                  <a:pt x="58356" y="490705"/>
                  <a:pt x="48735" y="478928"/>
                </a:cubicBezTo>
                <a:cubicBezTo>
                  <a:pt x="39115" y="467152"/>
                  <a:pt x="24021" y="490207"/>
                  <a:pt x="36295" y="493690"/>
                </a:cubicBezTo>
                <a:close/>
                <a:moveTo>
                  <a:pt x="369359" y="120819"/>
                </a:moveTo>
                <a:cubicBezTo>
                  <a:pt x="362725" y="131932"/>
                  <a:pt x="349454" y="117833"/>
                  <a:pt x="336185" y="117833"/>
                </a:cubicBezTo>
                <a:cubicBezTo>
                  <a:pt x="325752" y="118397"/>
                  <a:pt x="316845" y="110402"/>
                  <a:pt x="316281" y="99969"/>
                </a:cubicBezTo>
                <a:cubicBezTo>
                  <a:pt x="316248" y="99289"/>
                  <a:pt x="316248" y="98609"/>
                  <a:pt x="316281" y="97929"/>
                </a:cubicBezTo>
                <a:cubicBezTo>
                  <a:pt x="316281" y="86815"/>
                  <a:pt x="313461" y="70726"/>
                  <a:pt x="301684" y="71390"/>
                </a:cubicBezTo>
                <a:cubicBezTo>
                  <a:pt x="289908" y="72053"/>
                  <a:pt x="305334" y="83996"/>
                  <a:pt x="301684" y="89801"/>
                </a:cubicBezTo>
                <a:cubicBezTo>
                  <a:pt x="298036" y="95606"/>
                  <a:pt x="294386" y="83166"/>
                  <a:pt x="288415" y="83166"/>
                </a:cubicBezTo>
                <a:cubicBezTo>
                  <a:pt x="282444" y="83166"/>
                  <a:pt x="275975" y="75039"/>
                  <a:pt x="275975" y="60277"/>
                </a:cubicBezTo>
                <a:cubicBezTo>
                  <a:pt x="275975" y="45514"/>
                  <a:pt x="263369" y="47173"/>
                  <a:pt x="263369" y="30089"/>
                </a:cubicBezTo>
                <a:cubicBezTo>
                  <a:pt x="263369" y="13004"/>
                  <a:pt x="236830" y="-100"/>
                  <a:pt x="222068" y="-100"/>
                </a:cubicBezTo>
                <a:cubicBezTo>
                  <a:pt x="207305" y="-100"/>
                  <a:pt x="225053" y="26440"/>
                  <a:pt x="232351" y="35231"/>
                </a:cubicBezTo>
                <a:cubicBezTo>
                  <a:pt x="239650" y="44022"/>
                  <a:pt x="256070" y="51817"/>
                  <a:pt x="255241" y="58950"/>
                </a:cubicBezTo>
                <a:cubicBezTo>
                  <a:pt x="257629" y="70262"/>
                  <a:pt x="264928" y="79915"/>
                  <a:pt x="275146" y="85323"/>
                </a:cubicBezTo>
                <a:cubicBezTo>
                  <a:pt x="284102" y="88309"/>
                  <a:pt x="270004" y="114184"/>
                  <a:pt x="270004" y="135083"/>
                </a:cubicBezTo>
                <a:cubicBezTo>
                  <a:pt x="270004" y="155983"/>
                  <a:pt x="253417" y="151670"/>
                  <a:pt x="242801" y="165271"/>
                </a:cubicBezTo>
                <a:cubicBezTo>
                  <a:pt x="232185" y="178873"/>
                  <a:pt x="270833" y="191810"/>
                  <a:pt x="286923" y="205080"/>
                </a:cubicBezTo>
                <a:cubicBezTo>
                  <a:pt x="303011" y="218349"/>
                  <a:pt x="273155" y="251025"/>
                  <a:pt x="277468" y="258158"/>
                </a:cubicBezTo>
                <a:cubicBezTo>
                  <a:pt x="279624" y="261807"/>
                  <a:pt x="290571" y="266949"/>
                  <a:pt x="307656" y="262636"/>
                </a:cubicBezTo>
                <a:cubicBezTo>
                  <a:pt x="324740" y="258324"/>
                  <a:pt x="332701" y="221335"/>
                  <a:pt x="344478" y="211051"/>
                </a:cubicBezTo>
                <a:cubicBezTo>
                  <a:pt x="356255" y="200767"/>
                  <a:pt x="348957" y="184512"/>
                  <a:pt x="354762" y="176385"/>
                </a:cubicBezTo>
                <a:cubicBezTo>
                  <a:pt x="360568" y="168257"/>
                  <a:pt x="368696" y="169086"/>
                  <a:pt x="376823" y="169086"/>
                </a:cubicBezTo>
                <a:cubicBezTo>
                  <a:pt x="384950" y="169086"/>
                  <a:pt x="380638" y="149182"/>
                  <a:pt x="390921" y="149182"/>
                </a:cubicBezTo>
                <a:cubicBezTo>
                  <a:pt x="401205" y="149182"/>
                  <a:pt x="396063" y="135083"/>
                  <a:pt x="401869" y="119657"/>
                </a:cubicBezTo>
                <a:cubicBezTo>
                  <a:pt x="407674" y="104232"/>
                  <a:pt x="375994" y="110369"/>
                  <a:pt x="369359" y="12081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6" name="Freeform: Shape 525">
            <a:extLst>
              <a:ext uri="{FF2B5EF4-FFF2-40B4-BE49-F238E27FC236}">
                <a16:creationId xmlns:a16="http://schemas.microsoft.com/office/drawing/2014/main" id="{6FFFBBA0-52CC-44CE-8CC5-16487B00F606}"/>
              </a:ext>
            </a:extLst>
          </p:cNvPr>
          <p:cNvSpPr/>
          <p:nvPr/>
        </p:nvSpPr>
        <p:spPr>
          <a:xfrm>
            <a:off x="6482300" y="3574439"/>
            <a:ext cx="512926" cy="429710"/>
          </a:xfrm>
          <a:custGeom>
            <a:avLst/>
            <a:gdLst>
              <a:gd name="connsiteX0" fmla="*/ 634501 w 646927"/>
              <a:gd name="connsiteY0" fmla="*/ 476001 h 552576"/>
              <a:gd name="connsiteX1" fmla="*/ 618909 w 646927"/>
              <a:gd name="connsiteY1" fmla="*/ 439178 h 552576"/>
              <a:gd name="connsiteX2" fmla="*/ 584740 w 646927"/>
              <a:gd name="connsiteY2" fmla="*/ 410317 h 552576"/>
              <a:gd name="connsiteX3" fmla="*/ 562348 w 646927"/>
              <a:gd name="connsiteY3" fmla="*/ 381455 h 552576"/>
              <a:gd name="connsiteX4" fmla="*/ 596517 w 646927"/>
              <a:gd name="connsiteY4" fmla="*/ 334349 h 552576"/>
              <a:gd name="connsiteX5" fmla="*/ 563343 w 646927"/>
              <a:gd name="connsiteY5" fmla="*/ 317762 h 552576"/>
              <a:gd name="connsiteX6" fmla="*/ 558201 w 646927"/>
              <a:gd name="connsiteY6" fmla="*/ 279613 h 552576"/>
              <a:gd name="connsiteX7" fmla="*/ 558201 w 646927"/>
              <a:gd name="connsiteY7" fmla="*/ 244282 h 552576"/>
              <a:gd name="connsiteX8" fmla="*/ 562016 w 646927"/>
              <a:gd name="connsiteY8" fmla="*/ 215422 h 552576"/>
              <a:gd name="connsiteX9" fmla="*/ 575120 w 646927"/>
              <a:gd name="connsiteY9" fmla="*/ 189214 h 552576"/>
              <a:gd name="connsiteX10" fmla="*/ 582584 w 646927"/>
              <a:gd name="connsiteY10" fmla="*/ 174120 h 552576"/>
              <a:gd name="connsiteX11" fmla="*/ 576613 w 646927"/>
              <a:gd name="connsiteY11" fmla="*/ 133317 h 552576"/>
              <a:gd name="connsiteX12" fmla="*/ 553059 w 646927"/>
              <a:gd name="connsiteY12" fmla="*/ 129502 h 552576"/>
              <a:gd name="connsiteX13" fmla="*/ 530501 w 646927"/>
              <a:gd name="connsiteY13" fmla="*/ 110758 h 552576"/>
              <a:gd name="connsiteX14" fmla="*/ 515739 w 646927"/>
              <a:gd name="connsiteY14" fmla="*/ 98982 h 552576"/>
              <a:gd name="connsiteX15" fmla="*/ 487210 w 646927"/>
              <a:gd name="connsiteY15" fmla="*/ 90191 h 552576"/>
              <a:gd name="connsiteX16" fmla="*/ 471452 w 646927"/>
              <a:gd name="connsiteY16" fmla="*/ 82229 h 552576"/>
              <a:gd name="connsiteX17" fmla="*/ 446904 w 646927"/>
              <a:gd name="connsiteY17" fmla="*/ 71448 h 552576"/>
              <a:gd name="connsiteX18" fmla="*/ 408588 w 646927"/>
              <a:gd name="connsiteY18" fmla="*/ 70453 h 552576"/>
              <a:gd name="connsiteX19" fmla="*/ 385035 w 646927"/>
              <a:gd name="connsiteY19" fmla="*/ 73438 h 552576"/>
              <a:gd name="connsiteX20" fmla="*/ 355510 w 646927"/>
              <a:gd name="connsiteY20" fmla="*/ 94006 h 552576"/>
              <a:gd name="connsiteX21" fmla="*/ 328142 w 646927"/>
              <a:gd name="connsiteY21" fmla="*/ 99313 h 552576"/>
              <a:gd name="connsiteX22" fmla="*/ 327147 w 646927"/>
              <a:gd name="connsiteY22" fmla="*/ 115900 h 552576"/>
              <a:gd name="connsiteX23" fmla="*/ 255326 w 646927"/>
              <a:gd name="connsiteY23" fmla="*/ 131492 h 552576"/>
              <a:gd name="connsiteX24" fmla="*/ 194452 w 646927"/>
              <a:gd name="connsiteY24" fmla="*/ 95167 h 552576"/>
              <a:gd name="connsiteX25" fmla="*/ 154146 w 646927"/>
              <a:gd name="connsiteY25" fmla="*/ 56022 h 552576"/>
              <a:gd name="connsiteX26" fmla="*/ 130427 w 646927"/>
              <a:gd name="connsiteY26" fmla="*/ 39435 h 552576"/>
              <a:gd name="connsiteX27" fmla="*/ 123792 w 646927"/>
              <a:gd name="connsiteY27" fmla="*/ 9247 h 552576"/>
              <a:gd name="connsiteX28" fmla="*/ 57445 w 646927"/>
              <a:gd name="connsiteY28" fmla="*/ 38108 h 552576"/>
              <a:gd name="connsiteX29" fmla="*/ 35053 w 646927"/>
              <a:gd name="connsiteY29" fmla="*/ 25005 h 552576"/>
              <a:gd name="connsiteX30" fmla="*/ 15480 w 646927"/>
              <a:gd name="connsiteY30" fmla="*/ 124 h 552576"/>
              <a:gd name="connsiteX31" fmla="*/ 3704 w 646927"/>
              <a:gd name="connsiteY31" fmla="*/ 16711 h 552576"/>
              <a:gd name="connsiteX32" fmla="*/ 5030 w 646927"/>
              <a:gd name="connsiteY32" fmla="*/ 44245 h 552576"/>
              <a:gd name="connsiteX33" fmla="*/ 5030 w 646927"/>
              <a:gd name="connsiteY33" fmla="*/ 79741 h 552576"/>
              <a:gd name="connsiteX34" fmla="*/ 20788 w 646927"/>
              <a:gd name="connsiteY34" fmla="*/ 105948 h 552576"/>
              <a:gd name="connsiteX35" fmla="*/ 32564 w 646927"/>
              <a:gd name="connsiteY35" fmla="*/ 132156 h 552576"/>
              <a:gd name="connsiteX36" fmla="*/ 50810 w 646927"/>
              <a:gd name="connsiteY36" fmla="*/ 151894 h 552576"/>
              <a:gd name="connsiteX37" fmla="*/ 63914 w 646927"/>
              <a:gd name="connsiteY37" fmla="*/ 163670 h 552576"/>
              <a:gd name="connsiteX38" fmla="*/ 60099 w 646927"/>
              <a:gd name="connsiteY38" fmla="*/ 183409 h 552576"/>
              <a:gd name="connsiteX39" fmla="*/ 46995 w 646927"/>
              <a:gd name="connsiteY39" fmla="*/ 209616 h 552576"/>
              <a:gd name="connsiteX40" fmla="*/ 50810 w 646927"/>
              <a:gd name="connsiteY40" fmla="*/ 239804 h 552576"/>
              <a:gd name="connsiteX41" fmla="*/ 66568 w 646927"/>
              <a:gd name="connsiteY41" fmla="*/ 258215 h 552576"/>
              <a:gd name="connsiteX42" fmla="*/ 103391 w 646927"/>
              <a:gd name="connsiteY42" fmla="*/ 283096 h 552576"/>
              <a:gd name="connsiteX43" fmla="*/ 119977 w 646927"/>
              <a:gd name="connsiteY43" fmla="*/ 302834 h 552576"/>
              <a:gd name="connsiteX44" fmla="*/ 117323 w 646927"/>
              <a:gd name="connsiteY44" fmla="*/ 325060 h 552576"/>
              <a:gd name="connsiteX45" fmla="*/ 129100 w 646927"/>
              <a:gd name="connsiteY45" fmla="*/ 347453 h 552576"/>
              <a:gd name="connsiteX46" fmla="*/ 147843 w 646927"/>
              <a:gd name="connsiteY46" fmla="*/ 373494 h 552576"/>
              <a:gd name="connsiteX47" fmla="*/ 155971 w 646927"/>
              <a:gd name="connsiteY47" fmla="*/ 372167 h 552576"/>
              <a:gd name="connsiteX48" fmla="*/ 171231 w 646927"/>
              <a:gd name="connsiteY48" fmla="*/ 368186 h 552576"/>
              <a:gd name="connsiteX49" fmla="*/ 194286 w 646927"/>
              <a:gd name="connsiteY49" fmla="*/ 367191 h 552576"/>
              <a:gd name="connsiteX50" fmla="*/ 227460 w 646927"/>
              <a:gd name="connsiteY50" fmla="*/ 419273 h 552576"/>
              <a:gd name="connsiteX51" fmla="*/ 246701 w 646927"/>
              <a:gd name="connsiteY51" fmla="*/ 449794 h 552576"/>
              <a:gd name="connsiteX52" fmla="*/ 287006 w 646927"/>
              <a:gd name="connsiteY52" fmla="*/ 469863 h 552576"/>
              <a:gd name="connsiteX53" fmla="*/ 362643 w 646927"/>
              <a:gd name="connsiteY53" fmla="*/ 498890 h 552576"/>
              <a:gd name="connsiteX54" fmla="*/ 416218 w 646927"/>
              <a:gd name="connsiteY54" fmla="*/ 484128 h 552576"/>
              <a:gd name="connsiteX55" fmla="*/ 441762 w 646927"/>
              <a:gd name="connsiteY55" fmla="*/ 527917 h 552576"/>
              <a:gd name="connsiteX56" fmla="*/ 557870 w 646927"/>
              <a:gd name="connsiteY56" fmla="*/ 549480 h 552576"/>
              <a:gd name="connsiteX57" fmla="*/ 592702 w 646927"/>
              <a:gd name="connsiteY57" fmla="*/ 552466 h 552576"/>
              <a:gd name="connsiteX58" fmla="*/ 591707 w 646927"/>
              <a:gd name="connsiteY58" fmla="*/ 544172 h 552576"/>
              <a:gd name="connsiteX59" fmla="*/ 612772 w 646927"/>
              <a:gd name="connsiteY59" fmla="*/ 510999 h 552576"/>
              <a:gd name="connsiteX60" fmla="*/ 642960 w 646927"/>
              <a:gd name="connsiteY60" fmla="*/ 501710 h 552576"/>
              <a:gd name="connsiteX61" fmla="*/ 634501 w 646927"/>
              <a:gd name="connsiteY61" fmla="*/ 476001 h 5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46927" h="552576">
                <a:moveTo>
                  <a:pt x="634501" y="476001"/>
                </a:moveTo>
                <a:cubicBezTo>
                  <a:pt x="626705" y="473347"/>
                  <a:pt x="634501" y="445812"/>
                  <a:pt x="618909" y="439178"/>
                </a:cubicBezTo>
                <a:cubicBezTo>
                  <a:pt x="604230" y="434318"/>
                  <a:pt x="591989" y="423984"/>
                  <a:pt x="584740" y="410317"/>
                </a:cubicBezTo>
                <a:cubicBezTo>
                  <a:pt x="580760" y="399867"/>
                  <a:pt x="561187" y="389417"/>
                  <a:pt x="562348" y="381455"/>
                </a:cubicBezTo>
                <a:cubicBezTo>
                  <a:pt x="563509" y="373494"/>
                  <a:pt x="601825" y="348282"/>
                  <a:pt x="596517" y="334349"/>
                </a:cubicBezTo>
                <a:cubicBezTo>
                  <a:pt x="591209" y="320416"/>
                  <a:pt x="566329" y="322572"/>
                  <a:pt x="563343" y="317762"/>
                </a:cubicBezTo>
                <a:cubicBezTo>
                  <a:pt x="560358" y="312952"/>
                  <a:pt x="564670" y="294043"/>
                  <a:pt x="558201" y="279613"/>
                </a:cubicBezTo>
                <a:cubicBezTo>
                  <a:pt x="551733" y="265182"/>
                  <a:pt x="563343" y="252078"/>
                  <a:pt x="558201" y="244282"/>
                </a:cubicBezTo>
                <a:cubicBezTo>
                  <a:pt x="553059" y="236487"/>
                  <a:pt x="560855" y="220563"/>
                  <a:pt x="562016" y="215422"/>
                </a:cubicBezTo>
                <a:cubicBezTo>
                  <a:pt x="563178" y="210280"/>
                  <a:pt x="576447" y="202318"/>
                  <a:pt x="575120" y="189214"/>
                </a:cubicBezTo>
                <a:cubicBezTo>
                  <a:pt x="574207" y="183110"/>
                  <a:pt x="577193" y="177106"/>
                  <a:pt x="582584" y="174120"/>
                </a:cubicBezTo>
                <a:cubicBezTo>
                  <a:pt x="579018" y="160801"/>
                  <a:pt x="577027" y="147100"/>
                  <a:pt x="576613" y="133317"/>
                </a:cubicBezTo>
                <a:cubicBezTo>
                  <a:pt x="576613" y="128506"/>
                  <a:pt x="560855" y="128506"/>
                  <a:pt x="553059" y="129502"/>
                </a:cubicBezTo>
                <a:cubicBezTo>
                  <a:pt x="545263" y="130497"/>
                  <a:pt x="538297" y="110758"/>
                  <a:pt x="530501" y="110758"/>
                </a:cubicBezTo>
                <a:cubicBezTo>
                  <a:pt x="523286" y="111190"/>
                  <a:pt x="516917" y="106114"/>
                  <a:pt x="515739" y="98982"/>
                </a:cubicBezTo>
                <a:cubicBezTo>
                  <a:pt x="515739" y="93176"/>
                  <a:pt x="496996" y="89196"/>
                  <a:pt x="487210" y="90191"/>
                </a:cubicBezTo>
                <a:cubicBezTo>
                  <a:pt x="477423" y="91186"/>
                  <a:pt x="475433" y="82229"/>
                  <a:pt x="471452" y="82229"/>
                </a:cubicBezTo>
                <a:cubicBezTo>
                  <a:pt x="462412" y="81018"/>
                  <a:pt x="453903" y="77286"/>
                  <a:pt x="446904" y="71448"/>
                </a:cubicBezTo>
                <a:cubicBezTo>
                  <a:pt x="442093" y="65642"/>
                  <a:pt x="413730" y="63652"/>
                  <a:pt x="408588" y="70453"/>
                </a:cubicBezTo>
                <a:cubicBezTo>
                  <a:pt x="403446" y="77253"/>
                  <a:pt x="393826" y="73438"/>
                  <a:pt x="385035" y="73438"/>
                </a:cubicBezTo>
                <a:cubicBezTo>
                  <a:pt x="376244" y="73438"/>
                  <a:pt x="360486" y="87205"/>
                  <a:pt x="355510" y="94006"/>
                </a:cubicBezTo>
                <a:cubicBezTo>
                  <a:pt x="350534" y="100806"/>
                  <a:pt x="338923" y="99148"/>
                  <a:pt x="328142" y="99313"/>
                </a:cubicBezTo>
                <a:cubicBezTo>
                  <a:pt x="328789" y="104853"/>
                  <a:pt x="328441" y="110476"/>
                  <a:pt x="327147" y="115900"/>
                </a:cubicBezTo>
                <a:cubicBezTo>
                  <a:pt x="322005" y="123530"/>
                  <a:pt x="283855" y="130497"/>
                  <a:pt x="255326" y="131492"/>
                </a:cubicBezTo>
                <a:cubicBezTo>
                  <a:pt x="226797" y="132487"/>
                  <a:pt x="224806" y="95167"/>
                  <a:pt x="194452" y="95167"/>
                </a:cubicBezTo>
                <a:cubicBezTo>
                  <a:pt x="173072" y="94138"/>
                  <a:pt x="155788" y="77369"/>
                  <a:pt x="154146" y="56022"/>
                </a:cubicBezTo>
                <a:cubicBezTo>
                  <a:pt x="141042" y="50880"/>
                  <a:pt x="128602" y="42421"/>
                  <a:pt x="130427" y="39435"/>
                </a:cubicBezTo>
                <a:cubicBezTo>
                  <a:pt x="132251" y="36449"/>
                  <a:pt x="139550" y="1285"/>
                  <a:pt x="123792" y="9247"/>
                </a:cubicBezTo>
                <a:cubicBezTo>
                  <a:pt x="108035" y="17209"/>
                  <a:pt x="85809" y="42421"/>
                  <a:pt x="57445" y="38108"/>
                </a:cubicBezTo>
                <a:cubicBezTo>
                  <a:pt x="29081" y="33796"/>
                  <a:pt x="49483" y="31473"/>
                  <a:pt x="35053" y="25005"/>
                </a:cubicBezTo>
                <a:cubicBezTo>
                  <a:pt x="20622" y="18536"/>
                  <a:pt x="29911" y="2612"/>
                  <a:pt x="15480" y="124"/>
                </a:cubicBezTo>
                <a:cubicBezTo>
                  <a:pt x="1050" y="-2364"/>
                  <a:pt x="11499" y="16711"/>
                  <a:pt x="3704" y="16711"/>
                </a:cubicBezTo>
                <a:cubicBezTo>
                  <a:pt x="-4092" y="16711"/>
                  <a:pt x="2377" y="39103"/>
                  <a:pt x="5030" y="44245"/>
                </a:cubicBezTo>
                <a:cubicBezTo>
                  <a:pt x="7684" y="49387"/>
                  <a:pt x="-277" y="78414"/>
                  <a:pt x="5030" y="79741"/>
                </a:cubicBezTo>
                <a:cubicBezTo>
                  <a:pt x="13042" y="86492"/>
                  <a:pt x="18582" y="95714"/>
                  <a:pt x="20788" y="105948"/>
                </a:cubicBezTo>
                <a:cubicBezTo>
                  <a:pt x="19461" y="109929"/>
                  <a:pt x="32564" y="122535"/>
                  <a:pt x="32564" y="132156"/>
                </a:cubicBezTo>
                <a:cubicBezTo>
                  <a:pt x="33975" y="141875"/>
                  <a:pt x="41223" y="149721"/>
                  <a:pt x="50810" y="151894"/>
                </a:cubicBezTo>
                <a:cubicBezTo>
                  <a:pt x="57445" y="151894"/>
                  <a:pt x="66568" y="155875"/>
                  <a:pt x="63914" y="163670"/>
                </a:cubicBezTo>
                <a:cubicBezTo>
                  <a:pt x="61260" y="171466"/>
                  <a:pt x="67895" y="183409"/>
                  <a:pt x="60099" y="183409"/>
                </a:cubicBezTo>
                <a:cubicBezTo>
                  <a:pt x="52303" y="183409"/>
                  <a:pt x="53464" y="205635"/>
                  <a:pt x="46995" y="209616"/>
                </a:cubicBezTo>
                <a:cubicBezTo>
                  <a:pt x="40526" y="213597"/>
                  <a:pt x="45668" y="237150"/>
                  <a:pt x="50810" y="239804"/>
                </a:cubicBezTo>
                <a:cubicBezTo>
                  <a:pt x="55952" y="242458"/>
                  <a:pt x="67397" y="248927"/>
                  <a:pt x="66568" y="258215"/>
                </a:cubicBezTo>
                <a:cubicBezTo>
                  <a:pt x="65738" y="267504"/>
                  <a:pt x="94102" y="281769"/>
                  <a:pt x="103391" y="283096"/>
                </a:cubicBezTo>
                <a:cubicBezTo>
                  <a:pt x="112679" y="284423"/>
                  <a:pt x="113840" y="297526"/>
                  <a:pt x="119977" y="302834"/>
                </a:cubicBezTo>
                <a:cubicBezTo>
                  <a:pt x="126114" y="308142"/>
                  <a:pt x="115996" y="318592"/>
                  <a:pt x="117323" y="325060"/>
                </a:cubicBezTo>
                <a:cubicBezTo>
                  <a:pt x="118650" y="331529"/>
                  <a:pt x="130427" y="336837"/>
                  <a:pt x="129100" y="347453"/>
                </a:cubicBezTo>
                <a:cubicBezTo>
                  <a:pt x="129100" y="353756"/>
                  <a:pt x="139052" y="364039"/>
                  <a:pt x="147843" y="373494"/>
                </a:cubicBezTo>
                <a:cubicBezTo>
                  <a:pt x="150480" y="372698"/>
                  <a:pt x="153217" y="372250"/>
                  <a:pt x="155971" y="372167"/>
                </a:cubicBezTo>
                <a:cubicBezTo>
                  <a:pt x="164762" y="372167"/>
                  <a:pt x="164264" y="362381"/>
                  <a:pt x="171231" y="368186"/>
                </a:cubicBezTo>
                <a:cubicBezTo>
                  <a:pt x="178197" y="373992"/>
                  <a:pt x="187817" y="368186"/>
                  <a:pt x="194286" y="367191"/>
                </a:cubicBezTo>
                <a:cubicBezTo>
                  <a:pt x="200755" y="366196"/>
                  <a:pt x="219830" y="402023"/>
                  <a:pt x="227460" y="419273"/>
                </a:cubicBezTo>
                <a:cubicBezTo>
                  <a:pt x="235090" y="436524"/>
                  <a:pt x="235422" y="442329"/>
                  <a:pt x="246701" y="449794"/>
                </a:cubicBezTo>
                <a:cubicBezTo>
                  <a:pt x="257979" y="457257"/>
                  <a:pt x="270752" y="453277"/>
                  <a:pt x="287006" y="469863"/>
                </a:cubicBezTo>
                <a:cubicBezTo>
                  <a:pt x="308967" y="486500"/>
                  <a:pt x="335192" y="496568"/>
                  <a:pt x="362643" y="498890"/>
                </a:cubicBezTo>
                <a:cubicBezTo>
                  <a:pt x="380225" y="499886"/>
                  <a:pt x="393494" y="479816"/>
                  <a:pt x="416218" y="484128"/>
                </a:cubicBezTo>
                <a:cubicBezTo>
                  <a:pt x="438942" y="488441"/>
                  <a:pt x="432805" y="517302"/>
                  <a:pt x="441762" y="527917"/>
                </a:cubicBezTo>
                <a:cubicBezTo>
                  <a:pt x="450719" y="538533"/>
                  <a:pt x="541283" y="544504"/>
                  <a:pt x="557870" y="549480"/>
                </a:cubicBezTo>
                <a:cubicBezTo>
                  <a:pt x="569364" y="551604"/>
                  <a:pt x="581025" y="552599"/>
                  <a:pt x="592702" y="552466"/>
                </a:cubicBezTo>
                <a:cubicBezTo>
                  <a:pt x="592702" y="549149"/>
                  <a:pt x="591872" y="546329"/>
                  <a:pt x="591707" y="544172"/>
                </a:cubicBezTo>
                <a:cubicBezTo>
                  <a:pt x="591872" y="530007"/>
                  <a:pt x="600033" y="517169"/>
                  <a:pt x="612772" y="510999"/>
                </a:cubicBezTo>
                <a:cubicBezTo>
                  <a:pt x="622193" y="506106"/>
                  <a:pt x="632427" y="502954"/>
                  <a:pt x="642960" y="501710"/>
                </a:cubicBezTo>
                <a:cubicBezTo>
                  <a:pt x="652912" y="499222"/>
                  <a:pt x="641799" y="478323"/>
                  <a:pt x="634501" y="47600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7" name="Freeform: Shape 526">
            <a:extLst>
              <a:ext uri="{FF2B5EF4-FFF2-40B4-BE49-F238E27FC236}">
                <a16:creationId xmlns:a16="http://schemas.microsoft.com/office/drawing/2014/main" id="{4C821B0B-589A-4623-88CB-87F66D573F37}"/>
              </a:ext>
            </a:extLst>
          </p:cNvPr>
          <p:cNvSpPr/>
          <p:nvPr/>
        </p:nvSpPr>
        <p:spPr>
          <a:xfrm>
            <a:off x="5649362" y="4530086"/>
            <a:ext cx="484093" cy="489314"/>
          </a:xfrm>
          <a:custGeom>
            <a:avLst/>
            <a:gdLst>
              <a:gd name="connsiteX0" fmla="*/ 558961 w 610561"/>
              <a:gd name="connsiteY0" fmla="*/ 415651 h 629222"/>
              <a:gd name="connsiteX1" fmla="*/ 544199 w 610561"/>
              <a:gd name="connsiteY1" fmla="*/ 292577 h 629222"/>
              <a:gd name="connsiteX2" fmla="*/ 547350 w 610561"/>
              <a:gd name="connsiteY2" fmla="*/ 295728 h 629222"/>
              <a:gd name="connsiteX3" fmla="*/ 545692 w 610561"/>
              <a:gd name="connsiteY3" fmla="*/ 270516 h 629222"/>
              <a:gd name="connsiteX4" fmla="*/ 543535 w 610561"/>
              <a:gd name="connsiteY4" fmla="*/ 269687 h 629222"/>
              <a:gd name="connsiteX5" fmla="*/ 536735 w 610561"/>
              <a:gd name="connsiteY5" fmla="*/ 260067 h 629222"/>
              <a:gd name="connsiteX6" fmla="*/ 544199 w 610561"/>
              <a:gd name="connsiteY6" fmla="*/ 250612 h 629222"/>
              <a:gd name="connsiteX7" fmla="*/ 550834 w 610561"/>
              <a:gd name="connsiteY7" fmla="*/ 229215 h 629222"/>
              <a:gd name="connsiteX8" fmla="*/ 554815 w 610561"/>
              <a:gd name="connsiteY8" fmla="*/ 226063 h 629222"/>
              <a:gd name="connsiteX9" fmla="*/ 560454 w 610561"/>
              <a:gd name="connsiteY9" fmla="*/ 201847 h 629222"/>
              <a:gd name="connsiteX10" fmla="*/ 566259 w 610561"/>
              <a:gd name="connsiteY10" fmla="*/ 173151 h 629222"/>
              <a:gd name="connsiteX11" fmla="*/ 574387 w 610561"/>
              <a:gd name="connsiteY11" fmla="*/ 149598 h 629222"/>
              <a:gd name="connsiteX12" fmla="*/ 586993 w 610561"/>
              <a:gd name="connsiteY12" fmla="*/ 131187 h 629222"/>
              <a:gd name="connsiteX13" fmla="*/ 600926 w 610561"/>
              <a:gd name="connsiteY13" fmla="*/ 121566 h 629222"/>
              <a:gd name="connsiteX14" fmla="*/ 610546 w 610561"/>
              <a:gd name="connsiteY14" fmla="*/ 104980 h 629222"/>
              <a:gd name="connsiteX15" fmla="*/ 599433 w 610561"/>
              <a:gd name="connsiteY15" fmla="*/ 88393 h 629222"/>
              <a:gd name="connsiteX16" fmla="*/ 602419 w 610561"/>
              <a:gd name="connsiteY16" fmla="*/ 59697 h 629222"/>
              <a:gd name="connsiteX17" fmla="*/ 602419 w 610561"/>
              <a:gd name="connsiteY17" fmla="*/ 59697 h 629222"/>
              <a:gd name="connsiteX18" fmla="*/ 563937 w 610561"/>
              <a:gd name="connsiteY18" fmla="*/ 26524 h 629222"/>
              <a:gd name="connsiteX19" fmla="*/ 547350 w 610561"/>
              <a:gd name="connsiteY19" fmla="*/ 30505 h 629222"/>
              <a:gd name="connsiteX20" fmla="*/ 528939 w 610561"/>
              <a:gd name="connsiteY20" fmla="*/ 28514 h 629222"/>
              <a:gd name="connsiteX21" fmla="*/ 508371 w 610561"/>
              <a:gd name="connsiteY21" fmla="*/ 28514 h 629222"/>
              <a:gd name="connsiteX22" fmla="*/ 493941 w 610561"/>
              <a:gd name="connsiteY22" fmla="*/ 11927 h 629222"/>
              <a:gd name="connsiteX23" fmla="*/ 485316 w 610561"/>
              <a:gd name="connsiteY23" fmla="*/ 3302 h 629222"/>
              <a:gd name="connsiteX24" fmla="*/ 485316 w 610561"/>
              <a:gd name="connsiteY24" fmla="*/ 4629 h 629222"/>
              <a:gd name="connsiteX25" fmla="*/ 460601 w 610561"/>
              <a:gd name="connsiteY25" fmla="*/ 8610 h 629222"/>
              <a:gd name="connsiteX26" fmla="*/ 423778 w 610561"/>
              <a:gd name="connsiteY26" fmla="*/ 4629 h 629222"/>
              <a:gd name="connsiteX27" fmla="*/ 397074 w 610561"/>
              <a:gd name="connsiteY27" fmla="*/ 8610 h 629222"/>
              <a:gd name="connsiteX28" fmla="*/ 362241 w 610561"/>
              <a:gd name="connsiteY28" fmla="*/ 18894 h 629222"/>
              <a:gd name="connsiteX29" fmla="*/ 335702 w 610561"/>
              <a:gd name="connsiteY29" fmla="*/ 18894 h 629222"/>
              <a:gd name="connsiteX30" fmla="*/ 325419 w 610561"/>
              <a:gd name="connsiteY30" fmla="*/ 41452 h 629222"/>
              <a:gd name="connsiteX31" fmla="*/ 261891 w 610561"/>
              <a:gd name="connsiteY31" fmla="*/ 29178 h 629222"/>
              <a:gd name="connsiteX32" fmla="*/ 235186 w 610561"/>
              <a:gd name="connsiteY32" fmla="*/ 10767 h 629222"/>
              <a:gd name="connsiteX33" fmla="*/ 200354 w 610561"/>
              <a:gd name="connsiteY33" fmla="*/ 37471 h 629222"/>
              <a:gd name="connsiteX34" fmla="*/ 200354 w 610561"/>
              <a:gd name="connsiteY34" fmla="*/ 59863 h 629222"/>
              <a:gd name="connsiteX35" fmla="*/ 195544 w 610561"/>
              <a:gd name="connsiteY35" fmla="*/ 94364 h 629222"/>
              <a:gd name="connsiteX36" fmla="*/ 183104 w 610561"/>
              <a:gd name="connsiteY36" fmla="*/ 129196 h 629222"/>
              <a:gd name="connsiteX37" fmla="*/ 158389 w 610561"/>
              <a:gd name="connsiteY37" fmla="*/ 199027 h 629222"/>
              <a:gd name="connsiteX38" fmla="*/ 129694 w 610561"/>
              <a:gd name="connsiteY38" fmla="*/ 236015 h 629222"/>
              <a:gd name="connsiteX39" fmla="*/ 127704 w 610561"/>
              <a:gd name="connsiteY39" fmla="*/ 291581 h 629222"/>
              <a:gd name="connsiteX40" fmla="*/ 115264 w 610561"/>
              <a:gd name="connsiteY40" fmla="*/ 316130 h 629222"/>
              <a:gd name="connsiteX41" fmla="*/ 94862 w 610561"/>
              <a:gd name="connsiteY41" fmla="*/ 334707 h 629222"/>
              <a:gd name="connsiteX42" fmla="*/ 80431 w 610561"/>
              <a:gd name="connsiteY42" fmla="*/ 336698 h 629222"/>
              <a:gd name="connsiteX43" fmla="*/ 53726 w 610561"/>
              <a:gd name="connsiteY43" fmla="*/ 334707 h 629222"/>
              <a:gd name="connsiteX44" fmla="*/ 31168 w 610561"/>
              <a:gd name="connsiteY44" fmla="*/ 332551 h 629222"/>
              <a:gd name="connsiteX45" fmla="*/ -15 w 610561"/>
              <a:gd name="connsiteY45" fmla="*/ 349138 h 629222"/>
              <a:gd name="connsiteX46" fmla="*/ 11762 w 610561"/>
              <a:gd name="connsiteY46" fmla="*/ 385795 h 629222"/>
              <a:gd name="connsiteX47" fmla="*/ 12591 w 610561"/>
              <a:gd name="connsiteY47" fmla="*/ 389112 h 629222"/>
              <a:gd name="connsiteX48" fmla="*/ 31334 w 610561"/>
              <a:gd name="connsiteY48" fmla="*/ 378828 h 629222"/>
              <a:gd name="connsiteX49" fmla="*/ 138983 w 610561"/>
              <a:gd name="connsiteY49" fmla="*/ 378828 h 629222"/>
              <a:gd name="connsiteX50" fmla="*/ 144954 w 610561"/>
              <a:gd name="connsiteY50" fmla="*/ 406860 h 629222"/>
              <a:gd name="connsiteX51" fmla="*/ 158224 w 610561"/>
              <a:gd name="connsiteY51" fmla="*/ 431906 h 629222"/>
              <a:gd name="connsiteX52" fmla="*/ 186255 w 610561"/>
              <a:gd name="connsiteY52" fmla="*/ 452639 h 629222"/>
              <a:gd name="connsiteX53" fmla="*/ 224571 w 610561"/>
              <a:gd name="connsiteY53" fmla="*/ 446668 h 629222"/>
              <a:gd name="connsiteX54" fmla="*/ 237840 w 610561"/>
              <a:gd name="connsiteY54" fmla="*/ 417144 h 629222"/>
              <a:gd name="connsiteX55" fmla="*/ 264379 w 610561"/>
              <a:gd name="connsiteY55" fmla="*/ 417144 h 629222"/>
              <a:gd name="connsiteX56" fmla="*/ 280966 w 610561"/>
              <a:gd name="connsiteY56" fmla="*/ 424608 h 629222"/>
              <a:gd name="connsiteX57" fmla="*/ 303192 w 610561"/>
              <a:gd name="connsiteY57" fmla="*/ 428920 h 629222"/>
              <a:gd name="connsiteX58" fmla="*/ 308998 w 610561"/>
              <a:gd name="connsiteY58" fmla="*/ 455459 h 629222"/>
              <a:gd name="connsiteX59" fmla="*/ 304519 w 610561"/>
              <a:gd name="connsiteY59" fmla="*/ 502732 h 629222"/>
              <a:gd name="connsiteX60" fmla="*/ 321106 w 610561"/>
              <a:gd name="connsiteY60" fmla="*/ 529271 h 629222"/>
              <a:gd name="connsiteX61" fmla="*/ 321106 w 610561"/>
              <a:gd name="connsiteY61" fmla="*/ 555810 h 629222"/>
              <a:gd name="connsiteX62" fmla="*/ 338854 w 610561"/>
              <a:gd name="connsiteY62" fmla="*/ 546853 h 629222"/>
              <a:gd name="connsiteX63" fmla="*/ 368213 w 610561"/>
              <a:gd name="connsiteY63" fmla="*/ 543867 h 629222"/>
              <a:gd name="connsiteX64" fmla="*/ 377335 w 610561"/>
              <a:gd name="connsiteY64" fmla="*/ 543867 h 629222"/>
              <a:gd name="connsiteX65" fmla="*/ 385960 w 610561"/>
              <a:gd name="connsiteY65" fmla="*/ 552493 h 629222"/>
              <a:gd name="connsiteX66" fmla="*/ 394751 w 610561"/>
              <a:gd name="connsiteY66" fmla="*/ 559791 h 629222"/>
              <a:gd name="connsiteX67" fmla="*/ 415485 w 610561"/>
              <a:gd name="connsiteY67" fmla="*/ 558298 h 629222"/>
              <a:gd name="connsiteX68" fmla="*/ 425769 w 610561"/>
              <a:gd name="connsiteY68" fmla="*/ 574884 h 629222"/>
              <a:gd name="connsiteX69" fmla="*/ 453800 w 610561"/>
              <a:gd name="connsiteY69" fmla="*/ 583841 h 629222"/>
              <a:gd name="connsiteX70" fmla="*/ 468563 w 610561"/>
              <a:gd name="connsiteY70" fmla="*/ 579363 h 629222"/>
              <a:gd name="connsiteX71" fmla="*/ 480339 w 610561"/>
              <a:gd name="connsiteY71" fmla="*/ 573392 h 629222"/>
              <a:gd name="connsiteX72" fmla="*/ 497921 w 610561"/>
              <a:gd name="connsiteY72" fmla="*/ 592632 h 629222"/>
              <a:gd name="connsiteX73" fmla="*/ 523134 w 610561"/>
              <a:gd name="connsiteY73" fmla="*/ 598438 h 629222"/>
              <a:gd name="connsiteX74" fmla="*/ 536237 w 610561"/>
              <a:gd name="connsiteY74" fmla="*/ 626470 h 629222"/>
              <a:gd name="connsiteX75" fmla="*/ 559957 w 610561"/>
              <a:gd name="connsiteY75" fmla="*/ 626470 h 629222"/>
              <a:gd name="connsiteX76" fmla="*/ 565762 w 610561"/>
              <a:gd name="connsiteY76" fmla="*/ 611707 h 629222"/>
              <a:gd name="connsiteX77" fmla="*/ 561449 w 610561"/>
              <a:gd name="connsiteY77" fmla="*/ 588154 h 629222"/>
              <a:gd name="connsiteX78" fmla="*/ 539223 w 610561"/>
              <a:gd name="connsiteY78" fmla="*/ 595618 h 629222"/>
              <a:gd name="connsiteX79" fmla="*/ 517162 w 610561"/>
              <a:gd name="connsiteY79" fmla="*/ 569079 h 629222"/>
              <a:gd name="connsiteX80" fmla="*/ 524627 w 610561"/>
              <a:gd name="connsiteY80" fmla="*/ 538062 h 629222"/>
              <a:gd name="connsiteX81" fmla="*/ 525953 w 610561"/>
              <a:gd name="connsiteY81" fmla="*/ 501239 h 629222"/>
              <a:gd name="connsiteX82" fmla="*/ 530432 w 610561"/>
              <a:gd name="connsiteY82" fmla="*/ 483491 h 629222"/>
              <a:gd name="connsiteX83" fmla="*/ 539223 w 610561"/>
              <a:gd name="connsiteY83" fmla="*/ 461430 h 629222"/>
              <a:gd name="connsiteX84" fmla="*/ 579197 w 610561"/>
              <a:gd name="connsiteY84" fmla="*/ 455459 h 629222"/>
              <a:gd name="connsiteX85" fmla="*/ 580524 w 610561"/>
              <a:gd name="connsiteY85" fmla="*/ 453967 h 629222"/>
              <a:gd name="connsiteX86" fmla="*/ 582680 w 610561"/>
              <a:gd name="connsiteY86" fmla="*/ 448990 h 629222"/>
              <a:gd name="connsiteX87" fmla="*/ 558961 w 610561"/>
              <a:gd name="connsiteY87" fmla="*/ 415651 h 629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10561" h="629222">
                <a:moveTo>
                  <a:pt x="558961" y="415651"/>
                </a:moveTo>
                <a:cubicBezTo>
                  <a:pt x="542375" y="406860"/>
                  <a:pt x="536072" y="295562"/>
                  <a:pt x="544199" y="292577"/>
                </a:cubicBezTo>
                <a:cubicBezTo>
                  <a:pt x="545194" y="292577"/>
                  <a:pt x="546189" y="293406"/>
                  <a:pt x="547350" y="295728"/>
                </a:cubicBezTo>
                <a:lnTo>
                  <a:pt x="545692" y="270516"/>
                </a:lnTo>
                <a:cubicBezTo>
                  <a:pt x="544929" y="270350"/>
                  <a:pt x="544199" y="270068"/>
                  <a:pt x="543535" y="269687"/>
                </a:cubicBezTo>
                <a:cubicBezTo>
                  <a:pt x="539372" y="268360"/>
                  <a:pt x="536602" y="264429"/>
                  <a:pt x="536735" y="260067"/>
                </a:cubicBezTo>
                <a:cubicBezTo>
                  <a:pt x="536254" y="255406"/>
                  <a:pt x="539555" y="251209"/>
                  <a:pt x="544199" y="250612"/>
                </a:cubicBezTo>
                <a:cubicBezTo>
                  <a:pt x="544199" y="250612"/>
                  <a:pt x="542706" y="232201"/>
                  <a:pt x="550834" y="229215"/>
                </a:cubicBezTo>
                <a:cubicBezTo>
                  <a:pt x="552426" y="228552"/>
                  <a:pt x="553803" y="227457"/>
                  <a:pt x="554815" y="226063"/>
                </a:cubicBezTo>
                <a:cubicBezTo>
                  <a:pt x="559094" y="218749"/>
                  <a:pt x="561068" y="210306"/>
                  <a:pt x="560454" y="201847"/>
                </a:cubicBezTo>
                <a:cubicBezTo>
                  <a:pt x="560487" y="191994"/>
                  <a:pt x="562461" y="182241"/>
                  <a:pt x="566259" y="173151"/>
                </a:cubicBezTo>
                <a:cubicBezTo>
                  <a:pt x="570074" y="165024"/>
                  <a:pt x="568582" y="154076"/>
                  <a:pt x="574387" y="149598"/>
                </a:cubicBezTo>
                <a:cubicBezTo>
                  <a:pt x="580193" y="145120"/>
                  <a:pt x="579529" y="133011"/>
                  <a:pt x="586993" y="131187"/>
                </a:cubicBezTo>
                <a:cubicBezTo>
                  <a:pt x="594457" y="129362"/>
                  <a:pt x="600262" y="126045"/>
                  <a:pt x="600926" y="121566"/>
                </a:cubicBezTo>
                <a:cubicBezTo>
                  <a:pt x="601589" y="117088"/>
                  <a:pt x="610546" y="111283"/>
                  <a:pt x="610546" y="104980"/>
                </a:cubicBezTo>
                <a:cubicBezTo>
                  <a:pt x="610546" y="98677"/>
                  <a:pt x="599433" y="96852"/>
                  <a:pt x="599433" y="88393"/>
                </a:cubicBezTo>
                <a:cubicBezTo>
                  <a:pt x="599433" y="79933"/>
                  <a:pt x="602419" y="59697"/>
                  <a:pt x="602419" y="59697"/>
                </a:cubicBezTo>
                <a:lnTo>
                  <a:pt x="602419" y="59697"/>
                </a:lnTo>
                <a:cubicBezTo>
                  <a:pt x="585832" y="45101"/>
                  <a:pt x="568250" y="30173"/>
                  <a:pt x="563937" y="26524"/>
                </a:cubicBezTo>
                <a:cubicBezTo>
                  <a:pt x="559625" y="22875"/>
                  <a:pt x="547350" y="30505"/>
                  <a:pt x="547350" y="30505"/>
                </a:cubicBezTo>
                <a:cubicBezTo>
                  <a:pt x="547350" y="30505"/>
                  <a:pt x="537067" y="20221"/>
                  <a:pt x="528939" y="28514"/>
                </a:cubicBezTo>
                <a:cubicBezTo>
                  <a:pt x="520811" y="36807"/>
                  <a:pt x="508371" y="28514"/>
                  <a:pt x="508371" y="28514"/>
                </a:cubicBezTo>
                <a:cubicBezTo>
                  <a:pt x="502052" y="24500"/>
                  <a:pt x="497043" y="18745"/>
                  <a:pt x="493941" y="11927"/>
                </a:cubicBezTo>
                <a:cubicBezTo>
                  <a:pt x="492265" y="8063"/>
                  <a:pt x="489181" y="4978"/>
                  <a:pt x="485316" y="3302"/>
                </a:cubicBezTo>
                <a:lnTo>
                  <a:pt x="485316" y="4629"/>
                </a:lnTo>
                <a:lnTo>
                  <a:pt x="460601" y="8610"/>
                </a:lnTo>
                <a:cubicBezTo>
                  <a:pt x="460601" y="8610"/>
                  <a:pt x="429916" y="-7977"/>
                  <a:pt x="423778" y="4629"/>
                </a:cubicBezTo>
                <a:cubicBezTo>
                  <a:pt x="417641" y="17235"/>
                  <a:pt x="411504" y="8610"/>
                  <a:pt x="397074" y="8610"/>
                </a:cubicBezTo>
                <a:cubicBezTo>
                  <a:pt x="384816" y="9240"/>
                  <a:pt x="372873" y="12774"/>
                  <a:pt x="362241" y="18894"/>
                </a:cubicBezTo>
                <a:cubicBezTo>
                  <a:pt x="354114" y="23041"/>
                  <a:pt x="341839" y="14747"/>
                  <a:pt x="335702" y="18894"/>
                </a:cubicBezTo>
                <a:cubicBezTo>
                  <a:pt x="329565" y="23041"/>
                  <a:pt x="325419" y="41452"/>
                  <a:pt x="325419" y="41452"/>
                </a:cubicBezTo>
                <a:lnTo>
                  <a:pt x="261891" y="29178"/>
                </a:lnTo>
                <a:cubicBezTo>
                  <a:pt x="261891" y="29178"/>
                  <a:pt x="249617" y="10767"/>
                  <a:pt x="235186" y="10767"/>
                </a:cubicBezTo>
                <a:cubicBezTo>
                  <a:pt x="220756" y="10767"/>
                  <a:pt x="200354" y="37471"/>
                  <a:pt x="200354" y="37471"/>
                </a:cubicBezTo>
                <a:lnTo>
                  <a:pt x="200354" y="59863"/>
                </a:lnTo>
                <a:cubicBezTo>
                  <a:pt x="202510" y="71574"/>
                  <a:pt x="200818" y="83682"/>
                  <a:pt x="195544" y="94364"/>
                </a:cubicBezTo>
                <a:cubicBezTo>
                  <a:pt x="187068" y="103951"/>
                  <a:pt x="182622" y="116425"/>
                  <a:pt x="183104" y="129196"/>
                </a:cubicBezTo>
                <a:cubicBezTo>
                  <a:pt x="183104" y="149764"/>
                  <a:pt x="158389" y="182606"/>
                  <a:pt x="158389" y="199027"/>
                </a:cubicBezTo>
                <a:cubicBezTo>
                  <a:pt x="158389" y="215448"/>
                  <a:pt x="129694" y="225732"/>
                  <a:pt x="129694" y="236015"/>
                </a:cubicBezTo>
                <a:cubicBezTo>
                  <a:pt x="129694" y="246299"/>
                  <a:pt x="127704" y="269189"/>
                  <a:pt x="127704" y="291581"/>
                </a:cubicBezTo>
                <a:cubicBezTo>
                  <a:pt x="127704" y="313974"/>
                  <a:pt x="115264" y="295562"/>
                  <a:pt x="115264" y="316130"/>
                </a:cubicBezTo>
                <a:cubicBezTo>
                  <a:pt x="115264" y="336698"/>
                  <a:pt x="104979" y="324424"/>
                  <a:pt x="94862" y="334707"/>
                </a:cubicBezTo>
                <a:cubicBezTo>
                  <a:pt x="84743" y="344991"/>
                  <a:pt x="80431" y="346981"/>
                  <a:pt x="80431" y="336698"/>
                </a:cubicBezTo>
                <a:cubicBezTo>
                  <a:pt x="80431" y="326414"/>
                  <a:pt x="66001" y="324424"/>
                  <a:pt x="53726" y="334707"/>
                </a:cubicBezTo>
                <a:cubicBezTo>
                  <a:pt x="41452" y="344991"/>
                  <a:pt x="37139" y="334707"/>
                  <a:pt x="31168" y="332551"/>
                </a:cubicBezTo>
                <a:cubicBezTo>
                  <a:pt x="19707" y="335769"/>
                  <a:pt x="9075" y="341442"/>
                  <a:pt x="-15" y="349138"/>
                </a:cubicBezTo>
                <a:cubicBezTo>
                  <a:pt x="5359" y="360848"/>
                  <a:pt x="9307" y="373156"/>
                  <a:pt x="11762" y="385795"/>
                </a:cubicBezTo>
                <a:cubicBezTo>
                  <a:pt x="11977" y="386906"/>
                  <a:pt x="12259" y="388017"/>
                  <a:pt x="12591" y="389112"/>
                </a:cubicBezTo>
                <a:cubicBezTo>
                  <a:pt x="18197" y="384617"/>
                  <a:pt x="24534" y="381150"/>
                  <a:pt x="31334" y="378828"/>
                </a:cubicBezTo>
                <a:cubicBezTo>
                  <a:pt x="41784" y="377336"/>
                  <a:pt x="138983" y="378828"/>
                  <a:pt x="138983" y="378828"/>
                </a:cubicBezTo>
                <a:cubicBezTo>
                  <a:pt x="143926" y="387287"/>
                  <a:pt x="146032" y="397124"/>
                  <a:pt x="144954" y="406860"/>
                </a:cubicBezTo>
                <a:cubicBezTo>
                  <a:pt x="141968" y="420129"/>
                  <a:pt x="150759" y="414158"/>
                  <a:pt x="158224" y="431906"/>
                </a:cubicBezTo>
                <a:cubicBezTo>
                  <a:pt x="165687" y="449654"/>
                  <a:pt x="171493" y="456952"/>
                  <a:pt x="186255" y="452639"/>
                </a:cubicBezTo>
                <a:cubicBezTo>
                  <a:pt x="198562" y="448327"/>
                  <a:pt x="211533" y="446303"/>
                  <a:pt x="224571" y="446668"/>
                </a:cubicBezTo>
                <a:cubicBezTo>
                  <a:pt x="230376" y="448161"/>
                  <a:pt x="228883" y="421622"/>
                  <a:pt x="237840" y="417144"/>
                </a:cubicBezTo>
                <a:cubicBezTo>
                  <a:pt x="246515" y="414739"/>
                  <a:pt x="255704" y="414739"/>
                  <a:pt x="264379" y="417144"/>
                </a:cubicBezTo>
                <a:cubicBezTo>
                  <a:pt x="264379" y="417144"/>
                  <a:pt x="265706" y="424608"/>
                  <a:pt x="280966" y="424608"/>
                </a:cubicBezTo>
                <a:cubicBezTo>
                  <a:pt x="296226" y="424608"/>
                  <a:pt x="303192" y="418637"/>
                  <a:pt x="303192" y="428920"/>
                </a:cubicBezTo>
                <a:cubicBezTo>
                  <a:pt x="302263" y="438159"/>
                  <a:pt x="304303" y="447448"/>
                  <a:pt x="308998" y="455459"/>
                </a:cubicBezTo>
                <a:cubicBezTo>
                  <a:pt x="313476" y="459938"/>
                  <a:pt x="297221" y="496761"/>
                  <a:pt x="304519" y="502732"/>
                </a:cubicBezTo>
                <a:cubicBezTo>
                  <a:pt x="311817" y="508703"/>
                  <a:pt x="322267" y="521807"/>
                  <a:pt x="321106" y="529271"/>
                </a:cubicBezTo>
                <a:cubicBezTo>
                  <a:pt x="319945" y="536735"/>
                  <a:pt x="315301" y="554317"/>
                  <a:pt x="321106" y="555810"/>
                </a:cubicBezTo>
                <a:cubicBezTo>
                  <a:pt x="326911" y="557302"/>
                  <a:pt x="328570" y="546853"/>
                  <a:pt x="338854" y="546853"/>
                </a:cubicBezTo>
                <a:cubicBezTo>
                  <a:pt x="348740" y="548080"/>
                  <a:pt x="358775" y="547052"/>
                  <a:pt x="368213" y="543867"/>
                </a:cubicBezTo>
                <a:cubicBezTo>
                  <a:pt x="371115" y="542607"/>
                  <a:pt x="374433" y="542607"/>
                  <a:pt x="377335" y="543867"/>
                </a:cubicBezTo>
                <a:cubicBezTo>
                  <a:pt x="380918" y="545940"/>
                  <a:pt x="383887" y="548910"/>
                  <a:pt x="385960" y="552493"/>
                </a:cubicBezTo>
                <a:cubicBezTo>
                  <a:pt x="385960" y="552493"/>
                  <a:pt x="388946" y="562776"/>
                  <a:pt x="394751" y="559791"/>
                </a:cubicBezTo>
                <a:cubicBezTo>
                  <a:pt x="400557" y="556805"/>
                  <a:pt x="416978" y="552493"/>
                  <a:pt x="415485" y="558298"/>
                </a:cubicBezTo>
                <a:cubicBezTo>
                  <a:pt x="413992" y="564103"/>
                  <a:pt x="419798" y="577538"/>
                  <a:pt x="425769" y="574884"/>
                </a:cubicBezTo>
                <a:cubicBezTo>
                  <a:pt x="431740" y="572231"/>
                  <a:pt x="446337" y="583841"/>
                  <a:pt x="453800" y="583841"/>
                </a:cubicBezTo>
                <a:cubicBezTo>
                  <a:pt x="461265" y="583841"/>
                  <a:pt x="468563" y="583841"/>
                  <a:pt x="468563" y="579363"/>
                </a:cubicBezTo>
                <a:cubicBezTo>
                  <a:pt x="468563" y="574884"/>
                  <a:pt x="477354" y="567586"/>
                  <a:pt x="480339" y="573392"/>
                </a:cubicBezTo>
                <a:cubicBezTo>
                  <a:pt x="483325" y="579197"/>
                  <a:pt x="490623" y="592632"/>
                  <a:pt x="497921" y="592632"/>
                </a:cubicBezTo>
                <a:cubicBezTo>
                  <a:pt x="505220" y="592632"/>
                  <a:pt x="523134" y="592632"/>
                  <a:pt x="523134" y="598438"/>
                </a:cubicBezTo>
                <a:cubicBezTo>
                  <a:pt x="524411" y="608937"/>
                  <a:pt x="529006" y="618757"/>
                  <a:pt x="536237" y="626470"/>
                </a:cubicBezTo>
                <a:cubicBezTo>
                  <a:pt x="543701" y="632441"/>
                  <a:pt x="559957" y="626470"/>
                  <a:pt x="559957" y="626470"/>
                </a:cubicBezTo>
                <a:cubicBezTo>
                  <a:pt x="563987" y="622655"/>
                  <a:pt x="566110" y="617247"/>
                  <a:pt x="565762" y="611707"/>
                </a:cubicBezTo>
                <a:cubicBezTo>
                  <a:pt x="565762" y="601423"/>
                  <a:pt x="565762" y="588154"/>
                  <a:pt x="561449" y="588154"/>
                </a:cubicBezTo>
                <a:cubicBezTo>
                  <a:pt x="557137" y="588154"/>
                  <a:pt x="549672" y="598438"/>
                  <a:pt x="539223" y="595618"/>
                </a:cubicBezTo>
                <a:cubicBezTo>
                  <a:pt x="528773" y="592798"/>
                  <a:pt x="521641" y="571899"/>
                  <a:pt x="517162" y="569079"/>
                </a:cubicBezTo>
                <a:cubicBezTo>
                  <a:pt x="512684" y="566259"/>
                  <a:pt x="524627" y="546853"/>
                  <a:pt x="524627" y="538062"/>
                </a:cubicBezTo>
                <a:cubicBezTo>
                  <a:pt x="524627" y="529271"/>
                  <a:pt x="531925" y="504059"/>
                  <a:pt x="525953" y="501239"/>
                </a:cubicBezTo>
                <a:cubicBezTo>
                  <a:pt x="519982" y="498419"/>
                  <a:pt x="523134" y="489462"/>
                  <a:pt x="530432" y="483491"/>
                </a:cubicBezTo>
                <a:cubicBezTo>
                  <a:pt x="537730" y="477520"/>
                  <a:pt x="527446" y="461430"/>
                  <a:pt x="539223" y="461430"/>
                </a:cubicBezTo>
                <a:cubicBezTo>
                  <a:pt x="551000" y="461430"/>
                  <a:pt x="572397" y="462592"/>
                  <a:pt x="579197" y="455459"/>
                </a:cubicBezTo>
                <a:cubicBezTo>
                  <a:pt x="579728" y="455045"/>
                  <a:pt x="580176" y="454547"/>
                  <a:pt x="580524" y="453967"/>
                </a:cubicBezTo>
                <a:cubicBezTo>
                  <a:pt x="581337" y="452358"/>
                  <a:pt x="582066" y="450699"/>
                  <a:pt x="582680" y="448990"/>
                </a:cubicBezTo>
                <a:cubicBezTo>
                  <a:pt x="575548" y="437214"/>
                  <a:pt x="568084" y="420627"/>
                  <a:pt x="558961" y="41565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528" name="Freeform: Shape 527">
            <a:extLst>
              <a:ext uri="{FF2B5EF4-FFF2-40B4-BE49-F238E27FC236}">
                <a16:creationId xmlns:a16="http://schemas.microsoft.com/office/drawing/2014/main" id="{BDF36AB5-C6D6-4D19-9D47-D87A4DBF7E75}"/>
              </a:ext>
            </a:extLst>
          </p:cNvPr>
          <p:cNvSpPr/>
          <p:nvPr/>
        </p:nvSpPr>
        <p:spPr>
          <a:xfrm>
            <a:off x="6080983" y="4732404"/>
            <a:ext cx="42083" cy="54561"/>
          </a:xfrm>
          <a:custGeom>
            <a:avLst/>
            <a:gdLst>
              <a:gd name="connsiteX0" fmla="*/ 3468 w 53077"/>
              <a:gd name="connsiteY0" fmla="*/ 35562 h 70161"/>
              <a:gd name="connsiteX1" fmla="*/ 11596 w 53077"/>
              <a:gd name="connsiteY1" fmla="*/ 70062 h 70161"/>
              <a:gd name="connsiteX2" fmla="*/ 25860 w 53077"/>
              <a:gd name="connsiteY2" fmla="*/ 61604 h 70161"/>
              <a:gd name="connsiteX3" fmla="*/ 53063 w 53077"/>
              <a:gd name="connsiteY3" fmla="*/ 22458 h 70161"/>
              <a:gd name="connsiteX4" fmla="*/ 44604 w 53077"/>
              <a:gd name="connsiteY4" fmla="*/ 17482 h 70161"/>
              <a:gd name="connsiteX5" fmla="*/ 43276 w 53077"/>
              <a:gd name="connsiteY5" fmla="*/ -100 h 70161"/>
              <a:gd name="connsiteX6" fmla="*/ 27519 w 53077"/>
              <a:gd name="connsiteY6" fmla="*/ -100 h 70161"/>
              <a:gd name="connsiteX7" fmla="*/ 10932 w 53077"/>
              <a:gd name="connsiteY7" fmla="*/ 10184 h 70161"/>
              <a:gd name="connsiteX8" fmla="*/ -15 w 53077"/>
              <a:gd name="connsiteY8" fmla="*/ 9023 h 70161"/>
              <a:gd name="connsiteX9" fmla="*/ 2141 w 53077"/>
              <a:gd name="connsiteY9" fmla="*/ 9853 h 70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77" h="70161">
                <a:moveTo>
                  <a:pt x="3468" y="35562"/>
                </a:moveTo>
                <a:cubicBezTo>
                  <a:pt x="7034" y="46841"/>
                  <a:pt x="9738" y="58386"/>
                  <a:pt x="11596" y="70062"/>
                </a:cubicBezTo>
                <a:cubicBezTo>
                  <a:pt x="18231" y="65916"/>
                  <a:pt x="23538" y="62599"/>
                  <a:pt x="25860" y="61604"/>
                </a:cubicBezTo>
                <a:cubicBezTo>
                  <a:pt x="34319" y="58286"/>
                  <a:pt x="53063" y="22458"/>
                  <a:pt x="53063" y="22458"/>
                </a:cubicBezTo>
                <a:lnTo>
                  <a:pt x="44604" y="17482"/>
                </a:lnTo>
                <a:cubicBezTo>
                  <a:pt x="45018" y="11594"/>
                  <a:pt x="44570" y="5673"/>
                  <a:pt x="43276" y="-100"/>
                </a:cubicBezTo>
                <a:cubicBezTo>
                  <a:pt x="38035" y="332"/>
                  <a:pt x="32760" y="332"/>
                  <a:pt x="27519" y="-100"/>
                </a:cubicBezTo>
                <a:cubicBezTo>
                  <a:pt x="27519" y="-100"/>
                  <a:pt x="29344" y="13502"/>
                  <a:pt x="10932" y="10184"/>
                </a:cubicBezTo>
                <a:cubicBezTo>
                  <a:pt x="7316" y="9571"/>
                  <a:pt x="3650" y="9189"/>
                  <a:pt x="-15" y="9023"/>
                </a:cubicBezTo>
                <a:cubicBezTo>
                  <a:pt x="648" y="9405"/>
                  <a:pt x="1378" y="9687"/>
                  <a:pt x="2141" y="9853"/>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29" name="Freeform: Shape 528">
            <a:extLst>
              <a:ext uri="{FF2B5EF4-FFF2-40B4-BE49-F238E27FC236}">
                <a16:creationId xmlns:a16="http://schemas.microsoft.com/office/drawing/2014/main" id="{F936197B-90EE-413E-95FE-8A073B2533D6}"/>
              </a:ext>
            </a:extLst>
          </p:cNvPr>
          <p:cNvSpPr/>
          <p:nvPr/>
        </p:nvSpPr>
        <p:spPr>
          <a:xfrm>
            <a:off x="6107022" y="4945878"/>
            <a:ext cx="278600" cy="442168"/>
          </a:xfrm>
          <a:custGeom>
            <a:avLst/>
            <a:gdLst>
              <a:gd name="connsiteX0" fmla="*/ 351128 w 351383"/>
              <a:gd name="connsiteY0" fmla="*/ 145533 h 568596"/>
              <a:gd name="connsiteX1" fmla="*/ 342835 w 351383"/>
              <a:gd name="connsiteY1" fmla="*/ 80678 h 568596"/>
              <a:gd name="connsiteX2" fmla="*/ 339850 w 351383"/>
              <a:gd name="connsiteY2" fmla="*/ 1062 h 568596"/>
              <a:gd name="connsiteX3" fmla="*/ 339850 w 351383"/>
              <a:gd name="connsiteY3" fmla="*/ -100 h 568596"/>
              <a:gd name="connsiteX4" fmla="*/ 304686 w 351383"/>
              <a:gd name="connsiteY4" fmla="*/ 18810 h 568596"/>
              <a:gd name="connsiteX5" fmla="*/ 281132 w 351383"/>
              <a:gd name="connsiteY5" fmla="*/ 24615 h 568596"/>
              <a:gd name="connsiteX6" fmla="*/ 261394 w 351383"/>
              <a:gd name="connsiteY6" fmla="*/ 23620 h 568596"/>
              <a:gd name="connsiteX7" fmla="*/ 250612 w 351383"/>
              <a:gd name="connsiteY7" fmla="*/ 36392 h 568596"/>
              <a:gd name="connsiteX8" fmla="*/ 231040 w 351383"/>
              <a:gd name="connsiteY8" fmla="*/ 38382 h 568596"/>
              <a:gd name="connsiteX9" fmla="*/ 202511 w 351383"/>
              <a:gd name="connsiteY9" fmla="*/ 42363 h 568596"/>
              <a:gd name="connsiteX10" fmla="*/ 191729 w 351383"/>
              <a:gd name="connsiteY10" fmla="*/ 32577 h 568596"/>
              <a:gd name="connsiteX11" fmla="*/ 171991 w 351383"/>
              <a:gd name="connsiteY11" fmla="*/ 36392 h 568596"/>
              <a:gd name="connsiteX12" fmla="*/ 153082 w 351383"/>
              <a:gd name="connsiteY12" fmla="*/ 34567 h 568596"/>
              <a:gd name="connsiteX13" fmla="*/ 151423 w 351383"/>
              <a:gd name="connsiteY13" fmla="*/ 46012 h 568596"/>
              <a:gd name="connsiteX14" fmla="*/ 165688 w 351383"/>
              <a:gd name="connsiteY14" fmla="*/ 116340 h 568596"/>
              <a:gd name="connsiteX15" fmla="*/ 185758 w 351383"/>
              <a:gd name="connsiteY15" fmla="*/ 135747 h 568596"/>
              <a:gd name="connsiteX16" fmla="*/ 186753 w 351383"/>
              <a:gd name="connsiteY16" fmla="*/ 168920 h 568596"/>
              <a:gd name="connsiteX17" fmla="*/ 168010 w 351383"/>
              <a:gd name="connsiteY17" fmla="*/ 190483 h 568596"/>
              <a:gd name="connsiteX18" fmla="*/ 165190 w 351383"/>
              <a:gd name="connsiteY18" fmla="*/ 221003 h 568596"/>
              <a:gd name="connsiteX19" fmla="*/ 134671 w 351383"/>
              <a:gd name="connsiteY19" fmla="*/ 180697 h 568596"/>
              <a:gd name="connsiteX20" fmla="*/ 141637 w 351383"/>
              <a:gd name="connsiteY20" fmla="*/ 137571 h 568596"/>
              <a:gd name="connsiteX21" fmla="*/ 115098 w 351383"/>
              <a:gd name="connsiteY21" fmla="*/ 133590 h 568596"/>
              <a:gd name="connsiteX22" fmla="*/ 92374 w 351383"/>
              <a:gd name="connsiteY22" fmla="*/ 117833 h 568596"/>
              <a:gd name="connsiteX23" fmla="*/ -15 w 351383"/>
              <a:gd name="connsiteY23" fmla="*/ 151007 h 568596"/>
              <a:gd name="connsiteX24" fmla="*/ 6952 w 351383"/>
              <a:gd name="connsiteY24" fmla="*/ 175721 h 568596"/>
              <a:gd name="connsiteX25" fmla="*/ 4961 w 351383"/>
              <a:gd name="connsiteY25" fmla="*/ 175721 h 568596"/>
              <a:gd name="connsiteX26" fmla="*/ 9937 w 351383"/>
              <a:gd name="connsiteY26" fmla="*/ 186502 h 568596"/>
              <a:gd name="connsiteX27" fmla="*/ 52566 w 351383"/>
              <a:gd name="connsiteY27" fmla="*/ 196786 h 568596"/>
              <a:gd name="connsiteX28" fmla="*/ 90881 w 351383"/>
              <a:gd name="connsiteY28" fmla="*/ 210056 h 568596"/>
              <a:gd name="connsiteX29" fmla="*/ 92374 w 351383"/>
              <a:gd name="connsiteY29" fmla="*/ 261641 h 568596"/>
              <a:gd name="connsiteX30" fmla="*/ 83583 w 351383"/>
              <a:gd name="connsiteY30" fmla="*/ 291165 h 568596"/>
              <a:gd name="connsiteX31" fmla="*/ 93867 w 351383"/>
              <a:gd name="connsiteY31" fmla="*/ 316211 h 568596"/>
              <a:gd name="connsiteX32" fmla="*/ 76119 w 351383"/>
              <a:gd name="connsiteY32" fmla="*/ 341258 h 568596"/>
              <a:gd name="connsiteX33" fmla="*/ 67328 w 351383"/>
              <a:gd name="connsiteY33" fmla="*/ 373602 h 568596"/>
              <a:gd name="connsiteX34" fmla="*/ 34154 w 351383"/>
              <a:gd name="connsiteY34" fmla="*/ 406775 h 568596"/>
              <a:gd name="connsiteX35" fmla="*/ 35481 w 351383"/>
              <a:gd name="connsiteY35" fmla="*/ 407771 h 568596"/>
              <a:gd name="connsiteX36" fmla="*/ 56049 w 351383"/>
              <a:gd name="connsiteY36" fmla="*/ 469640 h 568596"/>
              <a:gd name="connsiteX37" fmla="*/ 59034 w 351383"/>
              <a:gd name="connsiteY37" fmla="*/ 530182 h 568596"/>
              <a:gd name="connsiteX38" fmla="*/ 62683 w 351383"/>
              <a:gd name="connsiteY38" fmla="*/ 568497 h 568596"/>
              <a:gd name="connsiteX39" fmla="*/ 87398 w 351383"/>
              <a:gd name="connsiteY39" fmla="*/ 566507 h 568596"/>
              <a:gd name="connsiteX40" fmla="*/ 89057 w 351383"/>
              <a:gd name="connsiteY40" fmla="*/ 549920 h 568596"/>
              <a:gd name="connsiteX41" fmla="*/ 75787 w 351383"/>
              <a:gd name="connsiteY41" fmla="*/ 537148 h 568596"/>
              <a:gd name="connsiteX42" fmla="*/ 127704 w 351383"/>
              <a:gd name="connsiteY42" fmla="*/ 498833 h 568596"/>
              <a:gd name="connsiteX43" fmla="*/ 169502 w 351383"/>
              <a:gd name="connsiteY43" fmla="*/ 472791 h 568596"/>
              <a:gd name="connsiteX44" fmla="*/ 172986 w 351383"/>
              <a:gd name="connsiteY44" fmla="*/ 424523 h 568596"/>
              <a:gd name="connsiteX45" fmla="*/ 167181 w 351383"/>
              <a:gd name="connsiteY45" fmla="*/ 382890 h 568596"/>
              <a:gd name="connsiteX46" fmla="*/ 150594 w 351383"/>
              <a:gd name="connsiteY46" fmla="*/ 340594 h 568596"/>
              <a:gd name="connsiteX47" fmla="*/ 155902 w 351383"/>
              <a:gd name="connsiteY47" fmla="*/ 315548 h 568596"/>
              <a:gd name="connsiteX48" fmla="*/ 171161 w 351383"/>
              <a:gd name="connsiteY48" fmla="*/ 297800 h 568596"/>
              <a:gd name="connsiteX49" fmla="*/ 199193 w 351383"/>
              <a:gd name="connsiteY49" fmla="*/ 280218 h 568596"/>
              <a:gd name="connsiteX50" fmla="*/ 234025 w 351383"/>
              <a:gd name="connsiteY50" fmla="*/ 241902 h 568596"/>
              <a:gd name="connsiteX51" fmla="*/ 298880 w 351383"/>
              <a:gd name="connsiteY51" fmla="*/ 213871 h 568596"/>
              <a:gd name="connsiteX52" fmla="*/ 351128 w 351383"/>
              <a:gd name="connsiteY52" fmla="*/ 145533 h 56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51383" h="568596">
                <a:moveTo>
                  <a:pt x="351128" y="145533"/>
                </a:moveTo>
                <a:cubicBezTo>
                  <a:pt x="345273" y="124418"/>
                  <a:pt x="342487" y="102590"/>
                  <a:pt x="342835" y="80678"/>
                </a:cubicBezTo>
                <a:cubicBezTo>
                  <a:pt x="344825" y="64091"/>
                  <a:pt x="339850" y="21795"/>
                  <a:pt x="339850" y="1062"/>
                </a:cubicBezTo>
                <a:cubicBezTo>
                  <a:pt x="339949" y="680"/>
                  <a:pt x="339949" y="282"/>
                  <a:pt x="339850" y="-100"/>
                </a:cubicBezTo>
                <a:cubicBezTo>
                  <a:pt x="327343" y="4628"/>
                  <a:pt x="315516" y="10980"/>
                  <a:pt x="304686" y="18810"/>
                </a:cubicBezTo>
                <a:cubicBezTo>
                  <a:pt x="301700" y="24615"/>
                  <a:pt x="288928" y="17815"/>
                  <a:pt x="281132" y="24615"/>
                </a:cubicBezTo>
                <a:cubicBezTo>
                  <a:pt x="273336" y="31415"/>
                  <a:pt x="268360" y="25610"/>
                  <a:pt x="261394" y="23620"/>
                </a:cubicBezTo>
                <a:cubicBezTo>
                  <a:pt x="254427" y="21629"/>
                  <a:pt x="251607" y="30586"/>
                  <a:pt x="250612" y="36392"/>
                </a:cubicBezTo>
                <a:cubicBezTo>
                  <a:pt x="249617" y="42197"/>
                  <a:pt x="235850" y="39377"/>
                  <a:pt x="231040" y="38382"/>
                </a:cubicBezTo>
                <a:cubicBezTo>
                  <a:pt x="226230" y="37387"/>
                  <a:pt x="210306" y="42363"/>
                  <a:pt x="202511" y="42363"/>
                </a:cubicBezTo>
                <a:cubicBezTo>
                  <a:pt x="194715" y="42363"/>
                  <a:pt x="200520" y="35562"/>
                  <a:pt x="191729" y="32577"/>
                </a:cubicBezTo>
                <a:cubicBezTo>
                  <a:pt x="182938" y="29591"/>
                  <a:pt x="176967" y="36392"/>
                  <a:pt x="171991" y="36392"/>
                </a:cubicBezTo>
                <a:cubicBezTo>
                  <a:pt x="167015" y="36392"/>
                  <a:pt x="159882" y="35397"/>
                  <a:pt x="153082" y="34567"/>
                </a:cubicBezTo>
                <a:cubicBezTo>
                  <a:pt x="153198" y="38448"/>
                  <a:pt x="152634" y="42330"/>
                  <a:pt x="151423" y="46012"/>
                </a:cubicBezTo>
                <a:cubicBezTo>
                  <a:pt x="144954" y="62599"/>
                  <a:pt x="164693" y="100417"/>
                  <a:pt x="165688" y="116340"/>
                </a:cubicBezTo>
                <a:cubicBezTo>
                  <a:pt x="172853" y="122311"/>
                  <a:pt x="179554" y="128797"/>
                  <a:pt x="185758" y="135747"/>
                </a:cubicBezTo>
                <a:cubicBezTo>
                  <a:pt x="194549" y="146528"/>
                  <a:pt x="185758" y="145533"/>
                  <a:pt x="186753" y="168920"/>
                </a:cubicBezTo>
                <a:cubicBezTo>
                  <a:pt x="187748" y="192308"/>
                  <a:pt x="176967" y="182688"/>
                  <a:pt x="168010" y="190483"/>
                </a:cubicBezTo>
                <a:cubicBezTo>
                  <a:pt x="159053" y="198279"/>
                  <a:pt x="167015" y="216193"/>
                  <a:pt x="165190" y="221003"/>
                </a:cubicBezTo>
                <a:cubicBezTo>
                  <a:pt x="163365" y="225813"/>
                  <a:pt x="136661" y="186668"/>
                  <a:pt x="134671" y="180697"/>
                </a:cubicBezTo>
                <a:cubicBezTo>
                  <a:pt x="132680" y="174726"/>
                  <a:pt x="144457" y="151172"/>
                  <a:pt x="141637" y="137571"/>
                </a:cubicBezTo>
                <a:cubicBezTo>
                  <a:pt x="138817" y="123970"/>
                  <a:pt x="120903" y="132595"/>
                  <a:pt x="115098" y="133590"/>
                </a:cubicBezTo>
                <a:cubicBezTo>
                  <a:pt x="109292" y="134585"/>
                  <a:pt x="95359" y="117833"/>
                  <a:pt x="92374" y="117833"/>
                </a:cubicBezTo>
                <a:cubicBezTo>
                  <a:pt x="89388" y="117833"/>
                  <a:pt x="-15" y="151007"/>
                  <a:pt x="-15" y="151007"/>
                </a:cubicBezTo>
                <a:lnTo>
                  <a:pt x="6952" y="175721"/>
                </a:lnTo>
                <a:lnTo>
                  <a:pt x="4961" y="175721"/>
                </a:lnTo>
                <a:lnTo>
                  <a:pt x="9937" y="186502"/>
                </a:lnTo>
                <a:cubicBezTo>
                  <a:pt x="24683" y="187066"/>
                  <a:pt x="39180" y="190566"/>
                  <a:pt x="52566" y="196786"/>
                </a:cubicBezTo>
                <a:cubicBezTo>
                  <a:pt x="64873" y="202459"/>
                  <a:pt x="77711" y="206888"/>
                  <a:pt x="90881" y="210056"/>
                </a:cubicBezTo>
                <a:cubicBezTo>
                  <a:pt x="95359" y="213041"/>
                  <a:pt x="90881" y="245386"/>
                  <a:pt x="92374" y="261641"/>
                </a:cubicBezTo>
                <a:cubicBezTo>
                  <a:pt x="93867" y="277896"/>
                  <a:pt x="74792" y="282209"/>
                  <a:pt x="83583" y="291165"/>
                </a:cubicBezTo>
                <a:cubicBezTo>
                  <a:pt x="92374" y="300122"/>
                  <a:pt x="88061" y="314719"/>
                  <a:pt x="93867" y="316211"/>
                </a:cubicBezTo>
                <a:cubicBezTo>
                  <a:pt x="99672" y="317704"/>
                  <a:pt x="83583" y="336779"/>
                  <a:pt x="76119" y="341258"/>
                </a:cubicBezTo>
                <a:cubicBezTo>
                  <a:pt x="68655" y="345736"/>
                  <a:pt x="76119" y="361825"/>
                  <a:pt x="67328" y="373602"/>
                </a:cubicBezTo>
                <a:cubicBezTo>
                  <a:pt x="61688" y="381232"/>
                  <a:pt x="45101" y="395994"/>
                  <a:pt x="34154" y="406775"/>
                </a:cubicBezTo>
                <a:lnTo>
                  <a:pt x="35481" y="407771"/>
                </a:lnTo>
                <a:cubicBezTo>
                  <a:pt x="38467" y="412912"/>
                  <a:pt x="47258" y="464498"/>
                  <a:pt x="56049" y="469640"/>
                </a:cubicBezTo>
                <a:cubicBezTo>
                  <a:pt x="64840" y="474782"/>
                  <a:pt x="59698" y="525703"/>
                  <a:pt x="59034" y="530182"/>
                </a:cubicBezTo>
                <a:cubicBezTo>
                  <a:pt x="58371" y="534660"/>
                  <a:pt x="62683" y="568497"/>
                  <a:pt x="62683" y="568497"/>
                </a:cubicBezTo>
                <a:cubicBezTo>
                  <a:pt x="70877" y="567303"/>
                  <a:pt x="79121" y="566639"/>
                  <a:pt x="87398" y="566507"/>
                </a:cubicBezTo>
                <a:cubicBezTo>
                  <a:pt x="88227" y="559872"/>
                  <a:pt x="88725" y="554067"/>
                  <a:pt x="89057" y="549920"/>
                </a:cubicBezTo>
                <a:cubicBezTo>
                  <a:pt x="90052" y="534162"/>
                  <a:pt x="79105" y="546934"/>
                  <a:pt x="75787" y="537148"/>
                </a:cubicBezTo>
                <a:cubicBezTo>
                  <a:pt x="72470" y="527362"/>
                  <a:pt x="99838" y="509116"/>
                  <a:pt x="127704" y="498833"/>
                </a:cubicBezTo>
                <a:cubicBezTo>
                  <a:pt x="155570" y="488548"/>
                  <a:pt x="166683" y="482246"/>
                  <a:pt x="169502" y="472791"/>
                </a:cubicBezTo>
                <a:cubicBezTo>
                  <a:pt x="172322" y="463337"/>
                  <a:pt x="169502" y="435471"/>
                  <a:pt x="172986" y="424523"/>
                </a:cubicBezTo>
                <a:cubicBezTo>
                  <a:pt x="176469" y="413576"/>
                  <a:pt x="170498" y="407937"/>
                  <a:pt x="167181" y="382890"/>
                </a:cubicBezTo>
                <a:cubicBezTo>
                  <a:pt x="163863" y="357845"/>
                  <a:pt x="154740" y="354361"/>
                  <a:pt x="150594" y="340594"/>
                </a:cubicBezTo>
                <a:cubicBezTo>
                  <a:pt x="146447" y="326827"/>
                  <a:pt x="147608" y="316045"/>
                  <a:pt x="155902" y="315548"/>
                </a:cubicBezTo>
                <a:cubicBezTo>
                  <a:pt x="164195" y="315050"/>
                  <a:pt x="164361" y="311070"/>
                  <a:pt x="171161" y="297800"/>
                </a:cubicBezTo>
                <a:cubicBezTo>
                  <a:pt x="177962" y="284531"/>
                  <a:pt x="185924" y="290004"/>
                  <a:pt x="199193" y="280218"/>
                </a:cubicBezTo>
                <a:cubicBezTo>
                  <a:pt x="212462" y="270432"/>
                  <a:pt x="212960" y="257992"/>
                  <a:pt x="234025" y="241902"/>
                </a:cubicBezTo>
                <a:cubicBezTo>
                  <a:pt x="255091" y="225813"/>
                  <a:pt x="278312" y="226145"/>
                  <a:pt x="298880" y="213871"/>
                </a:cubicBezTo>
                <a:cubicBezTo>
                  <a:pt x="319448" y="201596"/>
                  <a:pt x="354612" y="154324"/>
                  <a:pt x="351128" y="145533"/>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30" name="Freeform: Shape 529">
            <a:extLst>
              <a:ext uri="{FF2B5EF4-FFF2-40B4-BE49-F238E27FC236}">
                <a16:creationId xmlns:a16="http://schemas.microsoft.com/office/drawing/2014/main" id="{FB5F5DA8-3FF7-4905-9582-A2777D462CED}"/>
              </a:ext>
            </a:extLst>
          </p:cNvPr>
          <p:cNvSpPr/>
          <p:nvPr/>
        </p:nvSpPr>
        <p:spPr>
          <a:xfrm>
            <a:off x="6089531" y="4694739"/>
            <a:ext cx="286564" cy="284933"/>
          </a:xfrm>
          <a:custGeom>
            <a:avLst/>
            <a:gdLst>
              <a:gd name="connsiteX0" fmla="*/ 338356 w 361427"/>
              <a:gd name="connsiteY0" fmla="*/ 292658 h 366403"/>
              <a:gd name="connsiteX1" fmla="*/ 326082 w 361427"/>
              <a:gd name="connsiteY1" fmla="*/ 258655 h 366403"/>
              <a:gd name="connsiteX2" fmla="*/ 322599 w 361427"/>
              <a:gd name="connsiteY2" fmla="*/ 231121 h 366403"/>
              <a:gd name="connsiteX3" fmla="*/ 328570 w 361427"/>
              <a:gd name="connsiteY3" fmla="*/ 206075 h 366403"/>
              <a:gd name="connsiteX4" fmla="*/ 310822 w 361427"/>
              <a:gd name="connsiteY4" fmla="*/ 178043 h 366403"/>
              <a:gd name="connsiteX5" fmla="*/ 325419 w 361427"/>
              <a:gd name="connsiteY5" fmla="*/ 128283 h 366403"/>
              <a:gd name="connsiteX6" fmla="*/ 269687 w 361427"/>
              <a:gd name="connsiteY6" fmla="*/ 88640 h 366403"/>
              <a:gd name="connsiteX7" fmla="*/ 271345 w 361427"/>
              <a:gd name="connsiteY7" fmla="*/ 68238 h 366403"/>
              <a:gd name="connsiteX8" fmla="*/ 145783 w 361427"/>
              <a:gd name="connsiteY8" fmla="*/ 1891 h 366403"/>
              <a:gd name="connsiteX9" fmla="*/ 129197 w 361427"/>
              <a:gd name="connsiteY9" fmla="*/ 33240 h 366403"/>
              <a:gd name="connsiteX10" fmla="*/ 131352 w 361427"/>
              <a:gd name="connsiteY10" fmla="*/ 53808 h 366403"/>
              <a:gd name="connsiteX11" fmla="*/ 77611 w 361427"/>
              <a:gd name="connsiteY11" fmla="*/ 50822 h 366403"/>
              <a:gd name="connsiteX12" fmla="*/ 77611 w 361427"/>
              <a:gd name="connsiteY12" fmla="*/ -100 h 366403"/>
              <a:gd name="connsiteX13" fmla="*/ 49912 w 361427"/>
              <a:gd name="connsiteY13" fmla="*/ 2223 h 366403"/>
              <a:gd name="connsiteX14" fmla="*/ 34320 w 361427"/>
              <a:gd name="connsiteY14" fmla="*/ 6370 h 366403"/>
              <a:gd name="connsiteX15" fmla="*/ 39793 w 361427"/>
              <a:gd name="connsiteY15" fmla="*/ 20966 h 366403"/>
              <a:gd name="connsiteX16" fmla="*/ 44935 w 361427"/>
              <a:gd name="connsiteY16" fmla="*/ 43026 h 366403"/>
              <a:gd name="connsiteX17" fmla="*/ 31666 w 361427"/>
              <a:gd name="connsiteY17" fmla="*/ 49329 h 366403"/>
              <a:gd name="connsiteX18" fmla="*/ 32993 w 361427"/>
              <a:gd name="connsiteY18" fmla="*/ 66911 h 366403"/>
              <a:gd name="connsiteX19" fmla="*/ 41452 w 361427"/>
              <a:gd name="connsiteY19" fmla="*/ 71887 h 366403"/>
              <a:gd name="connsiteX20" fmla="*/ 14249 w 361427"/>
              <a:gd name="connsiteY20" fmla="*/ 111032 h 366403"/>
              <a:gd name="connsiteX21" fmla="*/ -15 w 361427"/>
              <a:gd name="connsiteY21" fmla="*/ 119491 h 366403"/>
              <a:gd name="connsiteX22" fmla="*/ 20387 w 361427"/>
              <a:gd name="connsiteY22" fmla="*/ 182853 h 366403"/>
              <a:gd name="connsiteX23" fmla="*/ 38135 w 361427"/>
              <a:gd name="connsiteY23" fmla="*/ 226311 h 366403"/>
              <a:gd name="connsiteX24" fmla="*/ 46262 w 361427"/>
              <a:gd name="connsiteY24" fmla="*/ 252850 h 366403"/>
              <a:gd name="connsiteX25" fmla="*/ 27685 w 361427"/>
              <a:gd name="connsiteY25" fmla="*/ 238917 h 366403"/>
              <a:gd name="connsiteX26" fmla="*/ 25529 w 361427"/>
              <a:gd name="connsiteY26" fmla="*/ 243893 h 366403"/>
              <a:gd name="connsiteX27" fmla="*/ 24202 w 361427"/>
              <a:gd name="connsiteY27" fmla="*/ 245386 h 366403"/>
              <a:gd name="connsiteX28" fmla="*/ 48253 w 361427"/>
              <a:gd name="connsiteY28" fmla="*/ 259153 h 366403"/>
              <a:gd name="connsiteX29" fmla="*/ 78939 w 361427"/>
              <a:gd name="connsiteY29" fmla="*/ 270929 h 366403"/>
              <a:gd name="connsiteX30" fmla="*/ 121401 w 361427"/>
              <a:gd name="connsiteY30" fmla="*/ 289672 h 366403"/>
              <a:gd name="connsiteX31" fmla="*/ 123557 w 361427"/>
              <a:gd name="connsiteY31" fmla="*/ 292990 h 366403"/>
              <a:gd name="connsiteX32" fmla="*/ 145949 w 361427"/>
              <a:gd name="connsiteY32" fmla="*/ 292990 h 366403"/>
              <a:gd name="connsiteX33" fmla="*/ 150759 w 361427"/>
              <a:gd name="connsiteY33" fmla="*/ 291165 h 366403"/>
              <a:gd name="connsiteX34" fmla="*/ 174644 w 361427"/>
              <a:gd name="connsiteY34" fmla="*/ 358508 h 366403"/>
              <a:gd name="connsiteX35" fmla="*/ 193553 w 361427"/>
              <a:gd name="connsiteY35" fmla="*/ 360333 h 366403"/>
              <a:gd name="connsiteX36" fmla="*/ 213291 w 361427"/>
              <a:gd name="connsiteY36" fmla="*/ 356517 h 366403"/>
              <a:gd name="connsiteX37" fmla="*/ 224073 w 361427"/>
              <a:gd name="connsiteY37" fmla="*/ 366304 h 366403"/>
              <a:gd name="connsiteX38" fmla="*/ 252603 w 361427"/>
              <a:gd name="connsiteY38" fmla="*/ 362323 h 366403"/>
              <a:gd name="connsiteX39" fmla="*/ 272175 w 361427"/>
              <a:gd name="connsiteY39" fmla="*/ 360333 h 366403"/>
              <a:gd name="connsiteX40" fmla="*/ 282956 w 361427"/>
              <a:gd name="connsiteY40" fmla="*/ 347560 h 366403"/>
              <a:gd name="connsiteX41" fmla="*/ 302695 w 361427"/>
              <a:gd name="connsiteY41" fmla="*/ 348556 h 366403"/>
              <a:gd name="connsiteX42" fmla="*/ 326248 w 361427"/>
              <a:gd name="connsiteY42" fmla="*/ 342751 h 366403"/>
              <a:gd name="connsiteX43" fmla="*/ 361412 w 361427"/>
              <a:gd name="connsiteY43" fmla="*/ 323841 h 366403"/>
              <a:gd name="connsiteX44" fmla="*/ 338356 w 361427"/>
              <a:gd name="connsiteY44" fmla="*/ 292658 h 36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1427" h="366403">
                <a:moveTo>
                  <a:pt x="338356" y="292658"/>
                </a:moveTo>
                <a:cubicBezTo>
                  <a:pt x="337361" y="272422"/>
                  <a:pt x="325585" y="272422"/>
                  <a:pt x="326082" y="258655"/>
                </a:cubicBezTo>
                <a:cubicBezTo>
                  <a:pt x="326580" y="244888"/>
                  <a:pt x="327575" y="232614"/>
                  <a:pt x="322599" y="231121"/>
                </a:cubicBezTo>
                <a:cubicBezTo>
                  <a:pt x="317623" y="229628"/>
                  <a:pt x="320608" y="217852"/>
                  <a:pt x="328570" y="206075"/>
                </a:cubicBezTo>
                <a:cubicBezTo>
                  <a:pt x="336532" y="194298"/>
                  <a:pt x="314306" y="192805"/>
                  <a:pt x="310822" y="178043"/>
                </a:cubicBezTo>
                <a:cubicBezTo>
                  <a:pt x="312962" y="160776"/>
                  <a:pt x="317888" y="143974"/>
                  <a:pt x="325419" y="128283"/>
                </a:cubicBezTo>
                <a:cubicBezTo>
                  <a:pt x="297884" y="109374"/>
                  <a:pt x="269687" y="88640"/>
                  <a:pt x="269687" y="88640"/>
                </a:cubicBezTo>
                <a:lnTo>
                  <a:pt x="271345" y="68238"/>
                </a:lnTo>
                <a:lnTo>
                  <a:pt x="145783" y="1891"/>
                </a:lnTo>
                <a:cubicBezTo>
                  <a:pt x="146281" y="14563"/>
                  <a:pt x="139945" y="26523"/>
                  <a:pt x="129197" y="33240"/>
                </a:cubicBezTo>
                <a:cubicBezTo>
                  <a:pt x="119576" y="37553"/>
                  <a:pt x="142466" y="51651"/>
                  <a:pt x="131352" y="53808"/>
                </a:cubicBezTo>
                <a:cubicBezTo>
                  <a:pt x="120240" y="55964"/>
                  <a:pt x="95193" y="43524"/>
                  <a:pt x="77611" y="50822"/>
                </a:cubicBezTo>
                <a:cubicBezTo>
                  <a:pt x="65669" y="55798"/>
                  <a:pt x="68157" y="26108"/>
                  <a:pt x="77611" y="-100"/>
                </a:cubicBezTo>
                <a:lnTo>
                  <a:pt x="49912" y="2223"/>
                </a:lnTo>
                <a:lnTo>
                  <a:pt x="34320" y="6370"/>
                </a:lnTo>
                <a:lnTo>
                  <a:pt x="39793" y="20966"/>
                </a:lnTo>
                <a:cubicBezTo>
                  <a:pt x="43327" y="27766"/>
                  <a:pt x="45101" y="35363"/>
                  <a:pt x="44935" y="43026"/>
                </a:cubicBezTo>
                <a:cubicBezTo>
                  <a:pt x="44106" y="47007"/>
                  <a:pt x="37969" y="48666"/>
                  <a:pt x="31666" y="49329"/>
                </a:cubicBezTo>
                <a:cubicBezTo>
                  <a:pt x="32960" y="55102"/>
                  <a:pt x="33407" y="61023"/>
                  <a:pt x="32993" y="66911"/>
                </a:cubicBezTo>
                <a:lnTo>
                  <a:pt x="41452" y="71887"/>
                </a:lnTo>
                <a:cubicBezTo>
                  <a:pt x="41452" y="71887"/>
                  <a:pt x="22709" y="107715"/>
                  <a:pt x="14249" y="111032"/>
                </a:cubicBezTo>
                <a:cubicBezTo>
                  <a:pt x="11928" y="112028"/>
                  <a:pt x="6620" y="115345"/>
                  <a:pt x="-15" y="119491"/>
                </a:cubicBezTo>
                <a:cubicBezTo>
                  <a:pt x="5127" y="144538"/>
                  <a:pt x="11098" y="174394"/>
                  <a:pt x="20387" y="182853"/>
                </a:cubicBezTo>
                <a:cubicBezTo>
                  <a:pt x="36974" y="198279"/>
                  <a:pt x="34320" y="216027"/>
                  <a:pt x="38135" y="226311"/>
                </a:cubicBezTo>
                <a:cubicBezTo>
                  <a:pt x="41950" y="236595"/>
                  <a:pt x="56546" y="248371"/>
                  <a:pt x="46262" y="252850"/>
                </a:cubicBezTo>
                <a:cubicBezTo>
                  <a:pt x="39462" y="255670"/>
                  <a:pt x="33656" y="248537"/>
                  <a:pt x="27685" y="238917"/>
                </a:cubicBezTo>
                <a:cubicBezTo>
                  <a:pt x="27071" y="240625"/>
                  <a:pt x="26341" y="242284"/>
                  <a:pt x="25529" y="243893"/>
                </a:cubicBezTo>
                <a:cubicBezTo>
                  <a:pt x="25181" y="244473"/>
                  <a:pt x="24733" y="244971"/>
                  <a:pt x="24202" y="245386"/>
                </a:cubicBezTo>
                <a:cubicBezTo>
                  <a:pt x="31251" y="251490"/>
                  <a:pt x="39412" y="256167"/>
                  <a:pt x="48253" y="259153"/>
                </a:cubicBezTo>
                <a:cubicBezTo>
                  <a:pt x="56712" y="259153"/>
                  <a:pt x="70313" y="269271"/>
                  <a:pt x="78939" y="270929"/>
                </a:cubicBezTo>
                <a:cubicBezTo>
                  <a:pt x="94016" y="274860"/>
                  <a:pt x="108347" y="281180"/>
                  <a:pt x="121401" y="289672"/>
                </a:cubicBezTo>
                <a:cubicBezTo>
                  <a:pt x="122180" y="290734"/>
                  <a:pt x="122894" y="291846"/>
                  <a:pt x="123557" y="292990"/>
                </a:cubicBezTo>
                <a:cubicBezTo>
                  <a:pt x="131021" y="292492"/>
                  <a:pt x="138501" y="292492"/>
                  <a:pt x="145949" y="292990"/>
                </a:cubicBezTo>
                <a:cubicBezTo>
                  <a:pt x="147276" y="291812"/>
                  <a:pt x="148985" y="291149"/>
                  <a:pt x="150759" y="291165"/>
                </a:cubicBezTo>
                <a:cubicBezTo>
                  <a:pt x="162038" y="291165"/>
                  <a:pt x="175308" y="333627"/>
                  <a:pt x="174644" y="358508"/>
                </a:cubicBezTo>
                <a:cubicBezTo>
                  <a:pt x="181445" y="359337"/>
                  <a:pt x="191231" y="360333"/>
                  <a:pt x="193553" y="360333"/>
                </a:cubicBezTo>
                <a:cubicBezTo>
                  <a:pt x="195875" y="360333"/>
                  <a:pt x="204335" y="353532"/>
                  <a:pt x="213291" y="356517"/>
                </a:cubicBezTo>
                <a:cubicBezTo>
                  <a:pt x="222248" y="359503"/>
                  <a:pt x="216111" y="366304"/>
                  <a:pt x="224073" y="366304"/>
                </a:cubicBezTo>
                <a:cubicBezTo>
                  <a:pt x="232035" y="366304"/>
                  <a:pt x="247626" y="361328"/>
                  <a:pt x="252603" y="362323"/>
                </a:cubicBezTo>
                <a:cubicBezTo>
                  <a:pt x="257578" y="363318"/>
                  <a:pt x="271180" y="366304"/>
                  <a:pt x="272175" y="360333"/>
                </a:cubicBezTo>
                <a:cubicBezTo>
                  <a:pt x="273170" y="354361"/>
                  <a:pt x="276156" y="345736"/>
                  <a:pt x="282956" y="347560"/>
                </a:cubicBezTo>
                <a:cubicBezTo>
                  <a:pt x="289757" y="349385"/>
                  <a:pt x="294733" y="355522"/>
                  <a:pt x="302695" y="348556"/>
                </a:cubicBezTo>
                <a:cubicBezTo>
                  <a:pt x="310657" y="341589"/>
                  <a:pt x="323262" y="348556"/>
                  <a:pt x="326248" y="342751"/>
                </a:cubicBezTo>
                <a:cubicBezTo>
                  <a:pt x="337079" y="334921"/>
                  <a:pt x="348906" y="328569"/>
                  <a:pt x="361412" y="323841"/>
                </a:cubicBezTo>
                <a:cubicBezTo>
                  <a:pt x="360915" y="303937"/>
                  <a:pt x="339351" y="312562"/>
                  <a:pt x="338356" y="29265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31" name="Freeform: Shape 530">
            <a:extLst>
              <a:ext uri="{FF2B5EF4-FFF2-40B4-BE49-F238E27FC236}">
                <a16:creationId xmlns:a16="http://schemas.microsoft.com/office/drawing/2014/main" id="{408E0D70-DF4A-4E6B-A8AD-A38FBC3CCDD3}"/>
              </a:ext>
            </a:extLst>
          </p:cNvPr>
          <p:cNvSpPr/>
          <p:nvPr/>
        </p:nvSpPr>
        <p:spPr>
          <a:xfrm>
            <a:off x="6174922" y="4921596"/>
            <a:ext cx="82645" cy="196816"/>
          </a:xfrm>
          <a:custGeom>
            <a:avLst/>
            <a:gdLst>
              <a:gd name="connsiteX0" fmla="*/ 100616 w 104236"/>
              <a:gd name="connsiteY0" fmla="*/ 166971 h 253091"/>
              <a:gd name="connsiteX1" fmla="*/ 80546 w 104236"/>
              <a:gd name="connsiteY1" fmla="*/ 147565 h 253091"/>
              <a:gd name="connsiteX2" fmla="*/ 79551 w 104236"/>
              <a:gd name="connsiteY2" fmla="*/ 153204 h 253091"/>
              <a:gd name="connsiteX3" fmla="*/ 43391 w 104236"/>
              <a:gd name="connsiteY3" fmla="*/ 102283 h 253091"/>
              <a:gd name="connsiteX4" fmla="*/ 47040 w 104236"/>
              <a:gd name="connsiteY4" fmla="*/ 43399 h 253091"/>
              <a:gd name="connsiteX5" fmla="*/ 39244 w 104236"/>
              <a:gd name="connsiteY5" fmla="*/ 274 h 253091"/>
              <a:gd name="connsiteX6" fmla="*/ 16853 w 104236"/>
              <a:gd name="connsiteY6" fmla="*/ 274 h 253091"/>
              <a:gd name="connsiteX7" fmla="*/ 29956 w 104236"/>
              <a:gd name="connsiteY7" fmla="*/ 32618 h 253091"/>
              <a:gd name="connsiteX8" fmla="*/ 18179 w 104236"/>
              <a:gd name="connsiteY8" fmla="*/ 39418 h 253091"/>
              <a:gd name="connsiteX9" fmla="*/ 19838 w 104236"/>
              <a:gd name="connsiteY9" fmla="*/ 93823 h 253091"/>
              <a:gd name="connsiteX10" fmla="*/ 6237 w 104236"/>
              <a:gd name="connsiteY10" fmla="*/ 102449 h 253091"/>
              <a:gd name="connsiteX11" fmla="*/ 1095 w 104236"/>
              <a:gd name="connsiteY11" fmla="*/ 134627 h 253091"/>
              <a:gd name="connsiteX12" fmla="*/ 7066 w 104236"/>
              <a:gd name="connsiteY12" fmla="*/ 149389 h 253091"/>
              <a:gd name="connsiteX13" fmla="*/ 7066 w 104236"/>
              <a:gd name="connsiteY13" fmla="*/ 149389 h 253091"/>
              <a:gd name="connsiteX14" fmla="*/ 29790 w 104236"/>
              <a:gd name="connsiteY14" fmla="*/ 165147 h 253091"/>
              <a:gd name="connsiteX15" fmla="*/ 56329 w 104236"/>
              <a:gd name="connsiteY15" fmla="*/ 169127 h 253091"/>
              <a:gd name="connsiteX16" fmla="*/ 49363 w 104236"/>
              <a:gd name="connsiteY16" fmla="*/ 212253 h 253091"/>
              <a:gd name="connsiteX17" fmla="*/ 79882 w 104236"/>
              <a:gd name="connsiteY17" fmla="*/ 252559 h 253091"/>
              <a:gd name="connsiteX18" fmla="*/ 82702 w 104236"/>
              <a:gd name="connsiteY18" fmla="*/ 222040 h 253091"/>
              <a:gd name="connsiteX19" fmla="*/ 101445 w 104236"/>
              <a:gd name="connsiteY19" fmla="*/ 200476 h 253091"/>
              <a:gd name="connsiteX20" fmla="*/ 100616 w 104236"/>
              <a:gd name="connsiteY20" fmla="*/ 166971 h 25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236" h="253091">
                <a:moveTo>
                  <a:pt x="100616" y="166971"/>
                </a:moveTo>
                <a:cubicBezTo>
                  <a:pt x="94413" y="160021"/>
                  <a:pt x="87711" y="153536"/>
                  <a:pt x="80546" y="147565"/>
                </a:cubicBezTo>
                <a:cubicBezTo>
                  <a:pt x="80811" y="149505"/>
                  <a:pt x="80463" y="151479"/>
                  <a:pt x="79551" y="153204"/>
                </a:cubicBezTo>
                <a:cubicBezTo>
                  <a:pt x="70925" y="165644"/>
                  <a:pt x="46377" y="126665"/>
                  <a:pt x="43391" y="102283"/>
                </a:cubicBezTo>
                <a:cubicBezTo>
                  <a:pt x="40406" y="77900"/>
                  <a:pt x="57325" y="66289"/>
                  <a:pt x="47040" y="43399"/>
                </a:cubicBezTo>
                <a:cubicBezTo>
                  <a:pt x="38415" y="24324"/>
                  <a:pt x="33107" y="5913"/>
                  <a:pt x="39244" y="274"/>
                </a:cubicBezTo>
                <a:cubicBezTo>
                  <a:pt x="31781" y="-224"/>
                  <a:pt x="24300" y="-224"/>
                  <a:pt x="16853" y="274"/>
                </a:cubicBezTo>
                <a:cubicBezTo>
                  <a:pt x="22973" y="10259"/>
                  <a:pt x="27402" y="21189"/>
                  <a:pt x="29956" y="32618"/>
                </a:cubicBezTo>
                <a:cubicBezTo>
                  <a:pt x="29956" y="39418"/>
                  <a:pt x="21497" y="30959"/>
                  <a:pt x="18179" y="39418"/>
                </a:cubicBezTo>
                <a:cubicBezTo>
                  <a:pt x="14862" y="47878"/>
                  <a:pt x="13037" y="87022"/>
                  <a:pt x="19838" y="93823"/>
                </a:cubicBezTo>
                <a:cubicBezTo>
                  <a:pt x="26639" y="100624"/>
                  <a:pt x="6237" y="95648"/>
                  <a:pt x="6237" y="102449"/>
                </a:cubicBezTo>
                <a:cubicBezTo>
                  <a:pt x="6237" y="109249"/>
                  <a:pt x="4578" y="132968"/>
                  <a:pt x="1095" y="134627"/>
                </a:cubicBezTo>
                <a:cubicBezTo>
                  <a:pt x="-2388" y="136285"/>
                  <a:pt x="3085" y="141427"/>
                  <a:pt x="7066" y="149389"/>
                </a:cubicBezTo>
                <a:lnTo>
                  <a:pt x="7066" y="149389"/>
                </a:lnTo>
                <a:cubicBezTo>
                  <a:pt x="10052" y="149389"/>
                  <a:pt x="23653" y="165976"/>
                  <a:pt x="29790" y="165147"/>
                </a:cubicBezTo>
                <a:cubicBezTo>
                  <a:pt x="35927" y="164317"/>
                  <a:pt x="53343" y="155360"/>
                  <a:pt x="56329" y="169127"/>
                </a:cubicBezTo>
                <a:cubicBezTo>
                  <a:pt x="59315" y="182894"/>
                  <a:pt x="47372" y="206448"/>
                  <a:pt x="49363" y="212253"/>
                </a:cubicBezTo>
                <a:cubicBezTo>
                  <a:pt x="51353" y="218059"/>
                  <a:pt x="77892" y="257535"/>
                  <a:pt x="79882" y="252559"/>
                </a:cubicBezTo>
                <a:cubicBezTo>
                  <a:pt x="81873" y="247583"/>
                  <a:pt x="73911" y="230001"/>
                  <a:pt x="82702" y="222040"/>
                </a:cubicBezTo>
                <a:cubicBezTo>
                  <a:pt x="91493" y="214078"/>
                  <a:pt x="102440" y="224030"/>
                  <a:pt x="101445" y="200476"/>
                </a:cubicBezTo>
                <a:cubicBezTo>
                  <a:pt x="100450" y="176923"/>
                  <a:pt x="108743" y="177752"/>
                  <a:pt x="100616" y="166971"/>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32" name="Freeform: Shape 531">
            <a:extLst>
              <a:ext uri="{FF2B5EF4-FFF2-40B4-BE49-F238E27FC236}">
                <a16:creationId xmlns:a16="http://schemas.microsoft.com/office/drawing/2014/main" id="{F95F64DF-3E15-4536-AAF6-CF7CD30F893D}"/>
              </a:ext>
            </a:extLst>
          </p:cNvPr>
          <p:cNvSpPr/>
          <p:nvPr/>
        </p:nvSpPr>
        <p:spPr>
          <a:xfrm>
            <a:off x="5509050" y="3345273"/>
            <a:ext cx="301029" cy="323901"/>
          </a:xfrm>
          <a:custGeom>
            <a:avLst/>
            <a:gdLst>
              <a:gd name="connsiteX0" fmla="*/ 262707 w 379672"/>
              <a:gd name="connsiteY0" fmla="*/ 360996 h 416513"/>
              <a:gd name="connsiteX1" fmla="*/ 222567 w 379672"/>
              <a:gd name="connsiteY1" fmla="*/ 360996 h 416513"/>
              <a:gd name="connsiteX2" fmla="*/ 194535 w 379672"/>
              <a:gd name="connsiteY2" fmla="*/ 374099 h 416513"/>
              <a:gd name="connsiteX3" fmla="*/ 228870 w 379672"/>
              <a:gd name="connsiteY3" fmla="*/ 392843 h 416513"/>
              <a:gd name="connsiteX4" fmla="*/ 266688 w 379672"/>
              <a:gd name="connsiteY4" fmla="*/ 416396 h 416513"/>
              <a:gd name="connsiteX5" fmla="*/ 275479 w 379672"/>
              <a:gd name="connsiteY5" fmla="*/ 393838 h 416513"/>
              <a:gd name="connsiteX6" fmla="*/ 289245 w 379672"/>
              <a:gd name="connsiteY6" fmla="*/ 362820 h 416513"/>
              <a:gd name="connsiteX7" fmla="*/ 262707 w 379672"/>
              <a:gd name="connsiteY7" fmla="*/ 360996 h 416513"/>
              <a:gd name="connsiteX8" fmla="*/ 72621 w 379672"/>
              <a:gd name="connsiteY8" fmla="*/ 249367 h 416513"/>
              <a:gd name="connsiteX9" fmla="*/ 48571 w 379672"/>
              <a:gd name="connsiteY9" fmla="*/ 255172 h 416513"/>
              <a:gd name="connsiteX10" fmla="*/ 60845 w 379672"/>
              <a:gd name="connsiteY10" fmla="*/ 297966 h 416513"/>
              <a:gd name="connsiteX11" fmla="*/ 74612 w 379672"/>
              <a:gd name="connsiteY11" fmla="*/ 329978 h 416513"/>
              <a:gd name="connsiteX12" fmla="*/ 97668 w 379672"/>
              <a:gd name="connsiteY12" fmla="*/ 315714 h 416513"/>
              <a:gd name="connsiteX13" fmla="*/ 103141 w 379672"/>
              <a:gd name="connsiteY13" fmla="*/ 261641 h 416513"/>
              <a:gd name="connsiteX14" fmla="*/ 72621 w 379672"/>
              <a:gd name="connsiteY14" fmla="*/ 249367 h 416513"/>
              <a:gd name="connsiteX15" fmla="*/ 313463 w 379672"/>
              <a:gd name="connsiteY15" fmla="*/ 233609 h 416513"/>
              <a:gd name="connsiteX16" fmla="*/ 288748 w 379672"/>
              <a:gd name="connsiteY16" fmla="*/ 214037 h 416513"/>
              <a:gd name="connsiteX17" fmla="*/ 237163 w 379672"/>
              <a:gd name="connsiteY17" fmla="*/ 160959 h 416513"/>
              <a:gd name="connsiteX18" fmla="*/ 190554 w 379672"/>
              <a:gd name="connsiteY18" fmla="*/ 113354 h 416513"/>
              <a:gd name="connsiteX19" fmla="*/ 190554 w 379672"/>
              <a:gd name="connsiteY19" fmla="*/ 80181 h 416513"/>
              <a:gd name="connsiteX20" fmla="*/ 205151 w 379672"/>
              <a:gd name="connsiteY20" fmla="*/ 61272 h 416513"/>
              <a:gd name="connsiteX21" fmla="*/ 206975 w 379672"/>
              <a:gd name="connsiteY21" fmla="*/ 17317 h 416513"/>
              <a:gd name="connsiteX22" fmla="*/ 190388 w 379672"/>
              <a:gd name="connsiteY22" fmla="*/ 13833 h 416513"/>
              <a:gd name="connsiteX23" fmla="*/ 183753 w 379672"/>
              <a:gd name="connsiteY23" fmla="*/ -100 h 416513"/>
              <a:gd name="connsiteX24" fmla="*/ 157214 w 379672"/>
              <a:gd name="connsiteY24" fmla="*/ 3550 h 416513"/>
              <a:gd name="connsiteX25" fmla="*/ 136647 w 379672"/>
              <a:gd name="connsiteY25" fmla="*/ 10184 h 416513"/>
              <a:gd name="connsiteX26" fmla="*/ 132500 w 379672"/>
              <a:gd name="connsiteY26" fmla="*/ 7862 h 416513"/>
              <a:gd name="connsiteX27" fmla="*/ 126031 w 379672"/>
              <a:gd name="connsiteY27" fmla="*/ 13833 h 416513"/>
              <a:gd name="connsiteX28" fmla="*/ 121055 w 379672"/>
              <a:gd name="connsiteY28" fmla="*/ 21795 h 416513"/>
              <a:gd name="connsiteX29" fmla="*/ 111269 w 379672"/>
              <a:gd name="connsiteY29" fmla="*/ 25610 h 416513"/>
              <a:gd name="connsiteX30" fmla="*/ 95511 w 379672"/>
              <a:gd name="connsiteY30" fmla="*/ 29591 h 416513"/>
              <a:gd name="connsiteX31" fmla="*/ 83735 w 379672"/>
              <a:gd name="connsiteY31" fmla="*/ 36557 h 416513"/>
              <a:gd name="connsiteX32" fmla="*/ 74944 w 379672"/>
              <a:gd name="connsiteY32" fmla="*/ 48334 h 416513"/>
              <a:gd name="connsiteX33" fmla="*/ 56201 w 379672"/>
              <a:gd name="connsiteY33" fmla="*/ 25610 h 416513"/>
              <a:gd name="connsiteX34" fmla="*/ 39614 w 379672"/>
              <a:gd name="connsiteY34" fmla="*/ 49163 h 416513"/>
              <a:gd name="connsiteX35" fmla="*/ 11251 w 379672"/>
              <a:gd name="connsiteY35" fmla="*/ 51320 h 416513"/>
              <a:gd name="connsiteX36" fmla="*/ 15065 w 379672"/>
              <a:gd name="connsiteY36" fmla="*/ 66911 h 416513"/>
              <a:gd name="connsiteX37" fmla="*/ 8431 w 379672"/>
              <a:gd name="connsiteY37" fmla="*/ 80181 h 416513"/>
              <a:gd name="connsiteX38" fmla="*/ 1796 w 379672"/>
              <a:gd name="connsiteY38" fmla="*/ 88308 h 416513"/>
              <a:gd name="connsiteX39" fmla="*/ 11251 w 379672"/>
              <a:gd name="connsiteY39" fmla="*/ 104895 h 416513"/>
              <a:gd name="connsiteX40" fmla="*/ 12561 w 379672"/>
              <a:gd name="connsiteY40" fmla="*/ 119143 h 416513"/>
              <a:gd name="connsiteX41" fmla="*/ 18714 w 379672"/>
              <a:gd name="connsiteY41" fmla="*/ 121482 h 416513"/>
              <a:gd name="connsiteX42" fmla="*/ 34140 w 379672"/>
              <a:gd name="connsiteY42" fmla="*/ 126624 h 416513"/>
              <a:gd name="connsiteX43" fmla="*/ 30491 w 379672"/>
              <a:gd name="connsiteY43" fmla="*/ 137903 h 416513"/>
              <a:gd name="connsiteX44" fmla="*/ 47078 w 379672"/>
              <a:gd name="connsiteY44" fmla="*/ 133259 h 416513"/>
              <a:gd name="connsiteX45" fmla="*/ 70134 w 379672"/>
              <a:gd name="connsiteY45" fmla="*/ 113686 h 416513"/>
              <a:gd name="connsiteX46" fmla="*/ 116909 w 379672"/>
              <a:gd name="connsiteY46" fmla="*/ 133259 h 416513"/>
              <a:gd name="connsiteX47" fmla="*/ 127192 w 379672"/>
              <a:gd name="connsiteY47" fmla="*/ 152997 h 416513"/>
              <a:gd name="connsiteX48" fmla="*/ 158707 w 379672"/>
              <a:gd name="connsiteY48" fmla="*/ 193137 h 416513"/>
              <a:gd name="connsiteX49" fmla="*/ 203823 w 379672"/>
              <a:gd name="connsiteY49" fmla="*/ 231950 h 416513"/>
              <a:gd name="connsiteX50" fmla="*/ 235836 w 379672"/>
              <a:gd name="connsiteY50" fmla="*/ 245717 h 416513"/>
              <a:gd name="connsiteX51" fmla="*/ 264697 w 379672"/>
              <a:gd name="connsiteY51" fmla="*/ 264958 h 416513"/>
              <a:gd name="connsiteX52" fmla="*/ 288250 w 379672"/>
              <a:gd name="connsiteY52" fmla="*/ 284696 h 416513"/>
              <a:gd name="connsiteX53" fmla="*/ 299198 w 379672"/>
              <a:gd name="connsiteY53" fmla="*/ 304269 h 416513"/>
              <a:gd name="connsiteX54" fmla="*/ 300690 w 379672"/>
              <a:gd name="connsiteY54" fmla="*/ 340096 h 416513"/>
              <a:gd name="connsiteX55" fmla="*/ 302183 w 379672"/>
              <a:gd name="connsiteY55" fmla="*/ 366635 h 416513"/>
              <a:gd name="connsiteX56" fmla="*/ 318770 w 379672"/>
              <a:gd name="connsiteY56" fmla="*/ 339101 h 416513"/>
              <a:gd name="connsiteX57" fmla="*/ 338011 w 379672"/>
              <a:gd name="connsiteY57" fmla="*/ 319529 h 416513"/>
              <a:gd name="connsiteX58" fmla="*/ 322751 w 379672"/>
              <a:gd name="connsiteY58" fmla="*/ 293487 h 416513"/>
              <a:gd name="connsiteX59" fmla="*/ 354598 w 379672"/>
              <a:gd name="connsiteY59" fmla="*/ 279223 h 416513"/>
              <a:gd name="connsiteX60" fmla="*/ 379644 w 379672"/>
              <a:gd name="connsiteY60" fmla="*/ 280716 h 416513"/>
              <a:gd name="connsiteX61" fmla="*/ 313463 w 379672"/>
              <a:gd name="connsiteY61" fmla="*/ 233609 h 41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79672" h="416513">
                <a:moveTo>
                  <a:pt x="262707" y="360996"/>
                </a:moveTo>
                <a:cubicBezTo>
                  <a:pt x="242636" y="365308"/>
                  <a:pt x="234343" y="366801"/>
                  <a:pt x="222567" y="360996"/>
                </a:cubicBezTo>
                <a:cubicBezTo>
                  <a:pt x="210790" y="355190"/>
                  <a:pt x="191549" y="366304"/>
                  <a:pt x="194535" y="374099"/>
                </a:cubicBezTo>
                <a:cubicBezTo>
                  <a:pt x="197520" y="381895"/>
                  <a:pt x="204321" y="386374"/>
                  <a:pt x="228870" y="392843"/>
                </a:cubicBezTo>
                <a:cubicBezTo>
                  <a:pt x="253418" y="399311"/>
                  <a:pt x="256404" y="415898"/>
                  <a:pt x="266688" y="416396"/>
                </a:cubicBezTo>
                <a:cubicBezTo>
                  <a:pt x="276971" y="416893"/>
                  <a:pt x="277967" y="407107"/>
                  <a:pt x="275479" y="393838"/>
                </a:cubicBezTo>
                <a:cubicBezTo>
                  <a:pt x="272991" y="380568"/>
                  <a:pt x="287753" y="365308"/>
                  <a:pt x="289245" y="362820"/>
                </a:cubicBezTo>
                <a:cubicBezTo>
                  <a:pt x="290738" y="360332"/>
                  <a:pt x="282942" y="356020"/>
                  <a:pt x="262707" y="360996"/>
                </a:cubicBezTo>
                <a:close/>
                <a:moveTo>
                  <a:pt x="72621" y="249367"/>
                </a:moveTo>
                <a:cubicBezTo>
                  <a:pt x="61840" y="258655"/>
                  <a:pt x="52883" y="247708"/>
                  <a:pt x="48571" y="255172"/>
                </a:cubicBezTo>
                <a:cubicBezTo>
                  <a:pt x="44258" y="262636"/>
                  <a:pt x="65158" y="278891"/>
                  <a:pt x="60845" y="297966"/>
                </a:cubicBezTo>
                <a:cubicBezTo>
                  <a:pt x="56532" y="317041"/>
                  <a:pt x="63333" y="341258"/>
                  <a:pt x="74612" y="329978"/>
                </a:cubicBezTo>
                <a:cubicBezTo>
                  <a:pt x="85891" y="318699"/>
                  <a:pt x="91199" y="324007"/>
                  <a:pt x="97668" y="315714"/>
                </a:cubicBezTo>
                <a:cubicBezTo>
                  <a:pt x="104136" y="307420"/>
                  <a:pt x="98663" y="276403"/>
                  <a:pt x="103141" y="261641"/>
                </a:cubicBezTo>
                <a:cubicBezTo>
                  <a:pt x="107620" y="246878"/>
                  <a:pt x="83403" y="239912"/>
                  <a:pt x="72621" y="249367"/>
                </a:cubicBezTo>
                <a:close/>
                <a:moveTo>
                  <a:pt x="313463" y="233609"/>
                </a:moveTo>
                <a:cubicBezTo>
                  <a:pt x="300690" y="225813"/>
                  <a:pt x="308984" y="213041"/>
                  <a:pt x="288748" y="214037"/>
                </a:cubicBezTo>
                <a:cubicBezTo>
                  <a:pt x="268512" y="215032"/>
                  <a:pt x="244627" y="189986"/>
                  <a:pt x="237163" y="160959"/>
                </a:cubicBezTo>
                <a:cubicBezTo>
                  <a:pt x="229699" y="131932"/>
                  <a:pt x="198515" y="130439"/>
                  <a:pt x="190554" y="113354"/>
                </a:cubicBezTo>
                <a:cubicBezTo>
                  <a:pt x="182592" y="96270"/>
                  <a:pt x="198018" y="94114"/>
                  <a:pt x="190554" y="80181"/>
                </a:cubicBezTo>
                <a:cubicBezTo>
                  <a:pt x="186739" y="72219"/>
                  <a:pt x="195198" y="65253"/>
                  <a:pt x="205151" y="61272"/>
                </a:cubicBezTo>
                <a:cubicBezTo>
                  <a:pt x="204752" y="46592"/>
                  <a:pt x="205350" y="31913"/>
                  <a:pt x="206975" y="17317"/>
                </a:cubicBezTo>
                <a:cubicBezTo>
                  <a:pt x="201302" y="17035"/>
                  <a:pt x="195696" y="15857"/>
                  <a:pt x="190388" y="13833"/>
                </a:cubicBezTo>
                <a:cubicBezTo>
                  <a:pt x="186739" y="11677"/>
                  <a:pt x="185910" y="-100"/>
                  <a:pt x="183753" y="-100"/>
                </a:cubicBezTo>
                <a:cubicBezTo>
                  <a:pt x="181597" y="-100"/>
                  <a:pt x="160864" y="-100"/>
                  <a:pt x="157214" y="3550"/>
                </a:cubicBezTo>
                <a:cubicBezTo>
                  <a:pt x="153565" y="7199"/>
                  <a:pt x="142452" y="13833"/>
                  <a:pt x="136647" y="10184"/>
                </a:cubicBezTo>
                <a:lnTo>
                  <a:pt x="132500" y="7862"/>
                </a:lnTo>
                <a:lnTo>
                  <a:pt x="126031" y="13833"/>
                </a:lnTo>
                <a:cubicBezTo>
                  <a:pt x="126031" y="13833"/>
                  <a:pt x="125036" y="21795"/>
                  <a:pt x="121055" y="21795"/>
                </a:cubicBezTo>
                <a:cubicBezTo>
                  <a:pt x="117074" y="21795"/>
                  <a:pt x="111269" y="18809"/>
                  <a:pt x="111269" y="25610"/>
                </a:cubicBezTo>
                <a:cubicBezTo>
                  <a:pt x="111269" y="32411"/>
                  <a:pt x="100487" y="30586"/>
                  <a:pt x="95511" y="29591"/>
                </a:cubicBezTo>
                <a:cubicBezTo>
                  <a:pt x="90536" y="28596"/>
                  <a:pt x="83735" y="30586"/>
                  <a:pt x="83735" y="36557"/>
                </a:cubicBezTo>
                <a:cubicBezTo>
                  <a:pt x="83735" y="42529"/>
                  <a:pt x="82740" y="55135"/>
                  <a:pt x="74944" y="48334"/>
                </a:cubicBezTo>
                <a:cubicBezTo>
                  <a:pt x="67148" y="41533"/>
                  <a:pt x="59186" y="23620"/>
                  <a:pt x="56201" y="25610"/>
                </a:cubicBezTo>
                <a:cubicBezTo>
                  <a:pt x="53215" y="27600"/>
                  <a:pt x="46415" y="49163"/>
                  <a:pt x="39614" y="49163"/>
                </a:cubicBezTo>
                <a:cubicBezTo>
                  <a:pt x="35301" y="49163"/>
                  <a:pt x="21368" y="50325"/>
                  <a:pt x="11251" y="51320"/>
                </a:cubicBezTo>
                <a:cubicBezTo>
                  <a:pt x="8597" y="59779"/>
                  <a:pt x="11251" y="64755"/>
                  <a:pt x="15065" y="66911"/>
                </a:cubicBezTo>
                <a:cubicBezTo>
                  <a:pt x="18880" y="69068"/>
                  <a:pt x="12743" y="78025"/>
                  <a:pt x="8431" y="80181"/>
                </a:cubicBezTo>
                <a:cubicBezTo>
                  <a:pt x="4118" y="82337"/>
                  <a:pt x="-3512" y="80181"/>
                  <a:pt x="1796" y="88308"/>
                </a:cubicBezTo>
                <a:cubicBezTo>
                  <a:pt x="7104" y="96436"/>
                  <a:pt x="16558" y="97099"/>
                  <a:pt x="11251" y="104895"/>
                </a:cubicBezTo>
                <a:cubicBezTo>
                  <a:pt x="7668" y="109191"/>
                  <a:pt x="8264" y="115577"/>
                  <a:pt x="12561" y="119143"/>
                </a:cubicBezTo>
                <a:cubicBezTo>
                  <a:pt x="14286" y="120586"/>
                  <a:pt x="16459" y="121416"/>
                  <a:pt x="18714" y="121482"/>
                </a:cubicBezTo>
                <a:cubicBezTo>
                  <a:pt x="26013" y="121482"/>
                  <a:pt x="36296" y="121482"/>
                  <a:pt x="34140" y="126624"/>
                </a:cubicBezTo>
                <a:cubicBezTo>
                  <a:pt x="32432" y="130207"/>
                  <a:pt x="31205" y="134005"/>
                  <a:pt x="30491" y="137903"/>
                </a:cubicBezTo>
                <a:cubicBezTo>
                  <a:pt x="36164" y="136957"/>
                  <a:pt x="41737" y="135398"/>
                  <a:pt x="47078" y="133259"/>
                </a:cubicBezTo>
                <a:cubicBezTo>
                  <a:pt x="57362" y="127951"/>
                  <a:pt x="53049" y="118496"/>
                  <a:pt x="70134" y="113686"/>
                </a:cubicBezTo>
                <a:cubicBezTo>
                  <a:pt x="88097" y="111397"/>
                  <a:pt x="105928" y="118861"/>
                  <a:pt x="116909" y="133259"/>
                </a:cubicBezTo>
                <a:cubicBezTo>
                  <a:pt x="123709" y="143543"/>
                  <a:pt x="125700" y="144538"/>
                  <a:pt x="127192" y="152997"/>
                </a:cubicBezTo>
                <a:cubicBezTo>
                  <a:pt x="131588" y="170214"/>
                  <a:pt x="143032" y="184777"/>
                  <a:pt x="158707" y="193137"/>
                </a:cubicBezTo>
                <a:cubicBezTo>
                  <a:pt x="182261" y="208397"/>
                  <a:pt x="191881" y="226311"/>
                  <a:pt x="203823" y="231950"/>
                </a:cubicBezTo>
                <a:cubicBezTo>
                  <a:pt x="215766" y="237590"/>
                  <a:pt x="228372" y="236926"/>
                  <a:pt x="235836" y="245717"/>
                </a:cubicBezTo>
                <a:cubicBezTo>
                  <a:pt x="243831" y="254293"/>
                  <a:pt x="253716" y="260878"/>
                  <a:pt x="264697" y="264958"/>
                </a:cubicBezTo>
                <a:cubicBezTo>
                  <a:pt x="276474" y="270432"/>
                  <a:pt x="276971" y="283038"/>
                  <a:pt x="288250" y="284696"/>
                </a:cubicBezTo>
                <a:cubicBezTo>
                  <a:pt x="299529" y="286355"/>
                  <a:pt x="292231" y="295976"/>
                  <a:pt x="299198" y="304269"/>
                </a:cubicBezTo>
                <a:cubicBezTo>
                  <a:pt x="306662" y="314885"/>
                  <a:pt x="307243" y="328884"/>
                  <a:pt x="300690" y="340096"/>
                </a:cubicBezTo>
                <a:cubicBezTo>
                  <a:pt x="293227" y="349883"/>
                  <a:pt x="297207" y="366635"/>
                  <a:pt x="302183" y="366635"/>
                </a:cubicBezTo>
                <a:cubicBezTo>
                  <a:pt x="307159" y="366635"/>
                  <a:pt x="317277" y="348888"/>
                  <a:pt x="318770" y="339101"/>
                </a:cubicBezTo>
                <a:cubicBezTo>
                  <a:pt x="320263" y="329315"/>
                  <a:pt x="330049" y="329813"/>
                  <a:pt x="338011" y="319529"/>
                </a:cubicBezTo>
                <a:cubicBezTo>
                  <a:pt x="345973" y="309245"/>
                  <a:pt x="326234" y="306757"/>
                  <a:pt x="322751" y="293487"/>
                </a:cubicBezTo>
                <a:cubicBezTo>
                  <a:pt x="319268" y="280218"/>
                  <a:pt x="337513" y="268441"/>
                  <a:pt x="354598" y="279223"/>
                </a:cubicBezTo>
                <a:cubicBezTo>
                  <a:pt x="371682" y="290004"/>
                  <a:pt x="378649" y="297303"/>
                  <a:pt x="379644" y="280716"/>
                </a:cubicBezTo>
                <a:cubicBezTo>
                  <a:pt x="380639" y="264129"/>
                  <a:pt x="326732" y="241571"/>
                  <a:pt x="313463" y="23360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33" name="Freeform: Shape 532">
            <a:extLst>
              <a:ext uri="{FF2B5EF4-FFF2-40B4-BE49-F238E27FC236}">
                <a16:creationId xmlns:a16="http://schemas.microsoft.com/office/drawing/2014/main" id="{A55CDD8F-96CF-478E-A539-7343460D9A12}"/>
              </a:ext>
            </a:extLst>
          </p:cNvPr>
          <p:cNvSpPr/>
          <p:nvPr/>
        </p:nvSpPr>
        <p:spPr>
          <a:xfrm>
            <a:off x="7130970" y="3664904"/>
            <a:ext cx="730414" cy="788982"/>
          </a:xfrm>
          <a:custGeom>
            <a:avLst/>
            <a:gdLst>
              <a:gd name="connsiteX0" fmla="*/ 913256 w 921232"/>
              <a:gd name="connsiteY0" fmla="*/ 335452 h 1014573"/>
              <a:gd name="connsiteX1" fmla="*/ 921217 w 921232"/>
              <a:gd name="connsiteY1" fmla="*/ 318865 h 1014573"/>
              <a:gd name="connsiteX2" fmla="*/ 914914 w 921232"/>
              <a:gd name="connsiteY2" fmla="*/ 317373 h 1014573"/>
              <a:gd name="connsiteX3" fmla="*/ 914914 w 921232"/>
              <a:gd name="connsiteY3" fmla="*/ 317373 h 1014573"/>
              <a:gd name="connsiteX4" fmla="*/ 912427 w 921232"/>
              <a:gd name="connsiteY4" fmla="*/ 309411 h 1014573"/>
              <a:gd name="connsiteX5" fmla="*/ 900816 w 921232"/>
              <a:gd name="connsiteY5" fmla="*/ 307586 h 1014573"/>
              <a:gd name="connsiteX6" fmla="*/ 888210 w 921232"/>
              <a:gd name="connsiteY6" fmla="*/ 286521 h 1014573"/>
              <a:gd name="connsiteX7" fmla="*/ 873779 w 921232"/>
              <a:gd name="connsiteY7" fmla="*/ 287351 h 1014573"/>
              <a:gd name="connsiteX8" fmla="*/ 873779 w 921232"/>
              <a:gd name="connsiteY8" fmla="*/ 285692 h 1014573"/>
              <a:gd name="connsiteX9" fmla="*/ 875603 w 921232"/>
              <a:gd name="connsiteY9" fmla="*/ 282540 h 1014573"/>
              <a:gd name="connsiteX10" fmla="*/ 875603 w 921232"/>
              <a:gd name="connsiteY10" fmla="*/ 278559 h 1014573"/>
              <a:gd name="connsiteX11" fmla="*/ 869300 w 921232"/>
              <a:gd name="connsiteY11" fmla="*/ 271593 h 1014573"/>
              <a:gd name="connsiteX12" fmla="*/ 858686 w 921232"/>
              <a:gd name="connsiteY12" fmla="*/ 277398 h 1014573"/>
              <a:gd name="connsiteX13" fmla="*/ 848402 w 921232"/>
              <a:gd name="connsiteY13" fmla="*/ 278725 h 1014573"/>
              <a:gd name="connsiteX14" fmla="*/ 848402 w 921232"/>
              <a:gd name="connsiteY14" fmla="*/ 287682 h 1014573"/>
              <a:gd name="connsiteX15" fmla="*/ 831815 w 921232"/>
              <a:gd name="connsiteY15" fmla="*/ 290502 h 1014573"/>
              <a:gd name="connsiteX16" fmla="*/ 829824 w 921232"/>
              <a:gd name="connsiteY16" fmla="*/ 291663 h 1014573"/>
              <a:gd name="connsiteX17" fmla="*/ 829824 w 921232"/>
              <a:gd name="connsiteY17" fmla="*/ 291663 h 1014573"/>
              <a:gd name="connsiteX18" fmla="*/ 825677 w 921232"/>
              <a:gd name="connsiteY18" fmla="*/ 289672 h 1014573"/>
              <a:gd name="connsiteX19" fmla="*/ 803451 w 921232"/>
              <a:gd name="connsiteY19" fmla="*/ 291165 h 1014573"/>
              <a:gd name="connsiteX20" fmla="*/ 798972 w 921232"/>
              <a:gd name="connsiteY20" fmla="*/ 308747 h 1014573"/>
              <a:gd name="connsiteX21" fmla="*/ 790016 w 921232"/>
              <a:gd name="connsiteY21" fmla="*/ 310904 h 1014573"/>
              <a:gd name="connsiteX22" fmla="*/ 780727 w 921232"/>
              <a:gd name="connsiteY22" fmla="*/ 313558 h 1014573"/>
              <a:gd name="connsiteX23" fmla="*/ 778903 w 921232"/>
              <a:gd name="connsiteY23" fmla="*/ 320690 h 1014573"/>
              <a:gd name="connsiteX24" fmla="*/ 776581 w 921232"/>
              <a:gd name="connsiteY24" fmla="*/ 326827 h 1014573"/>
              <a:gd name="connsiteX25" fmla="*/ 768784 w 921232"/>
              <a:gd name="connsiteY25" fmla="*/ 330808 h 1014573"/>
              <a:gd name="connsiteX26" fmla="*/ 746724 w 921232"/>
              <a:gd name="connsiteY26" fmla="*/ 334955 h 1014573"/>
              <a:gd name="connsiteX27" fmla="*/ 751866 w 921232"/>
              <a:gd name="connsiteY27" fmla="*/ 347892 h 1014573"/>
              <a:gd name="connsiteX28" fmla="*/ 757008 w 921232"/>
              <a:gd name="connsiteY28" fmla="*/ 356517 h 1014573"/>
              <a:gd name="connsiteX29" fmla="*/ 742578 w 921232"/>
              <a:gd name="connsiteY29" fmla="*/ 366470 h 1014573"/>
              <a:gd name="connsiteX30" fmla="*/ 725991 w 921232"/>
              <a:gd name="connsiteY30" fmla="*/ 374597 h 1014573"/>
              <a:gd name="connsiteX31" fmla="*/ 721678 w 921232"/>
              <a:gd name="connsiteY31" fmla="*/ 376256 h 1014573"/>
              <a:gd name="connsiteX32" fmla="*/ 721678 w 921232"/>
              <a:gd name="connsiteY32" fmla="*/ 376256 h 1014573"/>
              <a:gd name="connsiteX33" fmla="*/ 707082 w 921232"/>
              <a:gd name="connsiteY33" fmla="*/ 372607 h 1014573"/>
              <a:gd name="connsiteX34" fmla="*/ 684192 w 921232"/>
              <a:gd name="connsiteY34" fmla="*/ 369787 h 1014573"/>
              <a:gd name="connsiteX35" fmla="*/ 669927 w 921232"/>
              <a:gd name="connsiteY35" fmla="*/ 363982 h 1014573"/>
              <a:gd name="connsiteX36" fmla="*/ 669927 w 921232"/>
              <a:gd name="connsiteY36" fmla="*/ 363982 h 1014573"/>
              <a:gd name="connsiteX37" fmla="*/ 665283 w 921232"/>
              <a:gd name="connsiteY37" fmla="*/ 345072 h 1014573"/>
              <a:gd name="connsiteX38" fmla="*/ 654833 w 921232"/>
              <a:gd name="connsiteY38" fmla="*/ 328486 h 1014573"/>
              <a:gd name="connsiteX39" fmla="*/ 647701 w 921232"/>
              <a:gd name="connsiteY39" fmla="*/ 334125 h 1014573"/>
              <a:gd name="connsiteX40" fmla="*/ 644383 w 921232"/>
              <a:gd name="connsiteY40" fmla="*/ 329481 h 1014573"/>
              <a:gd name="connsiteX41" fmla="*/ 640900 w 921232"/>
              <a:gd name="connsiteY41" fmla="*/ 317538 h 1014573"/>
              <a:gd name="connsiteX42" fmla="*/ 629953 w 921232"/>
              <a:gd name="connsiteY42" fmla="*/ 316045 h 1014573"/>
              <a:gd name="connsiteX43" fmla="*/ 625640 w 921232"/>
              <a:gd name="connsiteY43" fmla="*/ 329315 h 1014573"/>
              <a:gd name="connsiteX44" fmla="*/ 622654 w 921232"/>
              <a:gd name="connsiteY44" fmla="*/ 335784 h 1014573"/>
              <a:gd name="connsiteX45" fmla="*/ 622654 w 921232"/>
              <a:gd name="connsiteY45" fmla="*/ 343580 h 1014573"/>
              <a:gd name="connsiteX46" fmla="*/ 626138 w 921232"/>
              <a:gd name="connsiteY46" fmla="*/ 349551 h 1014573"/>
              <a:gd name="connsiteX47" fmla="*/ 626138 w 921232"/>
              <a:gd name="connsiteY47" fmla="*/ 359669 h 1014573"/>
              <a:gd name="connsiteX48" fmla="*/ 624314 w 921232"/>
              <a:gd name="connsiteY48" fmla="*/ 365972 h 1014573"/>
              <a:gd name="connsiteX49" fmla="*/ 621162 w 921232"/>
              <a:gd name="connsiteY49" fmla="*/ 369953 h 1014573"/>
              <a:gd name="connsiteX50" fmla="*/ 616020 w 921232"/>
              <a:gd name="connsiteY50" fmla="*/ 371611 h 1014573"/>
              <a:gd name="connsiteX51" fmla="*/ 609385 w 921232"/>
              <a:gd name="connsiteY51" fmla="*/ 375261 h 1014573"/>
              <a:gd name="connsiteX52" fmla="*/ 603248 w 921232"/>
              <a:gd name="connsiteY52" fmla="*/ 376256 h 1014573"/>
              <a:gd name="connsiteX53" fmla="*/ 595121 w 921232"/>
              <a:gd name="connsiteY53" fmla="*/ 373768 h 1014573"/>
              <a:gd name="connsiteX54" fmla="*/ 576874 w 921232"/>
              <a:gd name="connsiteY54" fmla="*/ 377748 h 1014573"/>
              <a:gd name="connsiteX55" fmla="*/ 568747 w 921232"/>
              <a:gd name="connsiteY55" fmla="*/ 377748 h 1014573"/>
              <a:gd name="connsiteX56" fmla="*/ 562776 w 921232"/>
              <a:gd name="connsiteY56" fmla="*/ 376090 h 1014573"/>
              <a:gd name="connsiteX57" fmla="*/ 547682 w 921232"/>
              <a:gd name="connsiteY57" fmla="*/ 367299 h 1014573"/>
              <a:gd name="connsiteX58" fmla="*/ 540218 w 921232"/>
              <a:gd name="connsiteY58" fmla="*/ 367299 h 1014573"/>
              <a:gd name="connsiteX59" fmla="*/ 538891 w 921232"/>
              <a:gd name="connsiteY59" fmla="*/ 365640 h 1014573"/>
              <a:gd name="connsiteX60" fmla="*/ 520480 w 921232"/>
              <a:gd name="connsiteY60" fmla="*/ 347395 h 1014573"/>
              <a:gd name="connsiteX61" fmla="*/ 511688 w 921232"/>
              <a:gd name="connsiteY61" fmla="*/ 349385 h 1014573"/>
              <a:gd name="connsiteX62" fmla="*/ 510527 w 921232"/>
              <a:gd name="connsiteY62" fmla="*/ 347063 h 1014573"/>
              <a:gd name="connsiteX63" fmla="*/ 499580 w 921232"/>
              <a:gd name="connsiteY63" fmla="*/ 347063 h 1014573"/>
              <a:gd name="connsiteX64" fmla="*/ 494935 w 921232"/>
              <a:gd name="connsiteY64" fmla="*/ 353698 h 1014573"/>
              <a:gd name="connsiteX65" fmla="*/ 489130 w 921232"/>
              <a:gd name="connsiteY65" fmla="*/ 352702 h 1014573"/>
              <a:gd name="connsiteX66" fmla="*/ 461431 w 921232"/>
              <a:gd name="connsiteY66" fmla="*/ 337111 h 1014573"/>
              <a:gd name="connsiteX67" fmla="*/ 436551 w 921232"/>
              <a:gd name="connsiteY67" fmla="*/ 324007 h 1014573"/>
              <a:gd name="connsiteX68" fmla="*/ 410343 w 921232"/>
              <a:gd name="connsiteY68" fmla="*/ 311070 h 1014573"/>
              <a:gd name="connsiteX69" fmla="*/ 393756 w 921232"/>
              <a:gd name="connsiteY69" fmla="*/ 297966 h 1014573"/>
              <a:gd name="connsiteX70" fmla="*/ 399064 w 921232"/>
              <a:gd name="connsiteY70" fmla="*/ 273252 h 1014573"/>
              <a:gd name="connsiteX71" fmla="*/ 414822 w 921232"/>
              <a:gd name="connsiteY71" fmla="*/ 252352 h 1014573"/>
              <a:gd name="connsiteX72" fmla="*/ 400391 w 921232"/>
              <a:gd name="connsiteY72" fmla="*/ 237922 h 1014573"/>
              <a:gd name="connsiteX73" fmla="*/ 380653 w 921232"/>
              <a:gd name="connsiteY73" fmla="*/ 221335 h 1014573"/>
              <a:gd name="connsiteX74" fmla="*/ 353119 w 921232"/>
              <a:gd name="connsiteY74" fmla="*/ 201762 h 1014573"/>
              <a:gd name="connsiteX75" fmla="*/ 345986 w 921232"/>
              <a:gd name="connsiteY75" fmla="*/ 191478 h 1014573"/>
              <a:gd name="connsiteX76" fmla="*/ 345986 w 921232"/>
              <a:gd name="connsiteY76" fmla="*/ 188990 h 1014573"/>
              <a:gd name="connsiteX77" fmla="*/ 347811 w 921232"/>
              <a:gd name="connsiteY77" fmla="*/ 183185 h 1014573"/>
              <a:gd name="connsiteX78" fmla="*/ 352787 w 921232"/>
              <a:gd name="connsiteY78" fmla="*/ 180697 h 1014573"/>
              <a:gd name="connsiteX79" fmla="*/ 359090 w 921232"/>
              <a:gd name="connsiteY79" fmla="*/ 178043 h 1014573"/>
              <a:gd name="connsiteX80" fmla="*/ 357929 w 921232"/>
              <a:gd name="connsiteY80" fmla="*/ 170413 h 1014573"/>
              <a:gd name="connsiteX81" fmla="*/ 351626 w 921232"/>
              <a:gd name="connsiteY81" fmla="*/ 163612 h 1014573"/>
              <a:gd name="connsiteX82" fmla="*/ 350299 w 921232"/>
              <a:gd name="connsiteY82" fmla="*/ 161954 h 1014573"/>
              <a:gd name="connsiteX83" fmla="*/ 369042 w 921232"/>
              <a:gd name="connsiteY83" fmla="*/ 149514 h 1014573"/>
              <a:gd name="connsiteX84" fmla="*/ 352455 w 921232"/>
              <a:gd name="connsiteY84" fmla="*/ 124799 h 1014573"/>
              <a:gd name="connsiteX85" fmla="*/ 353948 w 921232"/>
              <a:gd name="connsiteY85" fmla="*/ 123970 h 1014573"/>
              <a:gd name="connsiteX86" fmla="*/ 367715 w 921232"/>
              <a:gd name="connsiteY86" fmla="*/ 107383 h 1014573"/>
              <a:gd name="connsiteX87" fmla="*/ 381316 w 921232"/>
              <a:gd name="connsiteY87" fmla="*/ 96270 h 1014573"/>
              <a:gd name="connsiteX88" fmla="*/ 382311 w 921232"/>
              <a:gd name="connsiteY88" fmla="*/ 96270 h 1014573"/>
              <a:gd name="connsiteX89" fmla="*/ 383638 w 921232"/>
              <a:gd name="connsiteY89" fmla="*/ 93948 h 1014573"/>
              <a:gd name="connsiteX90" fmla="*/ 400225 w 921232"/>
              <a:gd name="connsiteY90" fmla="*/ 68404 h 1014573"/>
              <a:gd name="connsiteX91" fmla="*/ 394254 w 921232"/>
              <a:gd name="connsiteY91" fmla="*/ 56959 h 1014573"/>
              <a:gd name="connsiteX92" fmla="*/ 392595 w 921232"/>
              <a:gd name="connsiteY92" fmla="*/ 51486 h 1014573"/>
              <a:gd name="connsiteX93" fmla="*/ 385297 w 921232"/>
              <a:gd name="connsiteY93" fmla="*/ 47671 h 1014573"/>
              <a:gd name="connsiteX94" fmla="*/ 383638 w 921232"/>
              <a:gd name="connsiteY94" fmla="*/ 47671 h 1014573"/>
              <a:gd name="connsiteX95" fmla="*/ 361910 w 921232"/>
              <a:gd name="connsiteY95" fmla="*/ 37055 h 1014573"/>
              <a:gd name="connsiteX96" fmla="*/ 324257 w 921232"/>
              <a:gd name="connsiteY96" fmla="*/ 58452 h 1014573"/>
              <a:gd name="connsiteX97" fmla="*/ 324257 w 921232"/>
              <a:gd name="connsiteY97" fmla="*/ 58452 h 1014573"/>
              <a:gd name="connsiteX98" fmla="*/ 312149 w 921232"/>
              <a:gd name="connsiteY98" fmla="*/ 60774 h 1014573"/>
              <a:gd name="connsiteX99" fmla="*/ 302363 w 921232"/>
              <a:gd name="connsiteY99" fmla="*/ 60774 h 1014573"/>
              <a:gd name="connsiteX100" fmla="*/ 294401 w 921232"/>
              <a:gd name="connsiteY100" fmla="*/ 54969 h 1014573"/>
              <a:gd name="connsiteX101" fmla="*/ 289425 w 921232"/>
              <a:gd name="connsiteY101" fmla="*/ 51320 h 1014573"/>
              <a:gd name="connsiteX102" fmla="*/ 280136 w 921232"/>
              <a:gd name="connsiteY102" fmla="*/ 49163 h 1014573"/>
              <a:gd name="connsiteX103" fmla="*/ 276819 w 921232"/>
              <a:gd name="connsiteY103" fmla="*/ 39211 h 1014573"/>
              <a:gd name="connsiteX104" fmla="*/ 269687 w 921232"/>
              <a:gd name="connsiteY104" fmla="*/ 33904 h 1014573"/>
              <a:gd name="connsiteX105" fmla="*/ 261725 w 921232"/>
              <a:gd name="connsiteY105" fmla="*/ 28264 h 1014573"/>
              <a:gd name="connsiteX106" fmla="*/ 253100 w 921232"/>
              <a:gd name="connsiteY106" fmla="*/ 24947 h 1014573"/>
              <a:gd name="connsiteX107" fmla="*/ 243148 w 921232"/>
              <a:gd name="connsiteY107" fmla="*/ 14663 h 1014573"/>
              <a:gd name="connsiteX108" fmla="*/ 233030 w 921232"/>
              <a:gd name="connsiteY108" fmla="*/ 2720 h 1014573"/>
              <a:gd name="connsiteX109" fmla="*/ 227390 w 921232"/>
              <a:gd name="connsiteY109" fmla="*/ 4711 h 1014573"/>
              <a:gd name="connsiteX110" fmla="*/ 221419 w 921232"/>
              <a:gd name="connsiteY110" fmla="*/ 4711 h 1014573"/>
              <a:gd name="connsiteX111" fmla="*/ 219927 w 921232"/>
              <a:gd name="connsiteY111" fmla="*/ 1559 h 1014573"/>
              <a:gd name="connsiteX112" fmla="*/ 215614 w 921232"/>
              <a:gd name="connsiteY112" fmla="*/ -100 h 1014573"/>
              <a:gd name="connsiteX113" fmla="*/ 212628 w 921232"/>
              <a:gd name="connsiteY113" fmla="*/ 4213 h 1014573"/>
              <a:gd name="connsiteX114" fmla="*/ 207984 w 921232"/>
              <a:gd name="connsiteY114" fmla="*/ 3384 h 1014573"/>
              <a:gd name="connsiteX115" fmla="*/ 202013 w 921232"/>
              <a:gd name="connsiteY115" fmla="*/ 6204 h 1014573"/>
              <a:gd name="connsiteX116" fmla="*/ 198197 w 921232"/>
              <a:gd name="connsiteY116" fmla="*/ 9521 h 1014573"/>
              <a:gd name="connsiteX117" fmla="*/ 192890 w 921232"/>
              <a:gd name="connsiteY117" fmla="*/ 6701 h 1014573"/>
              <a:gd name="connsiteX118" fmla="*/ 187084 w 921232"/>
              <a:gd name="connsiteY118" fmla="*/ 5374 h 1014573"/>
              <a:gd name="connsiteX119" fmla="*/ 189241 w 921232"/>
              <a:gd name="connsiteY119" fmla="*/ 9853 h 1014573"/>
              <a:gd name="connsiteX120" fmla="*/ 192226 w 921232"/>
              <a:gd name="connsiteY120" fmla="*/ 12838 h 1014573"/>
              <a:gd name="connsiteX121" fmla="*/ 185426 w 921232"/>
              <a:gd name="connsiteY121" fmla="*/ 13833 h 1014573"/>
              <a:gd name="connsiteX122" fmla="*/ 177796 w 921232"/>
              <a:gd name="connsiteY122" fmla="*/ 11677 h 1014573"/>
              <a:gd name="connsiteX123" fmla="*/ 169170 w 921232"/>
              <a:gd name="connsiteY123" fmla="*/ 11677 h 1014573"/>
              <a:gd name="connsiteX124" fmla="*/ 167844 w 921232"/>
              <a:gd name="connsiteY124" fmla="*/ 18478 h 1014573"/>
              <a:gd name="connsiteX125" fmla="*/ 163531 w 921232"/>
              <a:gd name="connsiteY125" fmla="*/ 20800 h 1014573"/>
              <a:gd name="connsiteX126" fmla="*/ 155404 w 921232"/>
              <a:gd name="connsiteY126" fmla="*/ 27932 h 1014573"/>
              <a:gd name="connsiteX127" fmla="*/ 151257 w 921232"/>
              <a:gd name="connsiteY127" fmla="*/ 27932 h 1014573"/>
              <a:gd name="connsiteX128" fmla="*/ 150096 w 921232"/>
              <a:gd name="connsiteY128" fmla="*/ 36060 h 1014573"/>
              <a:gd name="connsiteX129" fmla="*/ 150096 w 921232"/>
              <a:gd name="connsiteY129" fmla="*/ 42197 h 1014573"/>
              <a:gd name="connsiteX130" fmla="*/ 158389 w 921232"/>
              <a:gd name="connsiteY130" fmla="*/ 43026 h 1014573"/>
              <a:gd name="connsiteX131" fmla="*/ 166964 w 921232"/>
              <a:gd name="connsiteY131" fmla="*/ 46227 h 1014573"/>
              <a:gd name="connsiteX132" fmla="*/ 167015 w 921232"/>
              <a:gd name="connsiteY132" fmla="*/ 46344 h 1014573"/>
              <a:gd name="connsiteX133" fmla="*/ 174478 w 921232"/>
              <a:gd name="connsiteY133" fmla="*/ 54305 h 1014573"/>
              <a:gd name="connsiteX134" fmla="*/ 181611 w 921232"/>
              <a:gd name="connsiteY134" fmla="*/ 55798 h 1014573"/>
              <a:gd name="connsiteX135" fmla="*/ 186089 w 921232"/>
              <a:gd name="connsiteY135" fmla="*/ 57125 h 1014573"/>
              <a:gd name="connsiteX136" fmla="*/ 182108 w 921232"/>
              <a:gd name="connsiteY136" fmla="*/ 61935 h 1014573"/>
              <a:gd name="connsiteX137" fmla="*/ 184099 w 921232"/>
              <a:gd name="connsiteY137" fmla="*/ 67907 h 1014573"/>
              <a:gd name="connsiteX138" fmla="*/ 193055 w 921232"/>
              <a:gd name="connsiteY138" fmla="*/ 70892 h 1014573"/>
              <a:gd name="connsiteX139" fmla="*/ 193055 w 921232"/>
              <a:gd name="connsiteY139" fmla="*/ 79517 h 1014573"/>
              <a:gd name="connsiteX140" fmla="*/ 184762 w 921232"/>
              <a:gd name="connsiteY140" fmla="*/ 83166 h 1014573"/>
              <a:gd name="connsiteX141" fmla="*/ 181777 w 921232"/>
              <a:gd name="connsiteY141" fmla="*/ 89967 h 1014573"/>
              <a:gd name="connsiteX142" fmla="*/ 174810 w 921232"/>
              <a:gd name="connsiteY142" fmla="*/ 89967 h 1014573"/>
              <a:gd name="connsiteX143" fmla="*/ 174810 w 921232"/>
              <a:gd name="connsiteY143" fmla="*/ 98260 h 1014573"/>
              <a:gd name="connsiteX144" fmla="*/ 174810 w 921232"/>
              <a:gd name="connsiteY144" fmla="*/ 108710 h 1014573"/>
              <a:gd name="connsiteX145" fmla="*/ 176635 w 921232"/>
              <a:gd name="connsiteY145" fmla="*/ 117501 h 1014573"/>
              <a:gd name="connsiteX146" fmla="*/ 176635 w 921232"/>
              <a:gd name="connsiteY146" fmla="*/ 122145 h 1014573"/>
              <a:gd name="connsiteX147" fmla="*/ 178625 w 921232"/>
              <a:gd name="connsiteY147" fmla="*/ 147689 h 1014573"/>
              <a:gd name="connsiteX148" fmla="*/ 185757 w 921232"/>
              <a:gd name="connsiteY148" fmla="*/ 158471 h 1014573"/>
              <a:gd name="connsiteX149" fmla="*/ 195046 w 921232"/>
              <a:gd name="connsiteY149" fmla="*/ 165105 h 1014573"/>
              <a:gd name="connsiteX150" fmla="*/ 217438 w 921232"/>
              <a:gd name="connsiteY150" fmla="*/ 181692 h 1014573"/>
              <a:gd name="connsiteX151" fmla="*/ 219263 w 921232"/>
              <a:gd name="connsiteY151" fmla="*/ 181692 h 1014573"/>
              <a:gd name="connsiteX152" fmla="*/ 212462 w 921232"/>
              <a:gd name="connsiteY152" fmla="*/ 199108 h 1014573"/>
              <a:gd name="connsiteX153" fmla="*/ 212462 w 921232"/>
              <a:gd name="connsiteY153" fmla="*/ 205080 h 1014573"/>
              <a:gd name="connsiteX154" fmla="*/ 210804 w 921232"/>
              <a:gd name="connsiteY154" fmla="*/ 205080 h 1014573"/>
              <a:gd name="connsiteX155" fmla="*/ 207320 w 921232"/>
              <a:gd name="connsiteY155" fmla="*/ 205080 h 1014573"/>
              <a:gd name="connsiteX156" fmla="*/ 205164 w 921232"/>
              <a:gd name="connsiteY156" fmla="*/ 210387 h 1014573"/>
              <a:gd name="connsiteX157" fmla="*/ 206491 w 921232"/>
              <a:gd name="connsiteY157" fmla="*/ 225648 h 1014573"/>
              <a:gd name="connsiteX158" fmla="*/ 206491 w 921232"/>
              <a:gd name="connsiteY158" fmla="*/ 225648 h 1014573"/>
              <a:gd name="connsiteX159" fmla="*/ 190651 w 921232"/>
              <a:gd name="connsiteY159" fmla="*/ 242948 h 1014573"/>
              <a:gd name="connsiteX160" fmla="*/ 190734 w 921232"/>
              <a:gd name="connsiteY160" fmla="*/ 244059 h 1014573"/>
              <a:gd name="connsiteX161" fmla="*/ 190734 w 921232"/>
              <a:gd name="connsiteY161" fmla="*/ 247210 h 1014573"/>
              <a:gd name="connsiteX162" fmla="*/ 185757 w 921232"/>
              <a:gd name="connsiteY162" fmla="*/ 252850 h 1014573"/>
              <a:gd name="connsiteX163" fmla="*/ 185757 w 921232"/>
              <a:gd name="connsiteY163" fmla="*/ 254177 h 1014573"/>
              <a:gd name="connsiteX164" fmla="*/ 172156 w 921232"/>
              <a:gd name="connsiteY164" fmla="*/ 259650 h 1014573"/>
              <a:gd name="connsiteX165" fmla="*/ 165853 w 921232"/>
              <a:gd name="connsiteY165" fmla="*/ 278725 h 1014573"/>
              <a:gd name="connsiteX166" fmla="*/ 165853 w 921232"/>
              <a:gd name="connsiteY166" fmla="*/ 278725 h 1014573"/>
              <a:gd name="connsiteX167" fmla="*/ 161043 w 921232"/>
              <a:gd name="connsiteY167" fmla="*/ 288180 h 1014573"/>
              <a:gd name="connsiteX168" fmla="*/ 159219 w 921232"/>
              <a:gd name="connsiteY168" fmla="*/ 294980 h 1014573"/>
              <a:gd name="connsiteX169" fmla="*/ 132182 w 921232"/>
              <a:gd name="connsiteY169" fmla="*/ 311567 h 1014573"/>
              <a:gd name="connsiteX170" fmla="*/ 113770 w 921232"/>
              <a:gd name="connsiteY170" fmla="*/ 336281 h 1014573"/>
              <a:gd name="connsiteX171" fmla="*/ 91544 w 921232"/>
              <a:gd name="connsiteY171" fmla="*/ 337609 h 1014573"/>
              <a:gd name="connsiteX172" fmla="*/ 87895 w 921232"/>
              <a:gd name="connsiteY172" fmla="*/ 339765 h 1014573"/>
              <a:gd name="connsiteX173" fmla="*/ 84578 w 921232"/>
              <a:gd name="connsiteY173" fmla="*/ 335784 h 1014573"/>
              <a:gd name="connsiteX174" fmla="*/ 76616 w 921232"/>
              <a:gd name="connsiteY174" fmla="*/ 335784 h 1014573"/>
              <a:gd name="connsiteX175" fmla="*/ 76616 w 921232"/>
              <a:gd name="connsiteY175" fmla="*/ 335784 h 1014573"/>
              <a:gd name="connsiteX176" fmla="*/ 66830 w 921232"/>
              <a:gd name="connsiteY176" fmla="*/ 334125 h 1014573"/>
              <a:gd name="connsiteX177" fmla="*/ 41784 w 921232"/>
              <a:gd name="connsiteY177" fmla="*/ 365308 h 1014573"/>
              <a:gd name="connsiteX178" fmla="*/ 49912 w 921232"/>
              <a:gd name="connsiteY178" fmla="*/ 374431 h 1014573"/>
              <a:gd name="connsiteX179" fmla="*/ 49912 w 921232"/>
              <a:gd name="connsiteY179" fmla="*/ 374431 h 1014573"/>
              <a:gd name="connsiteX180" fmla="*/ 58537 w 921232"/>
              <a:gd name="connsiteY180" fmla="*/ 384383 h 1014573"/>
              <a:gd name="connsiteX181" fmla="*/ 62683 w 921232"/>
              <a:gd name="connsiteY181" fmla="*/ 387037 h 1014573"/>
              <a:gd name="connsiteX182" fmla="*/ 62683 w 921232"/>
              <a:gd name="connsiteY182" fmla="*/ 388530 h 1014573"/>
              <a:gd name="connsiteX183" fmla="*/ 73133 w 921232"/>
              <a:gd name="connsiteY183" fmla="*/ 417889 h 1014573"/>
              <a:gd name="connsiteX184" fmla="*/ 74460 w 921232"/>
              <a:gd name="connsiteY184" fmla="*/ 422201 h 1014573"/>
              <a:gd name="connsiteX185" fmla="*/ 77777 w 921232"/>
              <a:gd name="connsiteY185" fmla="*/ 423031 h 1014573"/>
              <a:gd name="connsiteX186" fmla="*/ 89885 w 921232"/>
              <a:gd name="connsiteY186" fmla="*/ 443930 h 1014573"/>
              <a:gd name="connsiteX187" fmla="*/ 89885 w 921232"/>
              <a:gd name="connsiteY187" fmla="*/ 449238 h 1014573"/>
              <a:gd name="connsiteX188" fmla="*/ 88725 w 921232"/>
              <a:gd name="connsiteY188" fmla="*/ 452555 h 1014573"/>
              <a:gd name="connsiteX189" fmla="*/ 78939 w 921232"/>
              <a:gd name="connsiteY189" fmla="*/ 459521 h 1014573"/>
              <a:gd name="connsiteX190" fmla="*/ 77114 w 921232"/>
              <a:gd name="connsiteY190" fmla="*/ 459521 h 1014573"/>
              <a:gd name="connsiteX191" fmla="*/ 63844 w 921232"/>
              <a:gd name="connsiteY191" fmla="*/ 459521 h 1014573"/>
              <a:gd name="connsiteX192" fmla="*/ 49082 w 921232"/>
              <a:gd name="connsiteY192" fmla="*/ 461180 h 1014573"/>
              <a:gd name="connsiteX193" fmla="*/ 42447 w 921232"/>
              <a:gd name="connsiteY193" fmla="*/ 461180 h 1014573"/>
              <a:gd name="connsiteX194" fmla="*/ 32329 w 921232"/>
              <a:gd name="connsiteY194" fmla="*/ 460185 h 1014573"/>
              <a:gd name="connsiteX195" fmla="*/ 2141 w 921232"/>
              <a:gd name="connsiteY195" fmla="*/ 480919 h 1014573"/>
              <a:gd name="connsiteX196" fmla="*/ -15 w 921232"/>
              <a:gd name="connsiteY196" fmla="*/ 483407 h 1014573"/>
              <a:gd name="connsiteX197" fmla="*/ 30505 w 921232"/>
              <a:gd name="connsiteY197" fmla="*/ 511438 h 1014573"/>
              <a:gd name="connsiteX198" fmla="*/ 66996 w 921232"/>
              <a:gd name="connsiteY198" fmla="*/ 513263 h 1014573"/>
              <a:gd name="connsiteX199" fmla="*/ 66996 w 921232"/>
              <a:gd name="connsiteY199" fmla="*/ 514590 h 1014573"/>
              <a:gd name="connsiteX200" fmla="*/ 66996 w 921232"/>
              <a:gd name="connsiteY200" fmla="*/ 514590 h 1014573"/>
              <a:gd name="connsiteX201" fmla="*/ 65005 w 921232"/>
              <a:gd name="connsiteY201" fmla="*/ 517741 h 1014573"/>
              <a:gd name="connsiteX202" fmla="*/ 35315 w 921232"/>
              <a:gd name="connsiteY202" fmla="*/ 525371 h 1014573"/>
              <a:gd name="connsiteX203" fmla="*/ 34485 w 921232"/>
              <a:gd name="connsiteY203" fmla="*/ 523381 h 1014573"/>
              <a:gd name="connsiteX204" fmla="*/ 29344 w 921232"/>
              <a:gd name="connsiteY204" fmla="*/ 520395 h 1014573"/>
              <a:gd name="connsiteX205" fmla="*/ 27353 w 921232"/>
              <a:gd name="connsiteY205" fmla="*/ 523713 h 1014573"/>
              <a:gd name="connsiteX206" fmla="*/ 27353 w 921232"/>
              <a:gd name="connsiteY206" fmla="*/ 526201 h 1014573"/>
              <a:gd name="connsiteX207" fmla="*/ 20885 w 921232"/>
              <a:gd name="connsiteY207" fmla="*/ 528357 h 1014573"/>
              <a:gd name="connsiteX208" fmla="*/ 49082 w 921232"/>
              <a:gd name="connsiteY208" fmla="*/ 561531 h 1014573"/>
              <a:gd name="connsiteX209" fmla="*/ 49912 w 921232"/>
              <a:gd name="connsiteY209" fmla="*/ 565180 h 1014573"/>
              <a:gd name="connsiteX210" fmla="*/ 59698 w 921232"/>
              <a:gd name="connsiteY210" fmla="*/ 571317 h 1014573"/>
              <a:gd name="connsiteX211" fmla="*/ 77777 w 921232"/>
              <a:gd name="connsiteY211" fmla="*/ 587904 h 1014573"/>
              <a:gd name="connsiteX212" fmla="*/ 86402 w 921232"/>
              <a:gd name="connsiteY212" fmla="*/ 587904 h 1014573"/>
              <a:gd name="connsiteX213" fmla="*/ 86402 w 921232"/>
              <a:gd name="connsiteY213" fmla="*/ 584752 h 1014573"/>
              <a:gd name="connsiteX214" fmla="*/ 92208 w 921232"/>
              <a:gd name="connsiteY214" fmla="*/ 584752 h 1014573"/>
              <a:gd name="connsiteX215" fmla="*/ 127040 w 921232"/>
              <a:gd name="connsiteY215" fmla="*/ 550417 h 1014573"/>
              <a:gd name="connsiteX216" fmla="*/ 125547 w 921232"/>
              <a:gd name="connsiteY216" fmla="*/ 542622 h 1014573"/>
              <a:gd name="connsiteX217" fmla="*/ 125547 w 921232"/>
              <a:gd name="connsiteY217" fmla="*/ 542622 h 1014573"/>
              <a:gd name="connsiteX218" fmla="*/ 125547 w 921232"/>
              <a:gd name="connsiteY218" fmla="*/ 541793 h 1014573"/>
              <a:gd name="connsiteX219" fmla="*/ 132680 w 921232"/>
              <a:gd name="connsiteY219" fmla="*/ 533831 h 1014573"/>
              <a:gd name="connsiteX220" fmla="*/ 133841 w 921232"/>
              <a:gd name="connsiteY220" fmla="*/ 547100 h 1014573"/>
              <a:gd name="connsiteX221" fmla="*/ 137324 w 921232"/>
              <a:gd name="connsiteY221" fmla="*/ 551081 h 1014573"/>
              <a:gd name="connsiteX222" fmla="*/ 137324 w 921232"/>
              <a:gd name="connsiteY222" fmla="*/ 554398 h 1014573"/>
              <a:gd name="connsiteX223" fmla="*/ 139480 w 921232"/>
              <a:gd name="connsiteY223" fmla="*/ 559872 h 1014573"/>
              <a:gd name="connsiteX224" fmla="*/ 140641 w 921232"/>
              <a:gd name="connsiteY224" fmla="*/ 572146 h 1014573"/>
              <a:gd name="connsiteX225" fmla="*/ 139148 w 921232"/>
              <a:gd name="connsiteY225" fmla="*/ 582928 h 1014573"/>
              <a:gd name="connsiteX226" fmla="*/ 139148 w 921232"/>
              <a:gd name="connsiteY226" fmla="*/ 588733 h 1014573"/>
              <a:gd name="connsiteX227" fmla="*/ 138153 w 921232"/>
              <a:gd name="connsiteY227" fmla="*/ 594207 h 1014573"/>
              <a:gd name="connsiteX228" fmla="*/ 138153 w 921232"/>
              <a:gd name="connsiteY228" fmla="*/ 640650 h 1014573"/>
              <a:gd name="connsiteX229" fmla="*/ 149598 w 921232"/>
              <a:gd name="connsiteY229" fmla="*/ 722589 h 1014573"/>
              <a:gd name="connsiteX230" fmla="*/ 152750 w 921232"/>
              <a:gd name="connsiteY230" fmla="*/ 728892 h 1014573"/>
              <a:gd name="connsiteX231" fmla="*/ 154574 w 921232"/>
              <a:gd name="connsiteY231" fmla="*/ 749791 h 1014573"/>
              <a:gd name="connsiteX232" fmla="*/ 157891 w 921232"/>
              <a:gd name="connsiteY232" fmla="*/ 755597 h 1014573"/>
              <a:gd name="connsiteX233" fmla="*/ 166185 w 921232"/>
              <a:gd name="connsiteY233" fmla="*/ 767871 h 1014573"/>
              <a:gd name="connsiteX234" fmla="*/ 167678 w 921232"/>
              <a:gd name="connsiteY234" fmla="*/ 775666 h 1014573"/>
              <a:gd name="connsiteX235" fmla="*/ 177796 w 921232"/>
              <a:gd name="connsiteY235" fmla="*/ 780477 h 1014573"/>
              <a:gd name="connsiteX236" fmla="*/ 180118 w 921232"/>
              <a:gd name="connsiteY236" fmla="*/ 800879 h 1014573"/>
              <a:gd name="connsiteX237" fmla="*/ 188080 w 921232"/>
              <a:gd name="connsiteY237" fmla="*/ 811992 h 1014573"/>
              <a:gd name="connsiteX238" fmla="*/ 188080 w 921232"/>
              <a:gd name="connsiteY238" fmla="*/ 814314 h 1014573"/>
              <a:gd name="connsiteX239" fmla="*/ 189075 w 921232"/>
              <a:gd name="connsiteY239" fmla="*/ 821446 h 1014573"/>
              <a:gd name="connsiteX240" fmla="*/ 192226 w 921232"/>
              <a:gd name="connsiteY240" fmla="*/ 824432 h 1014573"/>
              <a:gd name="connsiteX241" fmla="*/ 199691 w 921232"/>
              <a:gd name="connsiteY241" fmla="*/ 836209 h 1014573"/>
              <a:gd name="connsiteX242" fmla="*/ 201515 w 921232"/>
              <a:gd name="connsiteY242" fmla="*/ 851966 h 1014573"/>
              <a:gd name="connsiteX243" fmla="*/ 203671 w 921232"/>
              <a:gd name="connsiteY243" fmla="*/ 859596 h 1014573"/>
              <a:gd name="connsiteX244" fmla="*/ 205993 w 921232"/>
              <a:gd name="connsiteY244" fmla="*/ 875022 h 1014573"/>
              <a:gd name="connsiteX245" fmla="*/ 209145 w 921232"/>
              <a:gd name="connsiteY245" fmla="*/ 879500 h 1014573"/>
              <a:gd name="connsiteX246" fmla="*/ 213955 w 921232"/>
              <a:gd name="connsiteY246" fmla="*/ 886798 h 1014573"/>
              <a:gd name="connsiteX247" fmla="*/ 219263 w 921232"/>
              <a:gd name="connsiteY247" fmla="*/ 893268 h 1014573"/>
              <a:gd name="connsiteX248" fmla="*/ 224239 w 921232"/>
              <a:gd name="connsiteY248" fmla="*/ 905542 h 1014573"/>
              <a:gd name="connsiteX249" fmla="*/ 228385 w 921232"/>
              <a:gd name="connsiteY249" fmla="*/ 910186 h 1014573"/>
              <a:gd name="connsiteX250" fmla="*/ 229381 w 921232"/>
              <a:gd name="connsiteY250" fmla="*/ 919308 h 1014573"/>
              <a:gd name="connsiteX251" fmla="*/ 237840 w 921232"/>
              <a:gd name="connsiteY251" fmla="*/ 927768 h 1014573"/>
              <a:gd name="connsiteX252" fmla="*/ 239333 w 921232"/>
              <a:gd name="connsiteY252" fmla="*/ 940872 h 1014573"/>
              <a:gd name="connsiteX253" fmla="*/ 241357 w 921232"/>
              <a:gd name="connsiteY253" fmla="*/ 942829 h 1014573"/>
              <a:gd name="connsiteX254" fmla="*/ 241323 w 921232"/>
              <a:gd name="connsiteY254" fmla="*/ 943194 h 1014573"/>
              <a:gd name="connsiteX255" fmla="*/ 241323 w 921232"/>
              <a:gd name="connsiteY255" fmla="*/ 950658 h 1014573"/>
              <a:gd name="connsiteX256" fmla="*/ 244309 w 921232"/>
              <a:gd name="connsiteY256" fmla="*/ 955800 h 1014573"/>
              <a:gd name="connsiteX257" fmla="*/ 247792 w 921232"/>
              <a:gd name="connsiteY257" fmla="*/ 960942 h 1014573"/>
              <a:gd name="connsiteX258" fmla="*/ 249119 w 921232"/>
              <a:gd name="connsiteY258" fmla="*/ 979021 h 1014573"/>
              <a:gd name="connsiteX259" fmla="*/ 251939 w 921232"/>
              <a:gd name="connsiteY259" fmla="*/ 980182 h 1014573"/>
              <a:gd name="connsiteX260" fmla="*/ 253100 w 921232"/>
              <a:gd name="connsiteY260" fmla="*/ 989637 h 1014573"/>
              <a:gd name="connsiteX261" fmla="*/ 255588 w 921232"/>
              <a:gd name="connsiteY261" fmla="*/ 989637 h 1014573"/>
              <a:gd name="connsiteX262" fmla="*/ 255588 w 921232"/>
              <a:gd name="connsiteY262" fmla="*/ 991959 h 1014573"/>
              <a:gd name="connsiteX263" fmla="*/ 261394 w 921232"/>
              <a:gd name="connsiteY263" fmla="*/ 991959 h 1014573"/>
              <a:gd name="connsiteX264" fmla="*/ 272341 w 921232"/>
              <a:gd name="connsiteY264" fmla="*/ 1004897 h 1014573"/>
              <a:gd name="connsiteX265" fmla="*/ 284118 w 921232"/>
              <a:gd name="connsiteY265" fmla="*/ 1008546 h 1014573"/>
              <a:gd name="connsiteX266" fmla="*/ 285278 w 921232"/>
              <a:gd name="connsiteY266" fmla="*/ 1013024 h 1014573"/>
              <a:gd name="connsiteX267" fmla="*/ 291581 w 921232"/>
              <a:gd name="connsiteY267" fmla="*/ 1013024 h 1014573"/>
              <a:gd name="connsiteX268" fmla="*/ 292411 w 921232"/>
              <a:gd name="connsiteY268" fmla="*/ 1013024 h 1014573"/>
              <a:gd name="connsiteX269" fmla="*/ 323428 w 921232"/>
              <a:gd name="connsiteY269" fmla="*/ 992456 h 1014573"/>
              <a:gd name="connsiteX270" fmla="*/ 354279 w 921232"/>
              <a:gd name="connsiteY270" fmla="*/ 961771 h 1014573"/>
              <a:gd name="connsiteX271" fmla="*/ 367052 w 921232"/>
              <a:gd name="connsiteY271" fmla="*/ 939213 h 1014573"/>
              <a:gd name="connsiteX272" fmla="*/ 376008 w 921232"/>
              <a:gd name="connsiteY272" fmla="*/ 915825 h 1014573"/>
              <a:gd name="connsiteX273" fmla="*/ 385795 w 921232"/>
              <a:gd name="connsiteY273" fmla="*/ 873695 h 1014573"/>
              <a:gd name="connsiteX274" fmla="*/ 390771 w 921232"/>
              <a:gd name="connsiteY274" fmla="*/ 819953 h 1014573"/>
              <a:gd name="connsiteX275" fmla="*/ 393093 w 921232"/>
              <a:gd name="connsiteY275" fmla="*/ 778486 h 1014573"/>
              <a:gd name="connsiteX276" fmla="*/ 405367 w 921232"/>
              <a:gd name="connsiteY276" fmla="*/ 751118 h 1014573"/>
              <a:gd name="connsiteX277" fmla="*/ 438541 w 921232"/>
              <a:gd name="connsiteY277" fmla="*/ 728560 h 1014573"/>
              <a:gd name="connsiteX278" fmla="*/ 489130 w 921232"/>
              <a:gd name="connsiteY278" fmla="*/ 688586 h 1014573"/>
              <a:gd name="connsiteX279" fmla="*/ 542706 w 921232"/>
              <a:gd name="connsiteY279" fmla="*/ 634844 h 1014573"/>
              <a:gd name="connsiteX280" fmla="*/ 593296 w 921232"/>
              <a:gd name="connsiteY280" fmla="*/ 600178 h 1014573"/>
              <a:gd name="connsiteX281" fmla="*/ 603580 w 921232"/>
              <a:gd name="connsiteY281" fmla="*/ 565843 h 1014573"/>
              <a:gd name="connsiteX282" fmla="*/ 662960 w 921232"/>
              <a:gd name="connsiteY282" fmla="*/ 545939 h 1014573"/>
              <a:gd name="connsiteX283" fmla="*/ 671254 w 921232"/>
              <a:gd name="connsiteY283" fmla="*/ 545110 h 1014573"/>
              <a:gd name="connsiteX284" fmla="*/ 667439 w 921232"/>
              <a:gd name="connsiteY284" fmla="*/ 511936 h 1014573"/>
              <a:gd name="connsiteX285" fmla="*/ 669761 w 921232"/>
              <a:gd name="connsiteY285" fmla="*/ 508784 h 1014573"/>
              <a:gd name="connsiteX286" fmla="*/ 669761 w 921232"/>
              <a:gd name="connsiteY286" fmla="*/ 504306 h 1014573"/>
              <a:gd name="connsiteX287" fmla="*/ 667273 w 921232"/>
              <a:gd name="connsiteY287" fmla="*/ 493690 h 1014573"/>
              <a:gd name="connsiteX288" fmla="*/ 667273 w 921232"/>
              <a:gd name="connsiteY288" fmla="*/ 478928 h 1014573"/>
              <a:gd name="connsiteX289" fmla="*/ 656492 w 921232"/>
              <a:gd name="connsiteY289" fmla="*/ 469971 h 1014573"/>
              <a:gd name="connsiteX290" fmla="*/ 654999 w 921232"/>
              <a:gd name="connsiteY290" fmla="*/ 453384 h 1014573"/>
              <a:gd name="connsiteX291" fmla="*/ 654999 w 921232"/>
              <a:gd name="connsiteY291" fmla="*/ 445755 h 1014573"/>
              <a:gd name="connsiteX292" fmla="*/ 652179 w 921232"/>
              <a:gd name="connsiteY292" fmla="*/ 442272 h 1014573"/>
              <a:gd name="connsiteX293" fmla="*/ 652179 w 921232"/>
              <a:gd name="connsiteY293" fmla="*/ 434144 h 1014573"/>
              <a:gd name="connsiteX294" fmla="*/ 670093 w 921232"/>
              <a:gd name="connsiteY294" fmla="*/ 420211 h 1014573"/>
              <a:gd name="connsiteX295" fmla="*/ 648199 w 921232"/>
              <a:gd name="connsiteY295" fmla="*/ 392511 h 1014573"/>
              <a:gd name="connsiteX296" fmla="*/ 652510 w 921232"/>
              <a:gd name="connsiteY296" fmla="*/ 387867 h 1014573"/>
              <a:gd name="connsiteX297" fmla="*/ 660639 w 921232"/>
              <a:gd name="connsiteY297" fmla="*/ 389857 h 1014573"/>
              <a:gd name="connsiteX298" fmla="*/ 664453 w 921232"/>
              <a:gd name="connsiteY298" fmla="*/ 391184 h 1014573"/>
              <a:gd name="connsiteX299" fmla="*/ 667605 w 921232"/>
              <a:gd name="connsiteY299" fmla="*/ 391184 h 1014573"/>
              <a:gd name="connsiteX300" fmla="*/ 676064 w 921232"/>
              <a:gd name="connsiteY300" fmla="*/ 393009 h 1014573"/>
              <a:gd name="connsiteX301" fmla="*/ 685353 w 921232"/>
              <a:gd name="connsiteY301" fmla="*/ 394335 h 1014573"/>
              <a:gd name="connsiteX302" fmla="*/ 691656 w 921232"/>
              <a:gd name="connsiteY302" fmla="*/ 401136 h 1014573"/>
              <a:gd name="connsiteX303" fmla="*/ 688338 w 921232"/>
              <a:gd name="connsiteY303" fmla="*/ 413742 h 1014573"/>
              <a:gd name="connsiteX304" fmla="*/ 693148 w 921232"/>
              <a:gd name="connsiteY304" fmla="*/ 422699 h 1014573"/>
              <a:gd name="connsiteX305" fmla="*/ 705422 w 921232"/>
              <a:gd name="connsiteY305" fmla="*/ 424523 h 1014573"/>
              <a:gd name="connsiteX306" fmla="*/ 719190 w 921232"/>
              <a:gd name="connsiteY306" fmla="*/ 429665 h 1014573"/>
              <a:gd name="connsiteX307" fmla="*/ 721014 w 921232"/>
              <a:gd name="connsiteY307" fmla="*/ 445423 h 1014573"/>
              <a:gd name="connsiteX308" fmla="*/ 729307 w 921232"/>
              <a:gd name="connsiteY308" fmla="*/ 445423 h 1014573"/>
              <a:gd name="connsiteX309" fmla="*/ 740752 w 921232"/>
              <a:gd name="connsiteY309" fmla="*/ 439949 h 1014573"/>
              <a:gd name="connsiteX310" fmla="*/ 751534 w 921232"/>
              <a:gd name="connsiteY310" fmla="*/ 437461 h 1014573"/>
              <a:gd name="connsiteX311" fmla="*/ 764638 w 921232"/>
              <a:gd name="connsiteY311" fmla="*/ 432983 h 1014573"/>
              <a:gd name="connsiteX312" fmla="*/ 768287 w 921232"/>
              <a:gd name="connsiteY312" fmla="*/ 436300 h 1014573"/>
              <a:gd name="connsiteX313" fmla="*/ 763145 w 921232"/>
              <a:gd name="connsiteY313" fmla="*/ 446086 h 1014573"/>
              <a:gd name="connsiteX314" fmla="*/ 763145 w 921232"/>
              <a:gd name="connsiteY314" fmla="*/ 452721 h 1014573"/>
              <a:gd name="connsiteX315" fmla="*/ 762150 w 921232"/>
              <a:gd name="connsiteY315" fmla="*/ 459024 h 1014573"/>
              <a:gd name="connsiteX316" fmla="*/ 756842 w 921232"/>
              <a:gd name="connsiteY316" fmla="*/ 462839 h 1014573"/>
              <a:gd name="connsiteX317" fmla="*/ 752695 w 921232"/>
              <a:gd name="connsiteY317" fmla="*/ 465161 h 1014573"/>
              <a:gd name="connsiteX318" fmla="*/ 750041 w 921232"/>
              <a:gd name="connsiteY318" fmla="*/ 467152 h 1014573"/>
              <a:gd name="connsiteX319" fmla="*/ 745729 w 921232"/>
              <a:gd name="connsiteY319" fmla="*/ 469806 h 1014573"/>
              <a:gd name="connsiteX320" fmla="*/ 741417 w 921232"/>
              <a:gd name="connsiteY320" fmla="*/ 471962 h 1014573"/>
              <a:gd name="connsiteX321" fmla="*/ 739591 w 921232"/>
              <a:gd name="connsiteY321" fmla="*/ 476440 h 1014573"/>
              <a:gd name="connsiteX322" fmla="*/ 737436 w 921232"/>
              <a:gd name="connsiteY322" fmla="*/ 482909 h 1014573"/>
              <a:gd name="connsiteX323" fmla="*/ 737436 w 921232"/>
              <a:gd name="connsiteY323" fmla="*/ 488880 h 1014573"/>
              <a:gd name="connsiteX324" fmla="*/ 740752 w 921232"/>
              <a:gd name="connsiteY324" fmla="*/ 495681 h 1014573"/>
              <a:gd name="connsiteX325" fmla="*/ 743075 w 921232"/>
              <a:gd name="connsiteY325" fmla="*/ 497671 h 1014573"/>
              <a:gd name="connsiteX326" fmla="*/ 747885 w 921232"/>
              <a:gd name="connsiteY326" fmla="*/ 502647 h 1014573"/>
              <a:gd name="connsiteX327" fmla="*/ 762481 w 921232"/>
              <a:gd name="connsiteY327" fmla="*/ 488217 h 1014573"/>
              <a:gd name="connsiteX328" fmla="*/ 765302 w 921232"/>
              <a:gd name="connsiteY328" fmla="*/ 483573 h 1014573"/>
              <a:gd name="connsiteX329" fmla="*/ 766297 w 921232"/>
              <a:gd name="connsiteY329" fmla="*/ 482080 h 1014573"/>
              <a:gd name="connsiteX330" fmla="*/ 772600 w 921232"/>
              <a:gd name="connsiteY330" fmla="*/ 477601 h 1014573"/>
              <a:gd name="connsiteX331" fmla="*/ 772600 w 921232"/>
              <a:gd name="connsiteY331" fmla="*/ 477601 h 1014573"/>
              <a:gd name="connsiteX332" fmla="*/ 775585 w 921232"/>
              <a:gd name="connsiteY332" fmla="*/ 493193 h 1014573"/>
              <a:gd name="connsiteX333" fmla="*/ 777078 w 921232"/>
              <a:gd name="connsiteY333" fmla="*/ 504472 h 1014573"/>
              <a:gd name="connsiteX334" fmla="*/ 777908 w 921232"/>
              <a:gd name="connsiteY334" fmla="*/ 512600 h 1014573"/>
              <a:gd name="connsiteX335" fmla="*/ 777908 w 921232"/>
              <a:gd name="connsiteY335" fmla="*/ 520229 h 1014573"/>
              <a:gd name="connsiteX336" fmla="*/ 782718 w 921232"/>
              <a:gd name="connsiteY336" fmla="*/ 523381 h 1014573"/>
              <a:gd name="connsiteX337" fmla="*/ 785703 w 921232"/>
              <a:gd name="connsiteY337" fmla="*/ 539968 h 1014573"/>
              <a:gd name="connsiteX338" fmla="*/ 790513 w 921232"/>
              <a:gd name="connsiteY338" fmla="*/ 536816 h 1014573"/>
              <a:gd name="connsiteX339" fmla="*/ 795158 w 921232"/>
              <a:gd name="connsiteY339" fmla="*/ 529684 h 1014573"/>
              <a:gd name="connsiteX340" fmla="*/ 797977 w 921232"/>
              <a:gd name="connsiteY340" fmla="*/ 527694 h 1014573"/>
              <a:gd name="connsiteX341" fmla="*/ 797977 w 921232"/>
              <a:gd name="connsiteY341" fmla="*/ 517575 h 1014573"/>
              <a:gd name="connsiteX342" fmla="*/ 800300 w 921232"/>
              <a:gd name="connsiteY342" fmla="*/ 514590 h 1014573"/>
              <a:gd name="connsiteX343" fmla="*/ 800300 w 921232"/>
              <a:gd name="connsiteY343" fmla="*/ 500657 h 1014573"/>
              <a:gd name="connsiteX344" fmla="*/ 806437 w 921232"/>
              <a:gd name="connsiteY344" fmla="*/ 468976 h 1014573"/>
              <a:gd name="connsiteX345" fmla="*/ 832644 w 921232"/>
              <a:gd name="connsiteY345" fmla="*/ 470303 h 1014573"/>
              <a:gd name="connsiteX346" fmla="*/ 844420 w 921232"/>
              <a:gd name="connsiteY346" fmla="*/ 429831 h 1014573"/>
              <a:gd name="connsiteX347" fmla="*/ 853709 w 921232"/>
              <a:gd name="connsiteY347" fmla="*/ 389359 h 1014573"/>
              <a:gd name="connsiteX348" fmla="*/ 875935 w 921232"/>
              <a:gd name="connsiteY348" fmla="*/ 363318 h 1014573"/>
              <a:gd name="connsiteX349" fmla="*/ 903469 w 921232"/>
              <a:gd name="connsiteY349" fmla="*/ 351542 h 1014573"/>
              <a:gd name="connsiteX350" fmla="*/ 917900 w 921232"/>
              <a:gd name="connsiteY350" fmla="*/ 351542 h 1014573"/>
              <a:gd name="connsiteX351" fmla="*/ 913256 w 921232"/>
              <a:gd name="connsiteY351" fmla="*/ 335452 h 1014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Lst>
            <a:rect l="l" t="t" r="r" b="b"/>
            <a:pathLst>
              <a:path w="921232" h="1014573">
                <a:moveTo>
                  <a:pt x="913256" y="335452"/>
                </a:moveTo>
                <a:cubicBezTo>
                  <a:pt x="918564" y="332798"/>
                  <a:pt x="921217" y="318865"/>
                  <a:pt x="921217" y="318865"/>
                </a:cubicBezTo>
                <a:cubicBezTo>
                  <a:pt x="921217" y="318865"/>
                  <a:pt x="918398" y="318865"/>
                  <a:pt x="914914" y="317373"/>
                </a:cubicBezTo>
                <a:lnTo>
                  <a:pt x="914914" y="317373"/>
                </a:lnTo>
                <a:lnTo>
                  <a:pt x="912427" y="309411"/>
                </a:lnTo>
                <a:cubicBezTo>
                  <a:pt x="910104" y="302610"/>
                  <a:pt x="904464" y="305098"/>
                  <a:pt x="900816" y="307586"/>
                </a:cubicBezTo>
                <a:cubicBezTo>
                  <a:pt x="897664" y="300122"/>
                  <a:pt x="888210" y="292824"/>
                  <a:pt x="888210" y="286521"/>
                </a:cubicBezTo>
                <a:cubicBezTo>
                  <a:pt x="888210" y="280218"/>
                  <a:pt x="880911" y="282374"/>
                  <a:pt x="873779" y="287351"/>
                </a:cubicBezTo>
                <a:lnTo>
                  <a:pt x="873779" y="285692"/>
                </a:lnTo>
                <a:lnTo>
                  <a:pt x="875603" y="282540"/>
                </a:lnTo>
                <a:lnTo>
                  <a:pt x="875603" y="278559"/>
                </a:lnTo>
                <a:cubicBezTo>
                  <a:pt x="875603" y="268939"/>
                  <a:pt x="869300" y="271593"/>
                  <a:pt x="869300" y="271593"/>
                </a:cubicBezTo>
                <a:cubicBezTo>
                  <a:pt x="859681" y="272920"/>
                  <a:pt x="858686" y="277398"/>
                  <a:pt x="858686" y="277398"/>
                </a:cubicBezTo>
                <a:lnTo>
                  <a:pt x="848402" y="278725"/>
                </a:lnTo>
                <a:lnTo>
                  <a:pt x="848402" y="287682"/>
                </a:lnTo>
                <a:cubicBezTo>
                  <a:pt x="842712" y="286852"/>
                  <a:pt x="836906" y="287848"/>
                  <a:pt x="831815" y="290502"/>
                </a:cubicBezTo>
                <a:lnTo>
                  <a:pt x="829824" y="291663"/>
                </a:lnTo>
                <a:lnTo>
                  <a:pt x="829824" y="291663"/>
                </a:lnTo>
                <a:lnTo>
                  <a:pt x="825677" y="289672"/>
                </a:lnTo>
                <a:cubicBezTo>
                  <a:pt x="819375" y="274081"/>
                  <a:pt x="803451" y="291165"/>
                  <a:pt x="803451" y="291165"/>
                </a:cubicBezTo>
                <a:cubicBezTo>
                  <a:pt x="803733" y="297336"/>
                  <a:pt x="802174" y="303456"/>
                  <a:pt x="798972" y="308747"/>
                </a:cubicBezTo>
                <a:lnTo>
                  <a:pt x="790016" y="310904"/>
                </a:lnTo>
                <a:lnTo>
                  <a:pt x="780727" y="313558"/>
                </a:lnTo>
                <a:lnTo>
                  <a:pt x="778903" y="320690"/>
                </a:lnTo>
                <a:lnTo>
                  <a:pt x="776581" y="326827"/>
                </a:lnTo>
                <a:lnTo>
                  <a:pt x="768784" y="330808"/>
                </a:lnTo>
                <a:lnTo>
                  <a:pt x="746724" y="334955"/>
                </a:lnTo>
                <a:cubicBezTo>
                  <a:pt x="742412" y="341258"/>
                  <a:pt x="751866" y="347892"/>
                  <a:pt x="751866" y="347892"/>
                </a:cubicBezTo>
                <a:lnTo>
                  <a:pt x="757008" y="356517"/>
                </a:lnTo>
                <a:cubicBezTo>
                  <a:pt x="753028" y="360896"/>
                  <a:pt x="748084" y="364296"/>
                  <a:pt x="742578" y="366470"/>
                </a:cubicBezTo>
                <a:cubicBezTo>
                  <a:pt x="736324" y="367349"/>
                  <a:pt x="730518" y="370185"/>
                  <a:pt x="725991" y="374597"/>
                </a:cubicBezTo>
                <a:cubicBezTo>
                  <a:pt x="725991" y="374597"/>
                  <a:pt x="722341" y="376090"/>
                  <a:pt x="721678" y="376256"/>
                </a:cubicBezTo>
                <a:lnTo>
                  <a:pt x="721678" y="376256"/>
                </a:lnTo>
                <a:lnTo>
                  <a:pt x="707082" y="372607"/>
                </a:lnTo>
                <a:lnTo>
                  <a:pt x="684192" y="369787"/>
                </a:lnTo>
                <a:cubicBezTo>
                  <a:pt x="680128" y="366453"/>
                  <a:pt x="675168" y="364429"/>
                  <a:pt x="669927" y="363982"/>
                </a:cubicBezTo>
                <a:lnTo>
                  <a:pt x="669927" y="363982"/>
                </a:lnTo>
                <a:cubicBezTo>
                  <a:pt x="665664" y="358674"/>
                  <a:pt x="663955" y="351757"/>
                  <a:pt x="665283" y="345072"/>
                </a:cubicBezTo>
                <a:cubicBezTo>
                  <a:pt x="667937" y="334789"/>
                  <a:pt x="660141" y="320358"/>
                  <a:pt x="654833" y="328486"/>
                </a:cubicBezTo>
                <a:cubicBezTo>
                  <a:pt x="653075" y="331040"/>
                  <a:pt x="650587" y="332997"/>
                  <a:pt x="647701" y="334125"/>
                </a:cubicBezTo>
                <a:lnTo>
                  <a:pt x="644383" y="329481"/>
                </a:lnTo>
                <a:lnTo>
                  <a:pt x="640900" y="317538"/>
                </a:lnTo>
                <a:lnTo>
                  <a:pt x="629953" y="316045"/>
                </a:lnTo>
                <a:cubicBezTo>
                  <a:pt x="620830" y="317041"/>
                  <a:pt x="625640" y="329315"/>
                  <a:pt x="625640" y="329315"/>
                </a:cubicBezTo>
                <a:cubicBezTo>
                  <a:pt x="624397" y="331355"/>
                  <a:pt x="623401" y="333512"/>
                  <a:pt x="622654" y="335784"/>
                </a:cubicBezTo>
                <a:cubicBezTo>
                  <a:pt x="622389" y="338371"/>
                  <a:pt x="622389" y="340992"/>
                  <a:pt x="622654" y="343580"/>
                </a:cubicBezTo>
                <a:cubicBezTo>
                  <a:pt x="623998" y="345454"/>
                  <a:pt x="625159" y="347461"/>
                  <a:pt x="626138" y="349551"/>
                </a:cubicBezTo>
                <a:lnTo>
                  <a:pt x="626138" y="359669"/>
                </a:lnTo>
                <a:cubicBezTo>
                  <a:pt x="626138" y="359669"/>
                  <a:pt x="624811" y="364645"/>
                  <a:pt x="624314" y="365972"/>
                </a:cubicBezTo>
                <a:cubicBezTo>
                  <a:pt x="623501" y="367465"/>
                  <a:pt x="622439" y="368825"/>
                  <a:pt x="621162" y="369953"/>
                </a:cubicBezTo>
                <a:lnTo>
                  <a:pt x="616020" y="371611"/>
                </a:lnTo>
                <a:lnTo>
                  <a:pt x="609385" y="375261"/>
                </a:lnTo>
                <a:lnTo>
                  <a:pt x="603248" y="376256"/>
                </a:lnTo>
                <a:lnTo>
                  <a:pt x="595121" y="373768"/>
                </a:lnTo>
                <a:cubicBezTo>
                  <a:pt x="578534" y="368460"/>
                  <a:pt x="576874" y="377748"/>
                  <a:pt x="576874" y="377748"/>
                </a:cubicBezTo>
                <a:lnTo>
                  <a:pt x="568747" y="377748"/>
                </a:lnTo>
                <a:lnTo>
                  <a:pt x="562776" y="376090"/>
                </a:lnTo>
                <a:cubicBezTo>
                  <a:pt x="558099" y="372590"/>
                  <a:pt x="553040" y="369638"/>
                  <a:pt x="547682" y="367299"/>
                </a:cubicBezTo>
                <a:cubicBezTo>
                  <a:pt x="545210" y="367697"/>
                  <a:pt x="542689" y="367697"/>
                  <a:pt x="540218" y="367299"/>
                </a:cubicBezTo>
                <a:cubicBezTo>
                  <a:pt x="539671" y="366835"/>
                  <a:pt x="539223" y="366271"/>
                  <a:pt x="538891" y="365640"/>
                </a:cubicBezTo>
                <a:cubicBezTo>
                  <a:pt x="537564" y="359171"/>
                  <a:pt x="527114" y="347395"/>
                  <a:pt x="520480" y="347395"/>
                </a:cubicBezTo>
                <a:cubicBezTo>
                  <a:pt x="517477" y="347677"/>
                  <a:pt x="514525" y="348340"/>
                  <a:pt x="511688" y="349385"/>
                </a:cubicBezTo>
                <a:lnTo>
                  <a:pt x="510527" y="347063"/>
                </a:lnTo>
                <a:lnTo>
                  <a:pt x="499580" y="347063"/>
                </a:lnTo>
                <a:lnTo>
                  <a:pt x="494935" y="353698"/>
                </a:lnTo>
                <a:cubicBezTo>
                  <a:pt x="492945" y="354062"/>
                  <a:pt x="490889" y="353698"/>
                  <a:pt x="489130" y="352702"/>
                </a:cubicBezTo>
                <a:cubicBezTo>
                  <a:pt x="480987" y="345769"/>
                  <a:pt x="471582" y="340478"/>
                  <a:pt x="461431" y="337111"/>
                </a:cubicBezTo>
                <a:cubicBezTo>
                  <a:pt x="452308" y="335784"/>
                  <a:pt x="437878" y="329315"/>
                  <a:pt x="436551" y="324007"/>
                </a:cubicBezTo>
                <a:cubicBezTo>
                  <a:pt x="435223" y="318699"/>
                  <a:pt x="414324" y="316211"/>
                  <a:pt x="410343" y="311070"/>
                </a:cubicBezTo>
                <a:cubicBezTo>
                  <a:pt x="406362" y="305928"/>
                  <a:pt x="393756" y="304435"/>
                  <a:pt x="393756" y="297966"/>
                </a:cubicBezTo>
                <a:cubicBezTo>
                  <a:pt x="393756" y="291497"/>
                  <a:pt x="399064" y="281379"/>
                  <a:pt x="399064" y="273252"/>
                </a:cubicBezTo>
                <a:cubicBezTo>
                  <a:pt x="399064" y="265124"/>
                  <a:pt x="414822" y="257494"/>
                  <a:pt x="414822" y="252352"/>
                </a:cubicBezTo>
                <a:cubicBezTo>
                  <a:pt x="414822" y="247210"/>
                  <a:pt x="400391" y="237922"/>
                  <a:pt x="400391" y="237922"/>
                </a:cubicBezTo>
                <a:cubicBezTo>
                  <a:pt x="400391" y="237922"/>
                  <a:pt x="391103" y="221335"/>
                  <a:pt x="380653" y="221335"/>
                </a:cubicBezTo>
                <a:cubicBezTo>
                  <a:pt x="370203" y="221335"/>
                  <a:pt x="362241" y="203089"/>
                  <a:pt x="353119" y="201762"/>
                </a:cubicBezTo>
                <a:cubicBezTo>
                  <a:pt x="348806" y="201762"/>
                  <a:pt x="347147" y="196786"/>
                  <a:pt x="345986" y="191478"/>
                </a:cubicBezTo>
                <a:cubicBezTo>
                  <a:pt x="346069" y="190649"/>
                  <a:pt x="346069" y="189820"/>
                  <a:pt x="345986" y="188990"/>
                </a:cubicBezTo>
                <a:cubicBezTo>
                  <a:pt x="345986" y="187498"/>
                  <a:pt x="347976" y="184180"/>
                  <a:pt x="347811" y="183185"/>
                </a:cubicBezTo>
                <a:cubicBezTo>
                  <a:pt x="347645" y="182190"/>
                  <a:pt x="352787" y="180697"/>
                  <a:pt x="352787" y="180697"/>
                </a:cubicBezTo>
                <a:lnTo>
                  <a:pt x="359090" y="178043"/>
                </a:lnTo>
                <a:lnTo>
                  <a:pt x="357929" y="170413"/>
                </a:lnTo>
                <a:lnTo>
                  <a:pt x="351626" y="163612"/>
                </a:lnTo>
                <a:lnTo>
                  <a:pt x="350299" y="161954"/>
                </a:lnTo>
                <a:cubicBezTo>
                  <a:pt x="359587" y="168423"/>
                  <a:pt x="375345" y="160958"/>
                  <a:pt x="369042" y="149514"/>
                </a:cubicBezTo>
                <a:cubicBezTo>
                  <a:pt x="362739" y="138069"/>
                  <a:pt x="354778" y="131268"/>
                  <a:pt x="352455" y="124799"/>
                </a:cubicBezTo>
                <a:lnTo>
                  <a:pt x="353948" y="123970"/>
                </a:lnTo>
                <a:lnTo>
                  <a:pt x="367715" y="107383"/>
                </a:lnTo>
                <a:cubicBezTo>
                  <a:pt x="373072" y="104829"/>
                  <a:pt x="377750" y="101014"/>
                  <a:pt x="381316" y="96270"/>
                </a:cubicBezTo>
                <a:lnTo>
                  <a:pt x="382311" y="96270"/>
                </a:lnTo>
                <a:lnTo>
                  <a:pt x="383638" y="93948"/>
                </a:lnTo>
                <a:cubicBezTo>
                  <a:pt x="390173" y="86136"/>
                  <a:pt x="395747" y="77560"/>
                  <a:pt x="400225" y="68404"/>
                </a:cubicBezTo>
                <a:cubicBezTo>
                  <a:pt x="401220" y="65750"/>
                  <a:pt x="398566" y="61438"/>
                  <a:pt x="394254" y="56959"/>
                </a:cubicBezTo>
                <a:lnTo>
                  <a:pt x="392595" y="51486"/>
                </a:lnTo>
                <a:lnTo>
                  <a:pt x="385297" y="47671"/>
                </a:lnTo>
                <a:lnTo>
                  <a:pt x="383638" y="47671"/>
                </a:lnTo>
                <a:cubicBezTo>
                  <a:pt x="377352" y="42446"/>
                  <a:pt x="369905" y="38797"/>
                  <a:pt x="361910" y="37055"/>
                </a:cubicBezTo>
                <a:cubicBezTo>
                  <a:pt x="346650" y="37702"/>
                  <a:pt x="332634" y="45680"/>
                  <a:pt x="324257" y="58452"/>
                </a:cubicBezTo>
                <a:lnTo>
                  <a:pt x="324257" y="58452"/>
                </a:lnTo>
                <a:cubicBezTo>
                  <a:pt x="320608" y="54471"/>
                  <a:pt x="312149" y="60774"/>
                  <a:pt x="312149" y="60774"/>
                </a:cubicBezTo>
                <a:lnTo>
                  <a:pt x="302363" y="60774"/>
                </a:lnTo>
                <a:lnTo>
                  <a:pt x="294401" y="54969"/>
                </a:lnTo>
                <a:lnTo>
                  <a:pt x="289425" y="51320"/>
                </a:lnTo>
                <a:lnTo>
                  <a:pt x="280136" y="49163"/>
                </a:lnTo>
                <a:lnTo>
                  <a:pt x="276819" y="39211"/>
                </a:lnTo>
                <a:lnTo>
                  <a:pt x="269687" y="33904"/>
                </a:lnTo>
                <a:lnTo>
                  <a:pt x="261725" y="28264"/>
                </a:lnTo>
                <a:lnTo>
                  <a:pt x="253100" y="24947"/>
                </a:lnTo>
                <a:lnTo>
                  <a:pt x="243148" y="14663"/>
                </a:lnTo>
                <a:lnTo>
                  <a:pt x="233030" y="2720"/>
                </a:lnTo>
                <a:lnTo>
                  <a:pt x="227390" y="4711"/>
                </a:lnTo>
                <a:lnTo>
                  <a:pt x="221419" y="4711"/>
                </a:lnTo>
                <a:lnTo>
                  <a:pt x="219927" y="1559"/>
                </a:lnTo>
                <a:lnTo>
                  <a:pt x="215614" y="-100"/>
                </a:lnTo>
                <a:lnTo>
                  <a:pt x="212628" y="4213"/>
                </a:lnTo>
                <a:lnTo>
                  <a:pt x="207984" y="3384"/>
                </a:lnTo>
                <a:lnTo>
                  <a:pt x="202013" y="6204"/>
                </a:lnTo>
                <a:lnTo>
                  <a:pt x="198197" y="9521"/>
                </a:lnTo>
                <a:lnTo>
                  <a:pt x="192890" y="6701"/>
                </a:lnTo>
                <a:lnTo>
                  <a:pt x="187084" y="5374"/>
                </a:lnTo>
                <a:lnTo>
                  <a:pt x="189241" y="9853"/>
                </a:lnTo>
                <a:lnTo>
                  <a:pt x="192226" y="12838"/>
                </a:lnTo>
                <a:lnTo>
                  <a:pt x="185426" y="13833"/>
                </a:lnTo>
                <a:lnTo>
                  <a:pt x="177796" y="11677"/>
                </a:lnTo>
                <a:lnTo>
                  <a:pt x="169170" y="11677"/>
                </a:lnTo>
                <a:lnTo>
                  <a:pt x="167844" y="18478"/>
                </a:lnTo>
                <a:lnTo>
                  <a:pt x="163531" y="20800"/>
                </a:lnTo>
                <a:lnTo>
                  <a:pt x="155404" y="27932"/>
                </a:lnTo>
                <a:lnTo>
                  <a:pt x="151257" y="27932"/>
                </a:lnTo>
                <a:lnTo>
                  <a:pt x="150096" y="36060"/>
                </a:lnTo>
                <a:lnTo>
                  <a:pt x="150096" y="42197"/>
                </a:lnTo>
                <a:cubicBezTo>
                  <a:pt x="152617" y="43657"/>
                  <a:pt x="155636" y="43955"/>
                  <a:pt x="158389" y="43026"/>
                </a:cubicBezTo>
                <a:cubicBezTo>
                  <a:pt x="161640" y="41550"/>
                  <a:pt x="165472" y="42976"/>
                  <a:pt x="166964" y="46227"/>
                </a:cubicBezTo>
                <a:cubicBezTo>
                  <a:pt x="166981" y="46261"/>
                  <a:pt x="166998" y="46311"/>
                  <a:pt x="167015" y="46344"/>
                </a:cubicBezTo>
                <a:cubicBezTo>
                  <a:pt x="168507" y="48832"/>
                  <a:pt x="172820" y="51486"/>
                  <a:pt x="174478" y="54305"/>
                </a:cubicBezTo>
                <a:cubicBezTo>
                  <a:pt x="176137" y="57125"/>
                  <a:pt x="179952" y="52978"/>
                  <a:pt x="181611" y="55798"/>
                </a:cubicBezTo>
                <a:cubicBezTo>
                  <a:pt x="183269" y="58618"/>
                  <a:pt x="185923" y="54139"/>
                  <a:pt x="186089" y="57125"/>
                </a:cubicBezTo>
                <a:cubicBezTo>
                  <a:pt x="186255" y="60111"/>
                  <a:pt x="182274" y="59116"/>
                  <a:pt x="182108" y="61935"/>
                </a:cubicBezTo>
                <a:cubicBezTo>
                  <a:pt x="181943" y="64755"/>
                  <a:pt x="183104" y="67575"/>
                  <a:pt x="184099" y="67907"/>
                </a:cubicBezTo>
                <a:cubicBezTo>
                  <a:pt x="185094" y="68238"/>
                  <a:pt x="193055" y="67907"/>
                  <a:pt x="193055" y="70892"/>
                </a:cubicBezTo>
                <a:cubicBezTo>
                  <a:pt x="193055" y="73878"/>
                  <a:pt x="193055" y="78190"/>
                  <a:pt x="193055" y="79517"/>
                </a:cubicBezTo>
                <a:cubicBezTo>
                  <a:pt x="193055" y="80844"/>
                  <a:pt x="184431" y="82669"/>
                  <a:pt x="184762" y="83166"/>
                </a:cubicBezTo>
                <a:cubicBezTo>
                  <a:pt x="181279" y="87313"/>
                  <a:pt x="182274" y="85655"/>
                  <a:pt x="181777" y="89967"/>
                </a:cubicBezTo>
                <a:cubicBezTo>
                  <a:pt x="181777" y="89967"/>
                  <a:pt x="174810" y="89967"/>
                  <a:pt x="174810" y="89967"/>
                </a:cubicBezTo>
                <a:lnTo>
                  <a:pt x="174810" y="98260"/>
                </a:lnTo>
                <a:lnTo>
                  <a:pt x="174810" y="108710"/>
                </a:lnTo>
                <a:lnTo>
                  <a:pt x="176635" y="117501"/>
                </a:lnTo>
                <a:lnTo>
                  <a:pt x="176635" y="122145"/>
                </a:lnTo>
                <a:lnTo>
                  <a:pt x="178625" y="147689"/>
                </a:lnTo>
                <a:lnTo>
                  <a:pt x="185757" y="158471"/>
                </a:lnTo>
                <a:cubicBezTo>
                  <a:pt x="185757" y="158471"/>
                  <a:pt x="179620" y="167262"/>
                  <a:pt x="195046" y="165105"/>
                </a:cubicBezTo>
                <a:cubicBezTo>
                  <a:pt x="201929" y="171375"/>
                  <a:pt x="209427" y="176932"/>
                  <a:pt x="217438" y="181692"/>
                </a:cubicBezTo>
                <a:lnTo>
                  <a:pt x="219263" y="181692"/>
                </a:lnTo>
                <a:cubicBezTo>
                  <a:pt x="215614" y="186851"/>
                  <a:pt x="213275" y="192838"/>
                  <a:pt x="212462" y="199108"/>
                </a:cubicBezTo>
                <a:cubicBezTo>
                  <a:pt x="212462" y="201099"/>
                  <a:pt x="212462" y="203089"/>
                  <a:pt x="212462" y="205080"/>
                </a:cubicBezTo>
                <a:lnTo>
                  <a:pt x="210804" y="205080"/>
                </a:lnTo>
                <a:lnTo>
                  <a:pt x="207320" y="205080"/>
                </a:lnTo>
                <a:lnTo>
                  <a:pt x="205164" y="210387"/>
                </a:lnTo>
                <a:lnTo>
                  <a:pt x="206491" y="225648"/>
                </a:lnTo>
                <a:lnTo>
                  <a:pt x="206491" y="225648"/>
                </a:lnTo>
                <a:cubicBezTo>
                  <a:pt x="197335" y="226045"/>
                  <a:pt x="190253" y="233792"/>
                  <a:pt x="190651" y="242948"/>
                </a:cubicBezTo>
                <a:cubicBezTo>
                  <a:pt x="190667" y="243312"/>
                  <a:pt x="190700" y="243694"/>
                  <a:pt x="190734" y="244059"/>
                </a:cubicBezTo>
                <a:cubicBezTo>
                  <a:pt x="190833" y="245103"/>
                  <a:pt x="190833" y="246165"/>
                  <a:pt x="190734" y="247210"/>
                </a:cubicBezTo>
                <a:lnTo>
                  <a:pt x="185757" y="252850"/>
                </a:lnTo>
                <a:lnTo>
                  <a:pt x="185757" y="254177"/>
                </a:lnTo>
                <a:cubicBezTo>
                  <a:pt x="180615" y="256665"/>
                  <a:pt x="173815" y="256499"/>
                  <a:pt x="172156" y="259650"/>
                </a:cubicBezTo>
                <a:cubicBezTo>
                  <a:pt x="170498" y="262802"/>
                  <a:pt x="168341" y="270764"/>
                  <a:pt x="165853" y="278725"/>
                </a:cubicBezTo>
                <a:lnTo>
                  <a:pt x="165853" y="278725"/>
                </a:lnTo>
                <a:lnTo>
                  <a:pt x="161043" y="288180"/>
                </a:lnTo>
                <a:lnTo>
                  <a:pt x="159219" y="294980"/>
                </a:lnTo>
                <a:cubicBezTo>
                  <a:pt x="154408" y="298629"/>
                  <a:pt x="133509" y="300122"/>
                  <a:pt x="132182" y="311567"/>
                </a:cubicBezTo>
                <a:cubicBezTo>
                  <a:pt x="130855" y="323012"/>
                  <a:pt x="120406" y="337609"/>
                  <a:pt x="113770" y="336281"/>
                </a:cubicBezTo>
                <a:cubicBezTo>
                  <a:pt x="107136" y="334955"/>
                  <a:pt x="95359" y="329813"/>
                  <a:pt x="91544" y="337609"/>
                </a:cubicBezTo>
                <a:cubicBezTo>
                  <a:pt x="90781" y="338919"/>
                  <a:pt x="89404" y="339732"/>
                  <a:pt x="87895" y="339765"/>
                </a:cubicBezTo>
                <a:lnTo>
                  <a:pt x="84578" y="335784"/>
                </a:lnTo>
                <a:lnTo>
                  <a:pt x="76616" y="335784"/>
                </a:lnTo>
                <a:lnTo>
                  <a:pt x="76616" y="335784"/>
                </a:lnTo>
                <a:cubicBezTo>
                  <a:pt x="72303" y="333960"/>
                  <a:pt x="68323" y="332466"/>
                  <a:pt x="66830" y="334125"/>
                </a:cubicBezTo>
                <a:cubicBezTo>
                  <a:pt x="65337" y="335784"/>
                  <a:pt x="41784" y="354859"/>
                  <a:pt x="41784" y="365308"/>
                </a:cubicBezTo>
                <a:cubicBezTo>
                  <a:pt x="41784" y="369621"/>
                  <a:pt x="45599" y="372109"/>
                  <a:pt x="49912" y="374431"/>
                </a:cubicBezTo>
                <a:lnTo>
                  <a:pt x="49912" y="374431"/>
                </a:lnTo>
                <a:lnTo>
                  <a:pt x="58537" y="384383"/>
                </a:lnTo>
                <a:lnTo>
                  <a:pt x="62683" y="387037"/>
                </a:lnTo>
                <a:cubicBezTo>
                  <a:pt x="62683" y="387037"/>
                  <a:pt x="62683" y="388032"/>
                  <a:pt x="62683" y="388530"/>
                </a:cubicBezTo>
                <a:cubicBezTo>
                  <a:pt x="62534" y="399245"/>
                  <a:pt x="66249" y="409662"/>
                  <a:pt x="73133" y="417889"/>
                </a:cubicBezTo>
                <a:lnTo>
                  <a:pt x="74460" y="422201"/>
                </a:lnTo>
                <a:lnTo>
                  <a:pt x="77777" y="423031"/>
                </a:lnTo>
                <a:cubicBezTo>
                  <a:pt x="83383" y="428952"/>
                  <a:pt x="87530" y="436118"/>
                  <a:pt x="89885" y="443930"/>
                </a:cubicBezTo>
                <a:lnTo>
                  <a:pt x="89885" y="449238"/>
                </a:lnTo>
                <a:cubicBezTo>
                  <a:pt x="89753" y="450416"/>
                  <a:pt x="89355" y="451543"/>
                  <a:pt x="88725" y="452555"/>
                </a:cubicBezTo>
                <a:cubicBezTo>
                  <a:pt x="86452" y="456022"/>
                  <a:pt x="82952" y="458510"/>
                  <a:pt x="78939" y="459521"/>
                </a:cubicBezTo>
                <a:lnTo>
                  <a:pt x="77114" y="459521"/>
                </a:lnTo>
                <a:cubicBezTo>
                  <a:pt x="72735" y="460417"/>
                  <a:pt x="68223" y="460417"/>
                  <a:pt x="63844" y="459521"/>
                </a:cubicBezTo>
                <a:cubicBezTo>
                  <a:pt x="58868" y="458560"/>
                  <a:pt x="53726" y="459140"/>
                  <a:pt x="49082" y="461180"/>
                </a:cubicBezTo>
                <a:lnTo>
                  <a:pt x="42447" y="461180"/>
                </a:lnTo>
                <a:cubicBezTo>
                  <a:pt x="39047" y="461097"/>
                  <a:pt x="35680" y="460766"/>
                  <a:pt x="32329" y="460185"/>
                </a:cubicBezTo>
                <a:cubicBezTo>
                  <a:pt x="11264" y="456204"/>
                  <a:pt x="9937" y="471796"/>
                  <a:pt x="2141" y="480919"/>
                </a:cubicBezTo>
                <a:lnTo>
                  <a:pt x="-15" y="483407"/>
                </a:lnTo>
                <a:cubicBezTo>
                  <a:pt x="9937" y="491202"/>
                  <a:pt x="14084" y="505135"/>
                  <a:pt x="30505" y="511438"/>
                </a:cubicBezTo>
                <a:cubicBezTo>
                  <a:pt x="49746" y="518737"/>
                  <a:pt x="66996" y="499164"/>
                  <a:pt x="66996" y="513263"/>
                </a:cubicBezTo>
                <a:cubicBezTo>
                  <a:pt x="67062" y="513694"/>
                  <a:pt x="67062" y="514159"/>
                  <a:pt x="66996" y="514590"/>
                </a:cubicBezTo>
                <a:lnTo>
                  <a:pt x="66996" y="514590"/>
                </a:lnTo>
                <a:lnTo>
                  <a:pt x="65005" y="517741"/>
                </a:lnTo>
                <a:cubicBezTo>
                  <a:pt x="55849" y="522601"/>
                  <a:pt x="45682" y="525222"/>
                  <a:pt x="35315" y="525371"/>
                </a:cubicBezTo>
                <a:lnTo>
                  <a:pt x="34485" y="523381"/>
                </a:lnTo>
                <a:lnTo>
                  <a:pt x="29344" y="520395"/>
                </a:lnTo>
                <a:lnTo>
                  <a:pt x="27353" y="523713"/>
                </a:lnTo>
                <a:lnTo>
                  <a:pt x="27353" y="526201"/>
                </a:lnTo>
                <a:cubicBezTo>
                  <a:pt x="23704" y="526201"/>
                  <a:pt x="21050" y="527362"/>
                  <a:pt x="20885" y="528357"/>
                </a:cubicBezTo>
                <a:cubicBezTo>
                  <a:pt x="28315" y="540946"/>
                  <a:pt x="37853" y="552175"/>
                  <a:pt x="49082" y="561531"/>
                </a:cubicBezTo>
                <a:lnTo>
                  <a:pt x="49912" y="565180"/>
                </a:lnTo>
                <a:cubicBezTo>
                  <a:pt x="49912" y="565180"/>
                  <a:pt x="49912" y="568663"/>
                  <a:pt x="59698" y="571317"/>
                </a:cubicBezTo>
                <a:cubicBezTo>
                  <a:pt x="66780" y="575580"/>
                  <a:pt x="72934" y="581219"/>
                  <a:pt x="77777" y="587904"/>
                </a:cubicBezTo>
                <a:lnTo>
                  <a:pt x="86402" y="587904"/>
                </a:lnTo>
                <a:lnTo>
                  <a:pt x="86402" y="584752"/>
                </a:lnTo>
                <a:cubicBezTo>
                  <a:pt x="88326" y="585001"/>
                  <a:pt x="90284" y="585001"/>
                  <a:pt x="92208" y="584752"/>
                </a:cubicBezTo>
                <a:cubicBezTo>
                  <a:pt x="116259" y="580274"/>
                  <a:pt x="134006" y="554398"/>
                  <a:pt x="127040" y="550417"/>
                </a:cubicBezTo>
                <a:cubicBezTo>
                  <a:pt x="124552" y="549091"/>
                  <a:pt x="124386" y="545939"/>
                  <a:pt x="125547" y="542622"/>
                </a:cubicBezTo>
                <a:lnTo>
                  <a:pt x="125547" y="542622"/>
                </a:lnTo>
                <a:lnTo>
                  <a:pt x="125547" y="541793"/>
                </a:lnTo>
                <a:cubicBezTo>
                  <a:pt x="127040" y="538458"/>
                  <a:pt x="129528" y="535688"/>
                  <a:pt x="132680" y="533831"/>
                </a:cubicBezTo>
                <a:lnTo>
                  <a:pt x="133841" y="547100"/>
                </a:lnTo>
                <a:cubicBezTo>
                  <a:pt x="134139" y="548991"/>
                  <a:pt x="135499" y="550533"/>
                  <a:pt x="137324" y="551081"/>
                </a:cubicBezTo>
                <a:lnTo>
                  <a:pt x="137324" y="554398"/>
                </a:lnTo>
                <a:cubicBezTo>
                  <a:pt x="137324" y="554398"/>
                  <a:pt x="138485" y="559208"/>
                  <a:pt x="139480" y="559872"/>
                </a:cubicBezTo>
                <a:lnTo>
                  <a:pt x="140641" y="572146"/>
                </a:lnTo>
                <a:cubicBezTo>
                  <a:pt x="140641" y="572146"/>
                  <a:pt x="137988" y="572146"/>
                  <a:pt x="139148" y="582928"/>
                </a:cubicBezTo>
                <a:lnTo>
                  <a:pt x="139148" y="588733"/>
                </a:lnTo>
                <a:cubicBezTo>
                  <a:pt x="139148" y="588733"/>
                  <a:pt x="136826" y="588733"/>
                  <a:pt x="138153" y="594207"/>
                </a:cubicBezTo>
                <a:cubicBezTo>
                  <a:pt x="138153" y="594207"/>
                  <a:pt x="130855" y="607145"/>
                  <a:pt x="138153" y="640650"/>
                </a:cubicBezTo>
                <a:cubicBezTo>
                  <a:pt x="138153" y="640650"/>
                  <a:pt x="143461" y="688420"/>
                  <a:pt x="149598" y="722589"/>
                </a:cubicBezTo>
                <a:cubicBezTo>
                  <a:pt x="149598" y="722589"/>
                  <a:pt x="150428" y="727565"/>
                  <a:pt x="152750" y="728892"/>
                </a:cubicBezTo>
                <a:lnTo>
                  <a:pt x="154574" y="749791"/>
                </a:lnTo>
                <a:cubicBezTo>
                  <a:pt x="154574" y="749791"/>
                  <a:pt x="157228" y="749791"/>
                  <a:pt x="157891" y="755597"/>
                </a:cubicBezTo>
                <a:cubicBezTo>
                  <a:pt x="157891" y="755597"/>
                  <a:pt x="161873" y="765549"/>
                  <a:pt x="166185" y="767871"/>
                </a:cubicBezTo>
                <a:cubicBezTo>
                  <a:pt x="167512" y="770243"/>
                  <a:pt x="168043" y="772980"/>
                  <a:pt x="167678" y="775666"/>
                </a:cubicBezTo>
                <a:cubicBezTo>
                  <a:pt x="167678" y="775666"/>
                  <a:pt x="170995" y="783297"/>
                  <a:pt x="177796" y="780477"/>
                </a:cubicBezTo>
                <a:lnTo>
                  <a:pt x="180118" y="800879"/>
                </a:lnTo>
                <a:cubicBezTo>
                  <a:pt x="180118" y="800879"/>
                  <a:pt x="184264" y="810665"/>
                  <a:pt x="188080" y="811992"/>
                </a:cubicBezTo>
                <a:lnTo>
                  <a:pt x="188080" y="814314"/>
                </a:lnTo>
                <a:lnTo>
                  <a:pt x="189075" y="821446"/>
                </a:lnTo>
                <a:lnTo>
                  <a:pt x="192226" y="824432"/>
                </a:lnTo>
                <a:lnTo>
                  <a:pt x="199691" y="836209"/>
                </a:lnTo>
                <a:lnTo>
                  <a:pt x="201515" y="851966"/>
                </a:lnTo>
                <a:lnTo>
                  <a:pt x="203671" y="859596"/>
                </a:lnTo>
                <a:lnTo>
                  <a:pt x="205993" y="875022"/>
                </a:lnTo>
                <a:lnTo>
                  <a:pt x="209145" y="879500"/>
                </a:lnTo>
                <a:lnTo>
                  <a:pt x="213955" y="886798"/>
                </a:lnTo>
                <a:lnTo>
                  <a:pt x="219263" y="893268"/>
                </a:lnTo>
                <a:lnTo>
                  <a:pt x="224239" y="905542"/>
                </a:lnTo>
                <a:lnTo>
                  <a:pt x="228385" y="910186"/>
                </a:lnTo>
                <a:lnTo>
                  <a:pt x="229381" y="919308"/>
                </a:lnTo>
                <a:cubicBezTo>
                  <a:pt x="229381" y="919308"/>
                  <a:pt x="234855" y="927602"/>
                  <a:pt x="237840" y="927768"/>
                </a:cubicBezTo>
                <a:lnTo>
                  <a:pt x="239333" y="940872"/>
                </a:lnTo>
                <a:cubicBezTo>
                  <a:pt x="240428" y="940855"/>
                  <a:pt x="241340" y="941734"/>
                  <a:pt x="241357" y="942829"/>
                </a:cubicBezTo>
                <a:cubicBezTo>
                  <a:pt x="241357" y="942961"/>
                  <a:pt x="241340" y="943078"/>
                  <a:pt x="241323" y="943194"/>
                </a:cubicBezTo>
                <a:lnTo>
                  <a:pt x="241323" y="950658"/>
                </a:lnTo>
                <a:cubicBezTo>
                  <a:pt x="241323" y="950658"/>
                  <a:pt x="242484" y="955136"/>
                  <a:pt x="244309" y="955800"/>
                </a:cubicBezTo>
                <a:cubicBezTo>
                  <a:pt x="246134" y="956463"/>
                  <a:pt x="247626" y="959117"/>
                  <a:pt x="247792" y="960942"/>
                </a:cubicBezTo>
                <a:lnTo>
                  <a:pt x="249119" y="979021"/>
                </a:lnTo>
                <a:cubicBezTo>
                  <a:pt x="249749" y="979933"/>
                  <a:pt x="250861" y="980381"/>
                  <a:pt x="251939" y="980182"/>
                </a:cubicBezTo>
                <a:lnTo>
                  <a:pt x="253100" y="989637"/>
                </a:lnTo>
                <a:lnTo>
                  <a:pt x="255588" y="989637"/>
                </a:lnTo>
                <a:lnTo>
                  <a:pt x="255588" y="991959"/>
                </a:lnTo>
                <a:lnTo>
                  <a:pt x="261394" y="991959"/>
                </a:lnTo>
                <a:cubicBezTo>
                  <a:pt x="266203" y="995127"/>
                  <a:pt x="270002" y="999622"/>
                  <a:pt x="272341" y="1004897"/>
                </a:cubicBezTo>
                <a:cubicBezTo>
                  <a:pt x="272341" y="1004897"/>
                  <a:pt x="282790" y="1010371"/>
                  <a:pt x="284118" y="1008546"/>
                </a:cubicBezTo>
                <a:lnTo>
                  <a:pt x="285278" y="1013024"/>
                </a:lnTo>
                <a:lnTo>
                  <a:pt x="291581" y="1013024"/>
                </a:lnTo>
                <a:lnTo>
                  <a:pt x="292411" y="1013024"/>
                </a:lnTo>
                <a:cubicBezTo>
                  <a:pt x="300704" y="1018829"/>
                  <a:pt x="318949" y="1006224"/>
                  <a:pt x="323428" y="992456"/>
                </a:cubicBezTo>
                <a:cubicBezTo>
                  <a:pt x="327906" y="978690"/>
                  <a:pt x="352787" y="973382"/>
                  <a:pt x="354279" y="961771"/>
                </a:cubicBezTo>
                <a:cubicBezTo>
                  <a:pt x="355773" y="950160"/>
                  <a:pt x="358260" y="940706"/>
                  <a:pt x="367052" y="939213"/>
                </a:cubicBezTo>
                <a:cubicBezTo>
                  <a:pt x="375842" y="937720"/>
                  <a:pt x="376008" y="928432"/>
                  <a:pt x="376008" y="915825"/>
                </a:cubicBezTo>
                <a:cubicBezTo>
                  <a:pt x="374781" y="901096"/>
                  <a:pt x="378198" y="886367"/>
                  <a:pt x="385795" y="873695"/>
                </a:cubicBezTo>
                <a:cubicBezTo>
                  <a:pt x="394437" y="857125"/>
                  <a:pt x="396211" y="837834"/>
                  <a:pt x="390771" y="819953"/>
                </a:cubicBezTo>
                <a:cubicBezTo>
                  <a:pt x="386392" y="806319"/>
                  <a:pt x="387221" y="791540"/>
                  <a:pt x="393093" y="778486"/>
                </a:cubicBezTo>
                <a:cubicBezTo>
                  <a:pt x="398069" y="766212"/>
                  <a:pt x="396079" y="752113"/>
                  <a:pt x="405367" y="751118"/>
                </a:cubicBezTo>
                <a:cubicBezTo>
                  <a:pt x="418868" y="748050"/>
                  <a:pt x="430728" y="739988"/>
                  <a:pt x="438541" y="728560"/>
                </a:cubicBezTo>
                <a:cubicBezTo>
                  <a:pt x="454133" y="713698"/>
                  <a:pt x="471068" y="700312"/>
                  <a:pt x="489130" y="688586"/>
                </a:cubicBezTo>
                <a:cubicBezTo>
                  <a:pt x="508968" y="672762"/>
                  <a:pt x="526949" y="654732"/>
                  <a:pt x="542706" y="634844"/>
                </a:cubicBezTo>
                <a:cubicBezTo>
                  <a:pt x="552492" y="618258"/>
                  <a:pt x="580524" y="613282"/>
                  <a:pt x="593296" y="600178"/>
                </a:cubicBezTo>
                <a:cubicBezTo>
                  <a:pt x="606067" y="587074"/>
                  <a:pt x="601092" y="580108"/>
                  <a:pt x="603580" y="565843"/>
                </a:cubicBezTo>
                <a:cubicBezTo>
                  <a:pt x="606067" y="551579"/>
                  <a:pt x="647203" y="545939"/>
                  <a:pt x="662960" y="545939"/>
                </a:cubicBezTo>
                <a:cubicBezTo>
                  <a:pt x="665747" y="545955"/>
                  <a:pt x="668533" y="545690"/>
                  <a:pt x="671254" y="545110"/>
                </a:cubicBezTo>
                <a:cubicBezTo>
                  <a:pt x="671022" y="533963"/>
                  <a:pt x="669744" y="522850"/>
                  <a:pt x="667439" y="511936"/>
                </a:cubicBezTo>
                <a:lnTo>
                  <a:pt x="669761" y="508784"/>
                </a:lnTo>
                <a:cubicBezTo>
                  <a:pt x="669761" y="508784"/>
                  <a:pt x="671752" y="509780"/>
                  <a:pt x="669761" y="504306"/>
                </a:cubicBezTo>
                <a:lnTo>
                  <a:pt x="667273" y="493690"/>
                </a:lnTo>
                <a:lnTo>
                  <a:pt x="667273" y="478928"/>
                </a:lnTo>
                <a:cubicBezTo>
                  <a:pt x="667273" y="478928"/>
                  <a:pt x="658813" y="469308"/>
                  <a:pt x="656492" y="469971"/>
                </a:cubicBezTo>
                <a:lnTo>
                  <a:pt x="654999" y="453384"/>
                </a:lnTo>
                <a:cubicBezTo>
                  <a:pt x="654999" y="453384"/>
                  <a:pt x="657818" y="451892"/>
                  <a:pt x="654999" y="445755"/>
                </a:cubicBezTo>
                <a:cubicBezTo>
                  <a:pt x="654186" y="444494"/>
                  <a:pt x="653240" y="443316"/>
                  <a:pt x="652179" y="442272"/>
                </a:cubicBezTo>
                <a:cubicBezTo>
                  <a:pt x="651897" y="439567"/>
                  <a:pt x="651897" y="436848"/>
                  <a:pt x="652179" y="434144"/>
                </a:cubicBezTo>
                <a:cubicBezTo>
                  <a:pt x="654170" y="424192"/>
                  <a:pt x="666278" y="432153"/>
                  <a:pt x="670093" y="420211"/>
                </a:cubicBezTo>
                <a:cubicBezTo>
                  <a:pt x="673908" y="408268"/>
                  <a:pt x="636920" y="408434"/>
                  <a:pt x="648199" y="392511"/>
                </a:cubicBezTo>
                <a:cubicBezTo>
                  <a:pt x="649475" y="390819"/>
                  <a:pt x="650919" y="389260"/>
                  <a:pt x="652510" y="387867"/>
                </a:cubicBezTo>
                <a:cubicBezTo>
                  <a:pt x="655181" y="388679"/>
                  <a:pt x="657901" y="389343"/>
                  <a:pt x="660639" y="389857"/>
                </a:cubicBezTo>
                <a:lnTo>
                  <a:pt x="664453" y="391184"/>
                </a:lnTo>
                <a:lnTo>
                  <a:pt x="667605" y="391184"/>
                </a:lnTo>
                <a:cubicBezTo>
                  <a:pt x="670258" y="392378"/>
                  <a:pt x="673145" y="393009"/>
                  <a:pt x="676064" y="393009"/>
                </a:cubicBezTo>
                <a:cubicBezTo>
                  <a:pt x="679216" y="392975"/>
                  <a:pt x="682350" y="393423"/>
                  <a:pt x="685353" y="394335"/>
                </a:cubicBezTo>
                <a:cubicBezTo>
                  <a:pt x="687824" y="396226"/>
                  <a:pt x="689947" y="398532"/>
                  <a:pt x="691656" y="401136"/>
                </a:cubicBezTo>
                <a:cubicBezTo>
                  <a:pt x="691656" y="402629"/>
                  <a:pt x="686182" y="409429"/>
                  <a:pt x="688338" y="413742"/>
                </a:cubicBezTo>
                <a:cubicBezTo>
                  <a:pt x="690495" y="418054"/>
                  <a:pt x="693148" y="422699"/>
                  <a:pt x="693148" y="422699"/>
                </a:cubicBezTo>
                <a:lnTo>
                  <a:pt x="705422" y="424523"/>
                </a:lnTo>
                <a:cubicBezTo>
                  <a:pt x="707248" y="424523"/>
                  <a:pt x="719190" y="429665"/>
                  <a:pt x="719190" y="429665"/>
                </a:cubicBezTo>
                <a:lnTo>
                  <a:pt x="721014" y="445423"/>
                </a:lnTo>
                <a:lnTo>
                  <a:pt x="729307" y="445423"/>
                </a:lnTo>
                <a:lnTo>
                  <a:pt x="740752" y="439949"/>
                </a:lnTo>
                <a:lnTo>
                  <a:pt x="751534" y="437461"/>
                </a:lnTo>
                <a:lnTo>
                  <a:pt x="764638" y="432983"/>
                </a:lnTo>
                <a:lnTo>
                  <a:pt x="768287" y="436300"/>
                </a:lnTo>
                <a:lnTo>
                  <a:pt x="763145" y="446086"/>
                </a:lnTo>
                <a:cubicBezTo>
                  <a:pt x="762697" y="448276"/>
                  <a:pt x="762697" y="450532"/>
                  <a:pt x="763145" y="452721"/>
                </a:cubicBezTo>
                <a:cubicBezTo>
                  <a:pt x="762979" y="454844"/>
                  <a:pt x="762647" y="456951"/>
                  <a:pt x="762150" y="459024"/>
                </a:cubicBezTo>
                <a:cubicBezTo>
                  <a:pt x="760540" y="460500"/>
                  <a:pt x="758766" y="461794"/>
                  <a:pt x="756842" y="462839"/>
                </a:cubicBezTo>
                <a:cubicBezTo>
                  <a:pt x="755349" y="463403"/>
                  <a:pt x="753956" y="464199"/>
                  <a:pt x="752695" y="465161"/>
                </a:cubicBezTo>
                <a:lnTo>
                  <a:pt x="750041" y="467152"/>
                </a:lnTo>
                <a:cubicBezTo>
                  <a:pt x="748300" y="467417"/>
                  <a:pt x="746741" y="468379"/>
                  <a:pt x="745729" y="469806"/>
                </a:cubicBezTo>
                <a:lnTo>
                  <a:pt x="741417" y="471962"/>
                </a:lnTo>
                <a:cubicBezTo>
                  <a:pt x="740620" y="473372"/>
                  <a:pt x="740006" y="474881"/>
                  <a:pt x="739591" y="476440"/>
                </a:cubicBezTo>
                <a:cubicBezTo>
                  <a:pt x="739591" y="477269"/>
                  <a:pt x="737601" y="481748"/>
                  <a:pt x="737436" y="482909"/>
                </a:cubicBezTo>
                <a:cubicBezTo>
                  <a:pt x="737286" y="484899"/>
                  <a:pt x="737286" y="486890"/>
                  <a:pt x="737436" y="488880"/>
                </a:cubicBezTo>
                <a:lnTo>
                  <a:pt x="740752" y="495681"/>
                </a:lnTo>
                <a:lnTo>
                  <a:pt x="743075" y="497671"/>
                </a:lnTo>
                <a:cubicBezTo>
                  <a:pt x="743838" y="499977"/>
                  <a:pt x="745613" y="501801"/>
                  <a:pt x="747885" y="502647"/>
                </a:cubicBezTo>
                <a:cubicBezTo>
                  <a:pt x="753359" y="503642"/>
                  <a:pt x="758334" y="495681"/>
                  <a:pt x="762481" y="488217"/>
                </a:cubicBezTo>
                <a:lnTo>
                  <a:pt x="765302" y="483573"/>
                </a:lnTo>
                <a:lnTo>
                  <a:pt x="766297" y="482080"/>
                </a:lnTo>
                <a:lnTo>
                  <a:pt x="772600" y="477601"/>
                </a:lnTo>
                <a:lnTo>
                  <a:pt x="772600" y="477601"/>
                </a:lnTo>
                <a:lnTo>
                  <a:pt x="775585" y="493193"/>
                </a:lnTo>
                <a:lnTo>
                  <a:pt x="777078" y="504472"/>
                </a:lnTo>
                <a:cubicBezTo>
                  <a:pt x="777144" y="507192"/>
                  <a:pt x="777410" y="509913"/>
                  <a:pt x="777908" y="512600"/>
                </a:cubicBezTo>
                <a:cubicBezTo>
                  <a:pt x="778272" y="515137"/>
                  <a:pt x="778272" y="517692"/>
                  <a:pt x="777908" y="520229"/>
                </a:cubicBezTo>
                <a:lnTo>
                  <a:pt x="782718" y="523381"/>
                </a:lnTo>
                <a:cubicBezTo>
                  <a:pt x="783713" y="529020"/>
                  <a:pt x="784542" y="534660"/>
                  <a:pt x="785703" y="539968"/>
                </a:cubicBezTo>
                <a:cubicBezTo>
                  <a:pt x="786781" y="538276"/>
                  <a:pt x="788523" y="537132"/>
                  <a:pt x="790513" y="536816"/>
                </a:cubicBezTo>
                <a:cubicBezTo>
                  <a:pt x="793001" y="536816"/>
                  <a:pt x="794329" y="533831"/>
                  <a:pt x="795158" y="529684"/>
                </a:cubicBezTo>
                <a:lnTo>
                  <a:pt x="797977" y="527694"/>
                </a:lnTo>
                <a:lnTo>
                  <a:pt x="797977" y="517575"/>
                </a:lnTo>
                <a:lnTo>
                  <a:pt x="800300" y="514590"/>
                </a:lnTo>
                <a:lnTo>
                  <a:pt x="800300" y="500657"/>
                </a:lnTo>
                <a:cubicBezTo>
                  <a:pt x="804943" y="492032"/>
                  <a:pt x="802622" y="468976"/>
                  <a:pt x="806437" y="468976"/>
                </a:cubicBezTo>
                <a:cubicBezTo>
                  <a:pt x="810251" y="468976"/>
                  <a:pt x="833970" y="476772"/>
                  <a:pt x="832644" y="470303"/>
                </a:cubicBezTo>
                <a:cubicBezTo>
                  <a:pt x="831317" y="463834"/>
                  <a:pt x="847075" y="441608"/>
                  <a:pt x="844420" y="429831"/>
                </a:cubicBezTo>
                <a:cubicBezTo>
                  <a:pt x="841767" y="418054"/>
                  <a:pt x="853709" y="403790"/>
                  <a:pt x="853709" y="389359"/>
                </a:cubicBezTo>
                <a:cubicBezTo>
                  <a:pt x="853709" y="374929"/>
                  <a:pt x="866813" y="371114"/>
                  <a:pt x="875935" y="363318"/>
                </a:cubicBezTo>
                <a:cubicBezTo>
                  <a:pt x="885058" y="355522"/>
                  <a:pt x="900816" y="345072"/>
                  <a:pt x="903469" y="351542"/>
                </a:cubicBezTo>
                <a:cubicBezTo>
                  <a:pt x="906124" y="358010"/>
                  <a:pt x="925862" y="363318"/>
                  <a:pt x="917900" y="351542"/>
                </a:cubicBezTo>
                <a:cubicBezTo>
                  <a:pt x="909938" y="339765"/>
                  <a:pt x="908114" y="337940"/>
                  <a:pt x="913256" y="335452"/>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34" name="Freeform: Shape 533">
            <a:extLst>
              <a:ext uri="{FF2B5EF4-FFF2-40B4-BE49-F238E27FC236}">
                <a16:creationId xmlns:a16="http://schemas.microsoft.com/office/drawing/2014/main" id="{0942A161-D286-432D-8FA9-4DD48C89446C}"/>
              </a:ext>
            </a:extLst>
          </p:cNvPr>
          <p:cNvSpPr/>
          <p:nvPr/>
        </p:nvSpPr>
        <p:spPr>
          <a:xfrm>
            <a:off x="6934228" y="3672018"/>
            <a:ext cx="370204" cy="373656"/>
          </a:xfrm>
          <a:custGeom>
            <a:avLst/>
            <a:gdLst>
              <a:gd name="connsiteX0" fmla="*/ 248290 w 466919"/>
              <a:gd name="connsiteY0" fmla="*/ 473596 h 480495"/>
              <a:gd name="connsiteX1" fmla="*/ 254261 w 466919"/>
              <a:gd name="connsiteY1" fmla="*/ 464639 h 480495"/>
              <a:gd name="connsiteX2" fmla="*/ 256417 w 466919"/>
              <a:gd name="connsiteY2" fmla="*/ 460990 h 480495"/>
              <a:gd name="connsiteX3" fmla="*/ 256417 w 466919"/>
              <a:gd name="connsiteY3" fmla="*/ 460990 h 480495"/>
              <a:gd name="connsiteX4" fmla="*/ 257412 w 466919"/>
              <a:gd name="connsiteY4" fmla="*/ 459497 h 480495"/>
              <a:gd name="connsiteX5" fmla="*/ 278478 w 466919"/>
              <a:gd name="connsiteY5" fmla="*/ 452862 h 480495"/>
              <a:gd name="connsiteX6" fmla="*/ 280136 w 466919"/>
              <a:gd name="connsiteY6" fmla="*/ 452862 h 480495"/>
              <a:gd name="connsiteX7" fmla="*/ 288596 w 466919"/>
              <a:gd name="connsiteY7" fmla="*/ 453691 h 480495"/>
              <a:gd name="connsiteX8" fmla="*/ 295230 w 466919"/>
              <a:gd name="connsiteY8" fmla="*/ 453691 h 480495"/>
              <a:gd name="connsiteX9" fmla="*/ 305017 w 466919"/>
              <a:gd name="connsiteY9" fmla="*/ 451369 h 480495"/>
              <a:gd name="connsiteX10" fmla="*/ 308832 w 466919"/>
              <a:gd name="connsiteY10" fmla="*/ 451369 h 480495"/>
              <a:gd name="connsiteX11" fmla="*/ 309827 w 466919"/>
              <a:gd name="connsiteY11" fmla="*/ 451369 h 480495"/>
              <a:gd name="connsiteX12" fmla="*/ 309827 w 466919"/>
              <a:gd name="connsiteY12" fmla="*/ 451369 h 480495"/>
              <a:gd name="connsiteX13" fmla="*/ 323096 w 466919"/>
              <a:gd name="connsiteY13" fmla="*/ 451369 h 480495"/>
              <a:gd name="connsiteX14" fmla="*/ 324921 w 466919"/>
              <a:gd name="connsiteY14" fmla="*/ 451369 h 480495"/>
              <a:gd name="connsiteX15" fmla="*/ 333712 w 466919"/>
              <a:gd name="connsiteY15" fmla="*/ 445729 h 480495"/>
              <a:gd name="connsiteX16" fmla="*/ 334707 w 466919"/>
              <a:gd name="connsiteY16" fmla="*/ 444403 h 480495"/>
              <a:gd name="connsiteX17" fmla="*/ 334707 w 466919"/>
              <a:gd name="connsiteY17" fmla="*/ 444403 h 480495"/>
              <a:gd name="connsiteX18" fmla="*/ 335702 w 466919"/>
              <a:gd name="connsiteY18" fmla="*/ 441583 h 480495"/>
              <a:gd name="connsiteX19" fmla="*/ 335702 w 466919"/>
              <a:gd name="connsiteY19" fmla="*/ 436275 h 480495"/>
              <a:gd name="connsiteX20" fmla="*/ 323594 w 466919"/>
              <a:gd name="connsiteY20" fmla="*/ 415376 h 480495"/>
              <a:gd name="connsiteX21" fmla="*/ 320277 w 466919"/>
              <a:gd name="connsiteY21" fmla="*/ 414546 h 480495"/>
              <a:gd name="connsiteX22" fmla="*/ 318949 w 466919"/>
              <a:gd name="connsiteY22" fmla="*/ 410399 h 480495"/>
              <a:gd name="connsiteX23" fmla="*/ 308832 w 466919"/>
              <a:gd name="connsiteY23" fmla="*/ 389003 h 480495"/>
              <a:gd name="connsiteX24" fmla="*/ 308832 w 466919"/>
              <a:gd name="connsiteY24" fmla="*/ 389003 h 480495"/>
              <a:gd name="connsiteX25" fmla="*/ 308832 w 466919"/>
              <a:gd name="connsiteY25" fmla="*/ 387178 h 480495"/>
              <a:gd name="connsiteX26" fmla="*/ 308832 w 466919"/>
              <a:gd name="connsiteY26" fmla="*/ 387178 h 480495"/>
              <a:gd name="connsiteX27" fmla="*/ 308832 w 466919"/>
              <a:gd name="connsiteY27" fmla="*/ 385519 h 480495"/>
              <a:gd name="connsiteX28" fmla="*/ 308832 w 466919"/>
              <a:gd name="connsiteY28" fmla="*/ 383695 h 480495"/>
              <a:gd name="connsiteX29" fmla="*/ 308832 w 466919"/>
              <a:gd name="connsiteY29" fmla="*/ 381871 h 480495"/>
              <a:gd name="connsiteX30" fmla="*/ 308832 w 466919"/>
              <a:gd name="connsiteY30" fmla="*/ 381871 h 480495"/>
              <a:gd name="connsiteX31" fmla="*/ 308832 w 466919"/>
              <a:gd name="connsiteY31" fmla="*/ 380377 h 480495"/>
              <a:gd name="connsiteX32" fmla="*/ 304685 w 466919"/>
              <a:gd name="connsiteY32" fmla="*/ 377724 h 480495"/>
              <a:gd name="connsiteX33" fmla="*/ 296060 w 466919"/>
              <a:gd name="connsiteY33" fmla="*/ 367772 h 480495"/>
              <a:gd name="connsiteX34" fmla="*/ 296060 w 466919"/>
              <a:gd name="connsiteY34" fmla="*/ 367772 h 480495"/>
              <a:gd name="connsiteX35" fmla="*/ 289923 w 466919"/>
              <a:gd name="connsiteY35" fmla="*/ 363459 h 480495"/>
              <a:gd name="connsiteX36" fmla="*/ 289923 w 466919"/>
              <a:gd name="connsiteY36" fmla="*/ 363459 h 480495"/>
              <a:gd name="connsiteX37" fmla="*/ 288927 w 466919"/>
              <a:gd name="connsiteY37" fmla="*/ 361800 h 480495"/>
              <a:gd name="connsiteX38" fmla="*/ 288927 w 466919"/>
              <a:gd name="connsiteY38" fmla="*/ 359478 h 480495"/>
              <a:gd name="connsiteX39" fmla="*/ 288927 w 466919"/>
              <a:gd name="connsiteY39" fmla="*/ 358649 h 480495"/>
              <a:gd name="connsiteX40" fmla="*/ 288927 w 466919"/>
              <a:gd name="connsiteY40" fmla="*/ 358649 h 480495"/>
              <a:gd name="connsiteX41" fmla="*/ 313974 w 466919"/>
              <a:gd name="connsiteY41" fmla="*/ 327465 h 480495"/>
              <a:gd name="connsiteX42" fmla="*/ 319282 w 466919"/>
              <a:gd name="connsiteY42" fmla="*/ 327465 h 480495"/>
              <a:gd name="connsiteX43" fmla="*/ 323760 w 466919"/>
              <a:gd name="connsiteY43" fmla="*/ 329124 h 480495"/>
              <a:gd name="connsiteX44" fmla="*/ 323760 w 466919"/>
              <a:gd name="connsiteY44" fmla="*/ 329124 h 480495"/>
              <a:gd name="connsiteX45" fmla="*/ 331722 w 466919"/>
              <a:gd name="connsiteY45" fmla="*/ 329124 h 480495"/>
              <a:gd name="connsiteX46" fmla="*/ 335039 w 466919"/>
              <a:gd name="connsiteY46" fmla="*/ 333105 h 480495"/>
              <a:gd name="connsiteX47" fmla="*/ 338356 w 466919"/>
              <a:gd name="connsiteY47" fmla="*/ 331446 h 480495"/>
              <a:gd name="connsiteX48" fmla="*/ 338356 w 466919"/>
              <a:gd name="connsiteY48" fmla="*/ 331446 h 480495"/>
              <a:gd name="connsiteX49" fmla="*/ 338356 w 466919"/>
              <a:gd name="connsiteY49" fmla="*/ 331446 h 480495"/>
              <a:gd name="connsiteX50" fmla="*/ 346152 w 466919"/>
              <a:gd name="connsiteY50" fmla="*/ 327300 h 480495"/>
              <a:gd name="connsiteX51" fmla="*/ 349469 w 466919"/>
              <a:gd name="connsiteY51" fmla="*/ 327300 h 480495"/>
              <a:gd name="connsiteX52" fmla="*/ 360583 w 466919"/>
              <a:gd name="connsiteY52" fmla="*/ 329954 h 480495"/>
              <a:gd name="connsiteX53" fmla="*/ 378662 w 466919"/>
              <a:gd name="connsiteY53" fmla="*/ 307395 h 480495"/>
              <a:gd name="connsiteX54" fmla="*/ 378662 w 466919"/>
              <a:gd name="connsiteY54" fmla="*/ 305239 h 480495"/>
              <a:gd name="connsiteX55" fmla="*/ 378662 w 466919"/>
              <a:gd name="connsiteY55" fmla="*/ 305239 h 480495"/>
              <a:gd name="connsiteX56" fmla="*/ 378662 w 466919"/>
              <a:gd name="connsiteY56" fmla="*/ 304078 h 480495"/>
              <a:gd name="connsiteX57" fmla="*/ 378662 w 466919"/>
              <a:gd name="connsiteY57" fmla="*/ 304078 h 480495"/>
              <a:gd name="connsiteX58" fmla="*/ 378662 w 466919"/>
              <a:gd name="connsiteY58" fmla="*/ 303249 h 480495"/>
              <a:gd name="connsiteX59" fmla="*/ 378662 w 466919"/>
              <a:gd name="connsiteY59" fmla="*/ 303249 h 480495"/>
              <a:gd name="connsiteX60" fmla="*/ 378662 w 466919"/>
              <a:gd name="connsiteY60" fmla="*/ 303249 h 480495"/>
              <a:gd name="connsiteX61" fmla="*/ 378662 w 466919"/>
              <a:gd name="connsiteY61" fmla="*/ 303249 h 480495"/>
              <a:gd name="connsiteX62" fmla="*/ 404704 w 466919"/>
              <a:gd name="connsiteY62" fmla="*/ 289813 h 480495"/>
              <a:gd name="connsiteX63" fmla="*/ 406528 w 466919"/>
              <a:gd name="connsiteY63" fmla="*/ 283013 h 480495"/>
              <a:gd name="connsiteX64" fmla="*/ 411338 w 466919"/>
              <a:gd name="connsiteY64" fmla="*/ 273558 h 480495"/>
              <a:gd name="connsiteX65" fmla="*/ 411338 w 466919"/>
              <a:gd name="connsiteY65" fmla="*/ 273558 h 480495"/>
              <a:gd name="connsiteX66" fmla="*/ 416480 w 466919"/>
              <a:gd name="connsiteY66" fmla="*/ 256971 h 480495"/>
              <a:gd name="connsiteX67" fmla="*/ 416480 w 466919"/>
              <a:gd name="connsiteY67" fmla="*/ 256971 h 480495"/>
              <a:gd name="connsiteX68" fmla="*/ 416480 w 466919"/>
              <a:gd name="connsiteY68" fmla="*/ 256142 h 480495"/>
              <a:gd name="connsiteX69" fmla="*/ 416480 w 466919"/>
              <a:gd name="connsiteY69" fmla="*/ 256142 h 480495"/>
              <a:gd name="connsiteX70" fmla="*/ 416480 w 466919"/>
              <a:gd name="connsiteY70" fmla="*/ 251000 h 480495"/>
              <a:gd name="connsiteX71" fmla="*/ 416480 w 466919"/>
              <a:gd name="connsiteY71" fmla="*/ 251000 h 480495"/>
              <a:gd name="connsiteX72" fmla="*/ 416480 w 466919"/>
              <a:gd name="connsiteY72" fmla="*/ 251000 h 480495"/>
              <a:gd name="connsiteX73" fmla="*/ 416480 w 466919"/>
              <a:gd name="connsiteY73" fmla="*/ 251000 h 480495"/>
              <a:gd name="connsiteX74" fmla="*/ 416480 w 466919"/>
              <a:gd name="connsiteY74" fmla="*/ 251000 h 480495"/>
              <a:gd name="connsiteX75" fmla="*/ 416480 w 466919"/>
              <a:gd name="connsiteY75" fmla="*/ 251000 h 480495"/>
              <a:gd name="connsiteX76" fmla="*/ 416480 w 466919"/>
              <a:gd name="connsiteY76" fmla="*/ 251000 h 480495"/>
              <a:gd name="connsiteX77" fmla="*/ 420129 w 466919"/>
              <a:gd name="connsiteY77" fmla="*/ 251000 h 480495"/>
              <a:gd name="connsiteX78" fmla="*/ 431906 w 466919"/>
              <a:gd name="connsiteY78" fmla="*/ 247185 h 480495"/>
              <a:gd name="connsiteX79" fmla="*/ 431906 w 466919"/>
              <a:gd name="connsiteY79" fmla="*/ 245858 h 480495"/>
              <a:gd name="connsiteX80" fmla="*/ 436882 w 466919"/>
              <a:gd name="connsiteY80" fmla="*/ 240219 h 480495"/>
              <a:gd name="connsiteX81" fmla="*/ 436882 w 466919"/>
              <a:gd name="connsiteY81" fmla="*/ 237067 h 480495"/>
              <a:gd name="connsiteX82" fmla="*/ 443517 w 466919"/>
              <a:gd name="connsiteY82" fmla="*/ 221642 h 480495"/>
              <a:gd name="connsiteX83" fmla="*/ 446502 w 466919"/>
              <a:gd name="connsiteY83" fmla="*/ 220314 h 480495"/>
              <a:gd name="connsiteX84" fmla="*/ 452639 w 466919"/>
              <a:gd name="connsiteY84" fmla="*/ 218656 h 480495"/>
              <a:gd name="connsiteX85" fmla="*/ 452639 w 466919"/>
              <a:gd name="connsiteY85" fmla="*/ 218656 h 480495"/>
              <a:gd name="connsiteX86" fmla="*/ 453303 w 466919"/>
              <a:gd name="connsiteY86" fmla="*/ 201240 h 480495"/>
              <a:gd name="connsiteX87" fmla="*/ 455127 w 466919"/>
              <a:gd name="connsiteY87" fmla="*/ 198752 h 480495"/>
              <a:gd name="connsiteX88" fmla="*/ 458611 w 466919"/>
              <a:gd name="connsiteY88" fmla="*/ 198752 h 480495"/>
              <a:gd name="connsiteX89" fmla="*/ 460270 w 466919"/>
              <a:gd name="connsiteY89" fmla="*/ 198752 h 480495"/>
              <a:gd name="connsiteX90" fmla="*/ 460270 w 466919"/>
              <a:gd name="connsiteY90" fmla="*/ 194273 h 480495"/>
              <a:gd name="connsiteX91" fmla="*/ 460270 w 466919"/>
              <a:gd name="connsiteY91" fmla="*/ 194273 h 480495"/>
              <a:gd name="connsiteX92" fmla="*/ 460270 w 466919"/>
              <a:gd name="connsiteY92" fmla="*/ 192946 h 480495"/>
              <a:gd name="connsiteX93" fmla="*/ 460270 w 466919"/>
              <a:gd name="connsiteY93" fmla="*/ 192946 h 480495"/>
              <a:gd name="connsiteX94" fmla="*/ 466904 w 466919"/>
              <a:gd name="connsiteY94" fmla="*/ 175530 h 480495"/>
              <a:gd name="connsiteX95" fmla="*/ 465245 w 466919"/>
              <a:gd name="connsiteY95" fmla="*/ 175530 h 480495"/>
              <a:gd name="connsiteX96" fmla="*/ 442853 w 466919"/>
              <a:gd name="connsiteY96" fmla="*/ 158943 h 480495"/>
              <a:gd name="connsiteX97" fmla="*/ 433565 w 466919"/>
              <a:gd name="connsiteY97" fmla="*/ 152308 h 480495"/>
              <a:gd name="connsiteX98" fmla="*/ 426432 w 466919"/>
              <a:gd name="connsiteY98" fmla="*/ 141527 h 480495"/>
              <a:gd name="connsiteX99" fmla="*/ 424442 w 466919"/>
              <a:gd name="connsiteY99" fmla="*/ 115983 h 480495"/>
              <a:gd name="connsiteX100" fmla="*/ 424442 w 466919"/>
              <a:gd name="connsiteY100" fmla="*/ 111339 h 480495"/>
              <a:gd name="connsiteX101" fmla="*/ 422617 w 466919"/>
              <a:gd name="connsiteY101" fmla="*/ 102548 h 480495"/>
              <a:gd name="connsiteX102" fmla="*/ 422617 w 466919"/>
              <a:gd name="connsiteY102" fmla="*/ 92099 h 480495"/>
              <a:gd name="connsiteX103" fmla="*/ 422617 w 466919"/>
              <a:gd name="connsiteY103" fmla="*/ 83805 h 480495"/>
              <a:gd name="connsiteX104" fmla="*/ 429584 w 466919"/>
              <a:gd name="connsiteY104" fmla="*/ 83805 h 480495"/>
              <a:gd name="connsiteX105" fmla="*/ 432569 w 466919"/>
              <a:gd name="connsiteY105" fmla="*/ 77004 h 480495"/>
              <a:gd name="connsiteX106" fmla="*/ 434062 w 466919"/>
              <a:gd name="connsiteY106" fmla="*/ 77004 h 480495"/>
              <a:gd name="connsiteX107" fmla="*/ 441194 w 466919"/>
              <a:gd name="connsiteY107" fmla="*/ 70038 h 480495"/>
              <a:gd name="connsiteX108" fmla="*/ 441194 w 466919"/>
              <a:gd name="connsiteY108" fmla="*/ 65228 h 480495"/>
              <a:gd name="connsiteX109" fmla="*/ 432238 w 466919"/>
              <a:gd name="connsiteY109" fmla="*/ 62242 h 480495"/>
              <a:gd name="connsiteX110" fmla="*/ 430247 w 466919"/>
              <a:gd name="connsiteY110" fmla="*/ 56271 h 480495"/>
              <a:gd name="connsiteX111" fmla="*/ 434228 w 466919"/>
              <a:gd name="connsiteY111" fmla="*/ 51461 h 480495"/>
              <a:gd name="connsiteX112" fmla="*/ 429749 w 466919"/>
              <a:gd name="connsiteY112" fmla="*/ 50134 h 480495"/>
              <a:gd name="connsiteX113" fmla="*/ 422617 w 466919"/>
              <a:gd name="connsiteY113" fmla="*/ 48641 h 480495"/>
              <a:gd name="connsiteX114" fmla="*/ 415153 w 466919"/>
              <a:gd name="connsiteY114" fmla="*/ 40679 h 480495"/>
              <a:gd name="connsiteX115" fmla="*/ 406644 w 466919"/>
              <a:gd name="connsiteY115" fmla="*/ 37312 h 480495"/>
              <a:gd name="connsiteX116" fmla="*/ 406528 w 466919"/>
              <a:gd name="connsiteY116" fmla="*/ 37362 h 480495"/>
              <a:gd name="connsiteX117" fmla="*/ 398234 w 466919"/>
              <a:gd name="connsiteY117" fmla="*/ 36533 h 480495"/>
              <a:gd name="connsiteX118" fmla="*/ 398234 w 466919"/>
              <a:gd name="connsiteY118" fmla="*/ 30395 h 480495"/>
              <a:gd name="connsiteX119" fmla="*/ 399396 w 466919"/>
              <a:gd name="connsiteY119" fmla="*/ 22268 h 480495"/>
              <a:gd name="connsiteX120" fmla="*/ 403542 w 466919"/>
              <a:gd name="connsiteY120" fmla="*/ 22268 h 480495"/>
              <a:gd name="connsiteX121" fmla="*/ 410343 w 466919"/>
              <a:gd name="connsiteY121" fmla="*/ 15799 h 480495"/>
              <a:gd name="connsiteX122" fmla="*/ 414656 w 466919"/>
              <a:gd name="connsiteY122" fmla="*/ 13477 h 480495"/>
              <a:gd name="connsiteX123" fmla="*/ 415983 w 466919"/>
              <a:gd name="connsiteY123" fmla="*/ 6676 h 480495"/>
              <a:gd name="connsiteX124" fmla="*/ 424607 w 466919"/>
              <a:gd name="connsiteY124" fmla="*/ 6676 h 480495"/>
              <a:gd name="connsiteX125" fmla="*/ 432238 w 466919"/>
              <a:gd name="connsiteY125" fmla="*/ 8832 h 480495"/>
              <a:gd name="connsiteX126" fmla="*/ 439038 w 466919"/>
              <a:gd name="connsiteY126" fmla="*/ 7837 h 480495"/>
              <a:gd name="connsiteX127" fmla="*/ 436052 w 466919"/>
              <a:gd name="connsiteY127" fmla="*/ 4852 h 480495"/>
              <a:gd name="connsiteX128" fmla="*/ 433896 w 466919"/>
              <a:gd name="connsiteY128" fmla="*/ 373 h 480495"/>
              <a:gd name="connsiteX129" fmla="*/ 418470 w 466919"/>
              <a:gd name="connsiteY129" fmla="*/ 373 h 480495"/>
              <a:gd name="connsiteX130" fmla="*/ 381150 w 466919"/>
              <a:gd name="connsiteY130" fmla="*/ 8832 h 480495"/>
              <a:gd name="connsiteX131" fmla="*/ 364563 w 466919"/>
              <a:gd name="connsiteY131" fmla="*/ 14804 h 480495"/>
              <a:gd name="connsiteX132" fmla="*/ 359587 w 466919"/>
              <a:gd name="connsiteY132" fmla="*/ 16960 h 480495"/>
              <a:gd name="connsiteX133" fmla="*/ 350730 w 466919"/>
              <a:gd name="connsiteY133" fmla="*/ 26348 h 480495"/>
              <a:gd name="connsiteX134" fmla="*/ 354611 w 466919"/>
              <a:gd name="connsiteY134" fmla="*/ 33547 h 480495"/>
              <a:gd name="connsiteX135" fmla="*/ 360583 w 466919"/>
              <a:gd name="connsiteY135" fmla="*/ 53119 h 480495"/>
              <a:gd name="connsiteX136" fmla="*/ 344825 w 466919"/>
              <a:gd name="connsiteY136" fmla="*/ 76672 h 480495"/>
              <a:gd name="connsiteX137" fmla="*/ 341839 w 466919"/>
              <a:gd name="connsiteY137" fmla="*/ 102880 h 480495"/>
              <a:gd name="connsiteX138" fmla="*/ 304519 w 466919"/>
              <a:gd name="connsiteY138" fmla="*/ 102050 h 480495"/>
              <a:gd name="connsiteX139" fmla="*/ 315300 w 466919"/>
              <a:gd name="connsiteY139" fmla="*/ 123447 h 480495"/>
              <a:gd name="connsiteX140" fmla="*/ 292742 w 466919"/>
              <a:gd name="connsiteY140" fmla="*/ 137215 h 480495"/>
              <a:gd name="connsiteX141" fmla="*/ 281961 w 466919"/>
              <a:gd name="connsiteY141" fmla="*/ 172379 h 480495"/>
              <a:gd name="connsiteX142" fmla="*/ 266203 w 466919"/>
              <a:gd name="connsiteY142" fmla="*/ 186975 h 480495"/>
              <a:gd name="connsiteX143" fmla="*/ 230873 w 466919"/>
              <a:gd name="connsiteY143" fmla="*/ 198752 h 480495"/>
              <a:gd name="connsiteX144" fmla="*/ 208316 w 466919"/>
              <a:gd name="connsiteY144" fmla="*/ 204557 h 480495"/>
              <a:gd name="connsiteX145" fmla="*/ 181777 w 466919"/>
              <a:gd name="connsiteY145" fmla="*/ 221144 h 480495"/>
              <a:gd name="connsiteX146" fmla="*/ 184596 w 466919"/>
              <a:gd name="connsiteY146" fmla="*/ 254318 h 480495"/>
              <a:gd name="connsiteX147" fmla="*/ 51072 w 466919"/>
              <a:gd name="connsiteY147" fmla="*/ 270905 h 480495"/>
              <a:gd name="connsiteX148" fmla="*/ -15 w 466919"/>
              <a:gd name="connsiteY148" fmla="*/ 265265 h 480495"/>
              <a:gd name="connsiteX149" fmla="*/ 15576 w 466919"/>
              <a:gd name="connsiteY149" fmla="*/ 283013 h 480495"/>
              <a:gd name="connsiteX150" fmla="*/ 49746 w 466919"/>
              <a:gd name="connsiteY150" fmla="*/ 311708 h 480495"/>
              <a:gd name="connsiteX151" fmla="*/ 65337 w 466919"/>
              <a:gd name="connsiteY151" fmla="*/ 348365 h 480495"/>
              <a:gd name="connsiteX152" fmla="*/ 73299 w 466919"/>
              <a:gd name="connsiteY152" fmla="*/ 373079 h 480495"/>
              <a:gd name="connsiteX153" fmla="*/ 43110 w 466919"/>
              <a:gd name="connsiteY153" fmla="*/ 382202 h 480495"/>
              <a:gd name="connsiteX154" fmla="*/ 22045 w 466919"/>
              <a:gd name="connsiteY154" fmla="*/ 416205 h 480495"/>
              <a:gd name="connsiteX155" fmla="*/ 23040 w 466919"/>
              <a:gd name="connsiteY155" fmla="*/ 424333 h 480495"/>
              <a:gd name="connsiteX156" fmla="*/ 84910 w 466919"/>
              <a:gd name="connsiteY156" fmla="*/ 420020 h 480495"/>
              <a:gd name="connsiteX157" fmla="*/ 110453 w 466919"/>
              <a:gd name="connsiteY157" fmla="*/ 416039 h 480495"/>
              <a:gd name="connsiteX158" fmla="*/ 164029 w 466919"/>
              <a:gd name="connsiteY158" fmla="*/ 416039 h 480495"/>
              <a:gd name="connsiteX159" fmla="*/ 190568 w 466919"/>
              <a:gd name="connsiteY159" fmla="*/ 423835 h 480495"/>
              <a:gd name="connsiteX160" fmla="*/ 205827 w 466919"/>
              <a:gd name="connsiteY160" fmla="*/ 441915 h 480495"/>
              <a:gd name="connsiteX161" fmla="*/ 212628 w 466919"/>
              <a:gd name="connsiteY161" fmla="*/ 464473 h 480495"/>
              <a:gd name="connsiteX162" fmla="*/ 241655 w 466919"/>
              <a:gd name="connsiteY162" fmla="*/ 477079 h 480495"/>
              <a:gd name="connsiteX163" fmla="*/ 246963 w 466919"/>
              <a:gd name="connsiteY163" fmla="*/ 480396 h 48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466919" h="480495">
                <a:moveTo>
                  <a:pt x="248290" y="473596"/>
                </a:moveTo>
                <a:cubicBezTo>
                  <a:pt x="250512" y="470776"/>
                  <a:pt x="252503" y="467773"/>
                  <a:pt x="254261" y="464639"/>
                </a:cubicBezTo>
                <a:cubicBezTo>
                  <a:pt x="254874" y="463362"/>
                  <a:pt x="255604" y="462151"/>
                  <a:pt x="256417" y="460990"/>
                </a:cubicBezTo>
                <a:lnTo>
                  <a:pt x="256417" y="460990"/>
                </a:lnTo>
                <a:lnTo>
                  <a:pt x="257412" y="459497"/>
                </a:lnTo>
                <a:cubicBezTo>
                  <a:pt x="262305" y="453028"/>
                  <a:pt x="270765" y="450374"/>
                  <a:pt x="278478" y="452862"/>
                </a:cubicBezTo>
                <a:lnTo>
                  <a:pt x="280136" y="452862"/>
                </a:lnTo>
                <a:cubicBezTo>
                  <a:pt x="282923" y="453409"/>
                  <a:pt x="285759" y="453691"/>
                  <a:pt x="288596" y="453691"/>
                </a:cubicBezTo>
                <a:lnTo>
                  <a:pt x="295230" y="453691"/>
                </a:lnTo>
                <a:cubicBezTo>
                  <a:pt x="298415" y="452630"/>
                  <a:pt x="301683" y="451850"/>
                  <a:pt x="305017" y="451369"/>
                </a:cubicBezTo>
                <a:lnTo>
                  <a:pt x="308832" y="451369"/>
                </a:lnTo>
                <a:lnTo>
                  <a:pt x="309827" y="451369"/>
                </a:lnTo>
                <a:lnTo>
                  <a:pt x="309827" y="451369"/>
                </a:lnTo>
                <a:cubicBezTo>
                  <a:pt x="314206" y="452265"/>
                  <a:pt x="318717" y="452265"/>
                  <a:pt x="323096" y="451369"/>
                </a:cubicBezTo>
                <a:lnTo>
                  <a:pt x="324921" y="451369"/>
                </a:lnTo>
                <a:cubicBezTo>
                  <a:pt x="328387" y="450490"/>
                  <a:pt x="331473" y="448500"/>
                  <a:pt x="333712" y="445729"/>
                </a:cubicBezTo>
                <a:lnTo>
                  <a:pt x="334707" y="444403"/>
                </a:lnTo>
                <a:lnTo>
                  <a:pt x="334707" y="444403"/>
                </a:lnTo>
                <a:cubicBezTo>
                  <a:pt x="335205" y="443540"/>
                  <a:pt x="335553" y="442578"/>
                  <a:pt x="335702" y="441583"/>
                </a:cubicBezTo>
                <a:lnTo>
                  <a:pt x="335702" y="436275"/>
                </a:lnTo>
                <a:cubicBezTo>
                  <a:pt x="333347" y="428463"/>
                  <a:pt x="329200" y="421297"/>
                  <a:pt x="323594" y="415376"/>
                </a:cubicBezTo>
                <a:lnTo>
                  <a:pt x="320277" y="414546"/>
                </a:lnTo>
                <a:lnTo>
                  <a:pt x="318949" y="410399"/>
                </a:lnTo>
                <a:cubicBezTo>
                  <a:pt x="314073" y="404080"/>
                  <a:pt x="310623" y="396782"/>
                  <a:pt x="308832" y="389003"/>
                </a:cubicBezTo>
                <a:lnTo>
                  <a:pt x="308832" y="389003"/>
                </a:lnTo>
                <a:cubicBezTo>
                  <a:pt x="308832" y="389003"/>
                  <a:pt x="308832" y="387842"/>
                  <a:pt x="308832" y="387178"/>
                </a:cubicBezTo>
                <a:lnTo>
                  <a:pt x="308832" y="387178"/>
                </a:lnTo>
                <a:cubicBezTo>
                  <a:pt x="308898" y="386631"/>
                  <a:pt x="308898" y="386067"/>
                  <a:pt x="308832" y="385519"/>
                </a:cubicBezTo>
                <a:lnTo>
                  <a:pt x="308832" y="383695"/>
                </a:lnTo>
                <a:cubicBezTo>
                  <a:pt x="308749" y="383098"/>
                  <a:pt x="308749" y="382484"/>
                  <a:pt x="308832" y="381871"/>
                </a:cubicBezTo>
                <a:lnTo>
                  <a:pt x="308832" y="381871"/>
                </a:lnTo>
                <a:cubicBezTo>
                  <a:pt x="308832" y="381871"/>
                  <a:pt x="308832" y="380875"/>
                  <a:pt x="308832" y="380377"/>
                </a:cubicBezTo>
                <a:lnTo>
                  <a:pt x="304685" y="377724"/>
                </a:lnTo>
                <a:lnTo>
                  <a:pt x="296060" y="367772"/>
                </a:lnTo>
                <a:lnTo>
                  <a:pt x="296060" y="367772"/>
                </a:lnTo>
                <a:cubicBezTo>
                  <a:pt x="293787" y="366693"/>
                  <a:pt x="291714" y="365234"/>
                  <a:pt x="289923" y="363459"/>
                </a:cubicBezTo>
                <a:lnTo>
                  <a:pt x="289923" y="363459"/>
                </a:lnTo>
                <a:lnTo>
                  <a:pt x="288927" y="361800"/>
                </a:lnTo>
                <a:lnTo>
                  <a:pt x="288927" y="359478"/>
                </a:lnTo>
                <a:cubicBezTo>
                  <a:pt x="288828" y="359212"/>
                  <a:pt x="288828" y="358914"/>
                  <a:pt x="288927" y="358649"/>
                </a:cubicBezTo>
                <a:lnTo>
                  <a:pt x="288927" y="358649"/>
                </a:lnTo>
                <a:cubicBezTo>
                  <a:pt x="288927" y="348199"/>
                  <a:pt x="309992" y="331280"/>
                  <a:pt x="313974" y="327465"/>
                </a:cubicBezTo>
                <a:lnTo>
                  <a:pt x="319282" y="327465"/>
                </a:lnTo>
                <a:lnTo>
                  <a:pt x="323760" y="329124"/>
                </a:lnTo>
                <a:lnTo>
                  <a:pt x="323760" y="329124"/>
                </a:lnTo>
                <a:lnTo>
                  <a:pt x="331722" y="329124"/>
                </a:lnTo>
                <a:lnTo>
                  <a:pt x="335039" y="333105"/>
                </a:lnTo>
                <a:cubicBezTo>
                  <a:pt x="336333" y="333088"/>
                  <a:pt x="337560" y="332474"/>
                  <a:pt x="338356" y="331446"/>
                </a:cubicBezTo>
                <a:cubicBezTo>
                  <a:pt x="338356" y="331446"/>
                  <a:pt x="338356" y="331446"/>
                  <a:pt x="338356" y="331446"/>
                </a:cubicBezTo>
                <a:lnTo>
                  <a:pt x="338356" y="331446"/>
                </a:lnTo>
                <a:cubicBezTo>
                  <a:pt x="339849" y="328577"/>
                  <a:pt x="342950" y="326935"/>
                  <a:pt x="346152" y="327300"/>
                </a:cubicBezTo>
                <a:lnTo>
                  <a:pt x="349469" y="327300"/>
                </a:lnTo>
                <a:cubicBezTo>
                  <a:pt x="353450" y="327300"/>
                  <a:pt x="357597" y="329456"/>
                  <a:pt x="360583" y="329954"/>
                </a:cubicBezTo>
                <a:cubicBezTo>
                  <a:pt x="366720" y="331280"/>
                  <a:pt x="376340" y="318674"/>
                  <a:pt x="378662" y="307395"/>
                </a:cubicBezTo>
                <a:cubicBezTo>
                  <a:pt x="378662" y="307395"/>
                  <a:pt x="378662" y="305903"/>
                  <a:pt x="378662" y="305239"/>
                </a:cubicBezTo>
                <a:lnTo>
                  <a:pt x="378662" y="305239"/>
                </a:lnTo>
                <a:cubicBezTo>
                  <a:pt x="378662" y="305239"/>
                  <a:pt x="378662" y="305239"/>
                  <a:pt x="378662" y="304078"/>
                </a:cubicBezTo>
                <a:lnTo>
                  <a:pt x="378662" y="304078"/>
                </a:lnTo>
                <a:cubicBezTo>
                  <a:pt x="378662" y="304078"/>
                  <a:pt x="378662" y="304078"/>
                  <a:pt x="378662" y="303249"/>
                </a:cubicBezTo>
                <a:lnTo>
                  <a:pt x="378662" y="303249"/>
                </a:lnTo>
                <a:lnTo>
                  <a:pt x="378662" y="303249"/>
                </a:lnTo>
                <a:lnTo>
                  <a:pt x="378662" y="303249"/>
                </a:lnTo>
                <a:cubicBezTo>
                  <a:pt x="382975" y="294624"/>
                  <a:pt x="400391" y="292965"/>
                  <a:pt x="404704" y="289813"/>
                </a:cubicBezTo>
                <a:lnTo>
                  <a:pt x="406528" y="283013"/>
                </a:lnTo>
                <a:lnTo>
                  <a:pt x="411338" y="273558"/>
                </a:lnTo>
                <a:lnTo>
                  <a:pt x="411338" y="273558"/>
                </a:lnTo>
                <a:cubicBezTo>
                  <a:pt x="413329" y="267587"/>
                  <a:pt x="415153" y="261284"/>
                  <a:pt x="416480" y="256971"/>
                </a:cubicBezTo>
                <a:lnTo>
                  <a:pt x="416480" y="256971"/>
                </a:lnTo>
                <a:lnTo>
                  <a:pt x="416480" y="256142"/>
                </a:lnTo>
                <a:lnTo>
                  <a:pt x="416480" y="256142"/>
                </a:lnTo>
                <a:lnTo>
                  <a:pt x="416480" y="251000"/>
                </a:lnTo>
                <a:lnTo>
                  <a:pt x="416480" y="251000"/>
                </a:lnTo>
                <a:lnTo>
                  <a:pt x="416480" y="251000"/>
                </a:lnTo>
                <a:lnTo>
                  <a:pt x="416480" y="251000"/>
                </a:lnTo>
                <a:lnTo>
                  <a:pt x="416480" y="251000"/>
                </a:lnTo>
                <a:lnTo>
                  <a:pt x="416480" y="251000"/>
                </a:lnTo>
                <a:lnTo>
                  <a:pt x="416480" y="251000"/>
                </a:lnTo>
                <a:lnTo>
                  <a:pt x="420129" y="251000"/>
                </a:lnTo>
                <a:cubicBezTo>
                  <a:pt x="422783" y="249507"/>
                  <a:pt x="427759" y="249176"/>
                  <a:pt x="431906" y="247185"/>
                </a:cubicBezTo>
                <a:lnTo>
                  <a:pt x="431906" y="245858"/>
                </a:lnTo>
                <a:lnTo>
                  <a:pt x="436882" y="240219"/>
                </a:lnTo>
                <a:cubicBezTo>
                  <a:pt x="436981" y="239174"/>
                  <a:pt x="436981" y="238112"/>
                  <a:pt x="436882" y="237067"/>
                </a:cubicBezTo>
                <a:cubicBezTo>
                  <a:pt x="436135" y="231096"/>
                  <a:pt x="438673" y="225208"/>
                  <a:pt x="443517" y="221642"/>
                </a:cubicBezTo>
                <a:lnTo>
                  <a:pt x="446502" y="220314"/>
                </a:lnTo>
                <a:cubicBezTo>
                  <a:pt x="448493" y="219585"/>
                  <a:pt x="450550" y="219037"/>
                  <a:pt x="452639" y="218656"/>
                </a:cubicBezTo>
                <a:lnTo>
                  <a:pt x="452639" y="218656"/>
                </a:lnTo>
                <a:lnTo>
                  <a:pt x="453303" y="201240"/>
                </a:lnTo>
                <a:lnTo>
                  <a:pt x="455127" y="198752"/>
                </a:lnTo>
                <a:lnTo>
                  <a:pt x="458611" y="198752"/>
                </a:lnTo>
                <a:lnTo>
                  <a:pt x="460270" y="198752"/>
                </a:lnTo>
                <a:cubicBezTo>
                  <a:pt x="460270" y="197259"/>
                  <a:pt x="460270" y="195766"/>
                  <a:pt x="460270" y="194273"/>
                </a:cubicBezTo>
                <a:lnTo>
                  <a:pt x="460270" y="194273"/>
                </a:lnTo>
                <a:cubicBezTo>
                  <a:pt x="460336" y="193826"/>
                  <a:pt x="460336" y="193378"/>
                  <a:pt x="460270" y="192946"/>
                </a:cubicBezTo>
                <a:lnTo>
                  <a:pt x="460270" y="192946"/>
                </a:lnTo>
                <a:cubicBezTo>
                  <a:pt x="460999" y="186677"/>
                  <a:pt x="463272" y="180688"/>
                  <a:pt x="466904" y="175530"/>
                </a:cubicBezTo>
                <a:lnTo>
                  <a:pt x="465245" y="175530"/>
                </a:lnTo>
                <a:cubicBezTo>
                  <a:pt x="457234" y="170770"/>
                  <a:pt x="449737" y="165213"/>
                  <a:pt x="442853" y="158943"/>
                </a:cubicBezTo>
                <a:cubicBezTo>
                  <a:pt x="427427" y="161099"/>
                  <a:pt x="433565" y="152308"/>
                  <a:pt x="433565" y="152308"/>
                </a:cubicBezTo>
                <a:lnTo>
                  <a:pt x="426432" y="141527"/>
                </a:lnTo>
                <a:lnTo>
                  <a:pt x="424442" y="115983"/>
                </a:lnTo>
                <a:lnTo>
                  <a:pt x="424442" y="111339"/>
                </a:lnTo>
                <a:lnTo>
                  <a:pt x="422617" y="102548"/>
                </a:lnTo>
                <a:lnTo>
                  <a:pt x="422617" y="92099"/>
                </a:lnTo>
                <a:lnTo>
                  <a:pt x="422617" y="83805"/>
                </a:lnTo>
                <a:cubicBezTo>
                  <a:pt x="422617" y="83805"/>
                  <a:pt x="429418" y="83805"/>
                  <a:pt x="429584" y="83805"/>
                </a:cubicBezTo>
                <a:cubicBezTo>
                  <a:pt x="429584" y="79492"/>
                  <a:pt x="429584" y="81151"/>
                  <a:pt x="432569" y="77004"/>
                </a:cubicBezTo>
                <a:cubicBezTo>
                  <a:pt x="432569" y="77004"/>
                  <a:pt x="432569" y="77004"/>
                  <a:pt x="434062" y="77004"/>
                </a:cubicBezTo>
                <a:cubicBezTo>
                  <a:pt x="435107" y="73621"/>
                  <a:pt x="437794" y="71000"/>
                  <a:pt x="441194" y="70038"/>
                </a:cubicBezTo>
                <a:cubicBezTo>
                  <a:pt x="441194" y="68047"/>
                  <a:pt x="441194" y="65891"/>
                  <a:pt x="441194" y="65228"/>
                </a:cubicBezTo>
                <a:cubicBezTo>
                  <a:pt x="441194" y="64564"/>
                  <a:pt x="435223" y="63237"/>
                  <a:pt x="432238" y="62242"/>
                </a:cubicBezTo>
                <a:cubicBezTo>
                  <a:pt x="429252" y="61247"/>
                  <a:pt x="430247" y="57432"/>
                  <a:pt x="430247" y="56271"/>
                </a:cubicBezTo>
                <a:cubicBezTo>
                  <a:pt x="430247" y="55110"/>
                  <a:pt x="434394" y="54115"/>
                  <a:pt x="434228" y="51461"/>
                </a:cubicBezTo>
                <a:cubicBezTo>
                  <a:pt x="434062" y="48807"/>
                  <a:pt x="430911" y="51461"/>
                  <a:pt x="429749" y="50134"/>
                </a:cubicBezTo>
                <a:cubicBezTo>
                  <a:pt x="428589" y="48807"/>
                  <a:pt x="424442" y="51461"/>
                  <a:pt x="422617" y="48641"/>
                </a:cubicBezTo>
                <a:cubicBezTo>
                  <a:pt x="420793" y="45821"/>
                  <a:pt x="416646" y="43167"/>
                  <a:pt x="415153" y="40679"/>
                </a:cubicBezTo>
                <a:cubicBezTo>
                  <a:pt x="413743" y="37395"/>
                  <a:pt x="409928" y="35886"/>
                  <a:pt x="406644" y="37312"/>
                </a:cubicBezTo>
                <a:cubicBezTo>
                  <a:pt x="406611" y="37329"/>
                  <a:pt x="406561" y="37345"/>
                  <a:pt x="406528" y="37362"/>
                </a:cubicBezTo>
                <a:cubicBezTo>
                  <a:pt x="403775" y="38291"/>
                  <a:pt x="400756" y="37992"/>
                  <a:pt x="398234" y="36533"/>
                </a:cubicBezTo>
                <a:lnTo>
                  <a:pt x="398234" y="30395"/>
                </a:lnTo>
                <a:lnTo>
                  <a:pt x="399396" y="22268"/>
                </a:lnTo>
                <a:lnTo>
                  <a:pt x="403542" y="22268"/>
                </a:lnTo>
                <a:lnTo>
                  <a:pt x="410343" y="15799"/>
                </a:lnTo>
                <a:lnTo>
                  <a:pt x="414656" y="13477"/>
                </a:lnTo>
                <a:lnTo>
                  <a:pt x="415983" y="6676"/>
                </a:lnTo>
                <a:lnTo>
                  <a:pt x="424607" y="6676"/>
                </a:lnTo>
                <a:lnTo>
                  <a:pt x="432238" y="8832"/>
                </a:lnTo>
                <a:lnTo>
                  <a:pt x="439038" y="7837"/>
                </a:lnTo>
                <a:lnTo>
                  <a:pt x="436052" y="4852"/>
                </a:lnTo>
                <a:lnTo>
                  <a:pt x="433896" y="373"/>
                </a:lnTo>
                <a:cubicBezTo>
                  <a:pt x="428771" y="-257"/>
                  <a:pt x="423596" y="-257"/>
                  <a:pt x="418470" y="373"/>
                </a:cubicBezTo>
                <a:cubicBezTo>
                  <a:pt x="405500" y="-124"/>
                  <a:pt x="392628" y="2795"/>
                  <a:pt x="381150" y="8832"/>
                </a:cubicBezTo>
                <a:cubicBezTo>
                  <a:pt x="376108" y="11984"/>
                  <a:pt x="370452" y="14024"/>
                  <a:pt x="364563" y="14804"/>
                </a:cubicBezTo>
                <a:cubicBezTo>
                  <a:pt x="363104" y="15898"/>
                  <a:pt x="361396" y="16645"/>
                  <a:pt x="359587" y="16960"/>
                </a:cubicBezTo>
                <a:cubicBezTo>
                  <a:pt x="354545" y="17109"/>
                  <a:pt x="350581" y="21306"/>
                  <a:pt x="350730" y="26348"/>
                </a:cubicBezTo>
                <a:cubicBezTo>
                  <a:pt x="350813" y="29218"/>
                  <a:pt x="352256" y="31888"/>
                  <a:pt x="354611" y="33547"/>
                </a:cubicBezTo>
                <a:cubicBezTo>
                  <a:pt x="361578" y="40513"/>
                  <a:pt x="359587" y="45324"/>
                  <a:pt x="360583" y="53119"/>
                </a:cubicBezTo>
                <a:cubicBezTo>
                  <a:pt x="361578" y="60915"/>
                  <a:pt x="349801" y="68711"/>
                  <a:pt x="344825" y="76672"/>
                </a:cubicBezTo>
                <a:cubicBezTo>
                  <a:pt x="339849" y="84634"/>
                  <a:pt x="345820" y="94089"/>
                  <a:pt x="341839" y="102880"/>
                </a:cubicBezTo>
                <a:cubicBezTo>
                  <a:pt x="337859" y="111671"/>
                  <a:pt x="308666" y="98070"/>
                  <a:pt x="304519" y="102050"/>
                </a:cubicBezTo>
                <a:cubicBezTo>
                  <a:pt x="300372" y="106031"/>
                  <a:pt x="314305" y="117642"/>
                  <a:pt x="315300" y="123447"/>
                </a:cubicBezTo>
                <a:cubicBezTo>
                  <a:pt x="316296" y="129253"/>
                  <a:pt x="304519" y="136219"/>
                  <a:pt x="292742" y="137215"/>
                </a:cubicBezTo>
                <a:cubicBezTo>
                  <a:pt x="280965" y="138210"/>
                  <a:pt x="282956" y="152806"/>
                  <a:pt x="281961" y="172379"/>
                </a:cubicBezTo>
                <a:cubicBezTo>
                  <a:pt x="280965" y="191951"/>
                  <a:pt x="269189" y="194771"/>
                  <a:pt x="266203" y="186975"/>
                </a:cubicBezTo>
                <a:cubicBezTo>
                  <a:pt x="263218" y="179179"/>
                  <a:pt x="230873" y="189961"/>
                  <a:pt x="230873" y="198752"/>
                </a:cubicBezTo>
                <a:cubicBezTo>
                  <a:pt x="230873" y="207543"/>
                  <a:pt x="220092" y="205552"/>
                  <a:pt x="208316" y="204557"/>
                </a:cubicBezTo>
                <a:cubicBezTo>
                  <a:pt x="197136" y="204922"/>
                  <a:pt x="187001" y="211258"/>
                  <a:pt x="181777" y="221144"/>
                </a:cubicBezTo>
                <a:cubicBezTo>
                  <a:pt x="180781" y="225954"/>
                  <a:pt x="186752" y="250337"/>
                  <a:pt x="184596" y="254318"/>
                </a:cubicBezTo>
                <a:cubicBezTo>
                  <a:pt x="140873" y="264999"/>
                  <a:pt x="96073" y="270573"/>
                  <a:pt x="51072" y="270905"/>
                </a:cubicBezTo>
                <a:cubicBezTo>
                  <a:pt x="34187" y="267919"/>
                  <a:pt x="17119" y="266045"/>
                  <a:pt x="-15" y="265265"/>
                </a:cubicBezTo>
                <a:cubicBezTo>
                  <a:pt x="6172" y="270241"/>
                  <a:pt x="11446" y="276245"/>
                  <a:pt x="15576" y="283013"/>
                </a:cubicBezTo>
                <a:cubicBezTo>
                  <a:pt x="22891" y="296597"/>
                  <a:pt x="35116" y="306865"/>
                  <a:pt x="49746" y="311708"/>
                </a:cubicBezTo>
                <a:cubicBezTo>
                  <a:pt x="65337" y="318343"/>
                  <a:pt x="57541" y="345711"/>
                  <a:pt x="65337" y="348365"/>
                </a:cubicBezTo>
                <a:cubicBezTo>
                  <a:pt x="73133" y="351019"/>
                  <a:pt x="83748" y="371752"/>
                  <a:pt x="73299" y="373079"/>
                </a:cubicBezTo>
                <a:cubicBezTo>
                  <a:pt x="62782" y="374340"/>
                  <a:pt x="52565" y="377441"/>
                  <a:pt x="43110" y="382202"/>
                </a:cubicBezTo>
                <a:cubicBezTo>
                  <a:pt x="30123" y="388521"/>
                  <a:pt x="21929" y="401758"/>
                  <a:pt x="22045" y="416205"/>
                </a:cubicBezTo>
                <a:cubicBezTo>
                  <a:pt x="22045" y="418195"/>
                  <a:pt x="22045" y="421015"/>
                  <a:pt x="23040" y="424333"/>
                </a:cubicBezTo>
                <a:cubicBezTo>
                  <a:pt x="43757" y="426107"/>
                  <a:pt x="64640" y="424648"/>
                  <a:pt x="84910" y="420020"/>
                </a:cubicBezTo>
                <a:cubicBezTo>
                  <a:pt x="91693" y="413369"/>
                  <a:pt x="101961" y="411776"/>
                  <a:pt x="110453" y="416039"/>
                </a:cubicBezTo>
                <a:cubicBezTo>
                  <a:pt x="127803" y="422110"/>
                  <a:pt x="146679" y="422110"/>
                  <a:pt x="164029" y="416039"/>
                </a:cubicBezTo>
                <a:cubicBezTo>
                  <a:pt x="180615" y="407082"/>
                  <a:pt x="190070" y="416039"/>
                  <a:pt x="190568" y="423835"/>
                </a:cubicBezTo>
                <a:cubicBezTo>
                  <a:pt x="191065" y="431631"/>
                  <a:pt x="198363" y="435114"/>
                  <a:pt x="205827" y="441915"/>
                </a:cubicBezTo>
                <a:cubicBezTo>
                  <a:pt x="213291" y="448715"/>
                  <a:pt x="207818" y="456511"/>
                  <a:pt x="212628" y="464473"/>
                </a:cubicBezTo>
                <a:cubicBezTo>
                  <a:pt x="217438" y="472434"/>
                  <a:pt x="227390" y="470776"/>
                  <a:pt x="241655" y="477079"/>
                </a:cubicBezTo>
                <a:cubicBezTo>
                  <a:pt x="243546" y="477991"/>
                  <a:pt x="245321" y="479103"/>
                  <a:pt x="246963" y="480396"/>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35" name="Freeform: Shape 534">
            <a:extLst>
              <a:ext uri="{FF2B5EF4-FFF2-40B4-BE49-F238E27FC236}">
                <a16:creationId xmlns:a16="http://schemas.microsoft.com/office/drawing/2014/main" id="{E80EAB36-FDE4-41A3-B0A3-F3AEDE9A3E6A}"/>
              </a:ext>
            </a:extLst>
          </p:cNvPr>
          <p:cNvSpPr/>
          <p:nvPr/>
        </p:nvSpPr>
        <p:spPr>
          <a:xfrm>
            <a:off x="5898277" y="4052124"/>
            <a:ext cx="430736" cy="389155"/>
          </a:xfrm>
          <a:custGeom>
            <a:avLst/>
            <a:gdLst>
              <a:gd name="connsiteX0" fmla="*/ 543249 w 543264"/>
              <a:gd name="connsiteY0" fmla="*/ 183849 h 500424"/>
              <a:gd name="connsiteX1" fmla="*/ 511568 w 543264"/>
              <a:gd name="connsiteY1" fmla="*/ 213207 h 500424"/>
              <a:gd name="connsiteX2" fmla="*/ 492991 w 543264"/>
              <a:gd name="connsiteY2" fmla="*/ 231619 h 500424"/>
              <a:gd name="connsiteX3" fmla="*/ 480717 w 543264"/>
              <a:gd name="connsiteY3" fmla="*/ 264792 h 500424"/>
              <a:gd name="connsiteX4" fmla="*/ 478561 w 543264"/>
              <a:gd name="connsiteY4" fmla="*/ 309743 h 500424"/>
              <a:gd name="connsiteX5" fmla="*/ 466287 w 543264"/>
              <a:gd name="connsiteY5" fmla="*/ 348390 h 500424"/>
              <a:gd name="connsiteX6" fmla="*/ 451856 w 543264"/>
              <a:gd name="connsiteY6" fmla="*/ 364977 h 500424"/>
              <a:gd name="connsiteX7" fmla="*/ 431454 w 543264"/>
              <a:gd name="connsiteY7" fmla="*/ 389526 h 500424"/>
              <a:gd name="connsiteX8" fmla="*/ 421170 w 543264"/>
              <a:gd name="connsiteY8" fmla="*/ 422699 h 500424"/>
              <a:gd name="connsiteX9" fmla="*/ 406740 w 543264"/>
              <a:gd name="connsiteY9" fmla="*/ 436964 h 500424"/>
              <a:gd name="connsiteX10" fmla="*/ 400271 w 543264"/>
              <a:gd name="connsiteY10" fmla="*/ 456038 h 500424"/>
              <a:gd name="connsiteX11" fmla="*/ 384513 w 543264"/>
              <a:gd name="connsiteY11" fmla="*/ 427675 h 500424"/>
              <a:gd name="connsiteX12" fmla="*/ 376883 w 543264"/>
              <a:gd name="connsiteY12" fmla="*/ 377915 h 500424"/>
              <a:gd name="connsiteX13" fmla="*/ 371410 w 543264"/>
              <a:gd name="connsiteY13" fmla="*/ 382227 h 500424"/>
              <a:gd name="connsiteX14" fmla="*/ 341553 w 543264"/>
              <a:gd name="connsiteY14" fmla="*/ 387038 h 500424"/>
              <a:gd name="connsiteX15" fmla="*/ 343710 w 543264"/>
              <a:gd name="connsiteY15" fmla="*/ 414240 h 500424"/>
              <a:gd name="connsiteX16" fmla="*/ 333592 w 543264"/>
              <a:gd name="connsiteY16" fmla="*/ 427011 h 500424"/>
              <a:gd name="connsiteX17" fmla="*/ 320488 w 543264"/>
              <a:gd name="connsiteY17" fmla="*/ 448741 h 500424"/>
              <a:gd name="connsiteX18" fmla="*/ 286319 w 543264"/>
              <a:gd name="connsiteY18" fmla="*/ 456038 h 500424"/>
              <a:gd name="connsiteX19" fmla="*/ 247174 w 543264"/>
              <a:gd name="connsiteY19" fmla="*/ 456038 h 500424"/>
              <a:gd name="connsiteX20" fmla="*/ 230587 w 543264"/>
              <a:gd name="connsiteY20" fmla="*/ 462673 h 500424"/>
              <a:gd name="connsiteX21" fmla="*/ 218645 w 543264"/>
              <a:gd name="connsiteY21" fmla="*/ 475611 h 500424"/>
              <a:gd name="connsiteX22" fmla="*/ 200897 w 543264"/>
              <a:gd name="connsiteY22" fmla="*/ 468811 h 500424"/>
              <a:gd name="connsiteX23" fmla="*/ 183315 w 543264"/>
              <a:gd name="connsiteY23" fmla="*/ 454546 h 500424"/>
              <a:gd name="connsiteX24" fmla="*/ 174027 w 543264"/>
              <a:gd name="connsiteY24" fmla="*/ 462010 h 500424"/>
              <a:gd name="connsiteX25" fmla="*/ 143507 w 543264"/>
              <a:gd name="connsiteY25" fmla="*/ 461015 h 500424"/>
              <a:gd name="connsiteX26" fmla="*/ 130403 w 543264"/>
              <a:gd name="connsiteY26" fmla="*/ 445257 h 500424"/>
              <a:gd name="connsiteX27" fmla="*/ 96400 w 543264"/>
              <a:gd name="connsiteY27" fmla="*/ 445257 h 500424"/>
              <a:gd name="connsiteX28" fmla="*/ 91424 w 543264"/>
              <a:gd name="connsiteY28" fmla="*/ 471464 h 500424"/>
              <a:gd name="connsiteX29" fmla="*/ 79813 w 543264"/>
              <a:gd name="connsiteY29" fmla="*/ 496013 h 500424"/>
              <a:gd name="connsiteX30" fmla="*/ 64719 w 543264"/>
              <a:gd name="connsiteY30" fmla="*/ 500325 h 500424"/>
              <a:gd name="connsiteX31" fmla="*/ 64719 w 543264"/>
              <a:gd name="connsiteY31" fmla="*/ 498501 h 500424"/>
              <a:gd name="connsiteX32" fmla="*/ 50289 w 543264"/>
              <a:gd name="connsiteY32" fmla="*/ 496510 h 500424"/>
              <a:gd name="connsiteX33" fmla="*/ 54435 w 543264"/>
              <a:gd name="connsiteY33" fmla="*/ 484236 h 500424"/>
              <a:gd name="connsiteX34" fmla="*/ 52445 w 543264"/>
              <a:gd name="connsiteY34" fmla="*/ 455707 h 500424"/>
              <a:gd name="connsiteX35" fmla="*/ 27731 w 543264"/>
              <a:gd name="connsiteY35" fmla="*/ 422533 h 500424"/>
              <a:gd name="connsiteX36" fmla="*/ 31878 w 543264"/>
              <a:gd name="connsiteY36" fmla="*/ 408269 h 500424"/>
              <a:gd name="connsiteX37" fmla="*/ 15291 w 543264"/>
              <a:gd name="connsiteY37" fmla="*/ 387867 h 500424"/>
              <a:gd name="connsiteX38" fmla="*/ 9154 w 543264"/>
              <a:gd name="connsiteY38" fmla="*/ 363484 h 500424"/>
              <a:gd name="connsiteX39" fmla="*/ 5007 w 543264"/>
              <a:gd name="connsiteY39" fmla="*/ 345073 h 500424"/>
              <a:gd name="connsiteX40" fmla="*/ 7163 w 543264"/>
              <a:gd name="connsiteY40" fmla="*/ 320524 h 500424"/>
              <a:gd name="connsiteX41" fmla="*/ 21428 w 543264"/>
              <a:gd name="connsiteY41" fmla="*/ 296142 h 500424"/>
              <a:gd name="connsiteX42" fmla="*/ 33702 w 543264"/>
              <a:gd name="connsiteY42" fmla="*/ 275740 h 500424"/>
              <a:gd name="connsiteX43" fmla="*/ 62397 w 543264"/>
              <a:gd name="connsiteY43" fmla="*/ 257494 h 500424"/>
              <a:gd name="connsiteX44" fmla="*/ 66544 w 543264"/>
              <a:gd name="connsiteY44" fmla="*/ 222828 h 500424"/>
              <a:gd name="connsiteX45" fmla="*/ 66544 w 543264"/>
              <a:gd name="connsiteY45" fmla="*/ 114848 h 500424"/>
              <a:gd name="connsiteX46" fmla="*/ 97230 w 543264"/>
              <a:gd name="connsiteY46" fmla="*/ 114848 h 500424"/>
              <a:gd name="connsiteX47" fmla="*/ 97230 w 543264"/>
              <a:gd name="connsiteY47" fmla="*/ 44188 h 500424"/>
              <a:gd name="connsiteX48" fmla="*/ 300252 w 543264"/>
              <a:gd name="connsiteY48" fmla="*/ 44188 h 500424"/>
              <a:gd name="connsiteX49" fmla="*/ 312029 w 543264"/>
              <a:gd name="connsiteY49" fmla="*/ 36392 h 500424"/>
              <a:gd name="connsiteX50" fmla="*/ 327787 w 543264"/>
              <a:gd name="connsiteY50" fmla="*/ 42197 h 500424"/>
              <a:gd name="connsiteX51" fmla="*/ 370912 w 543264"/>
              <a:gd name="connsiteY51" fmla="*/ 42197 h 500424"/>
              <a:gd name="connsiteX52" fmla="*/ 388660 w 543264"/>
              <a:gd name="connsiteY52" fmla="*/ 51983 h 500424"/>
              <a:gd name="connsiteX53" fmla="*/ 408233 w 543264"/>
              <a:gd name="connsiteY53" fmla="*/ 36392 h 500424"/>
              <a:gd name="connsiteX54" fmla="*/ 429961 w 543264"/>
              <a:gd name="connsiteY54" fmla="*/ 13004 h 500424"/>
              <a:gd name="connsiteX55" fmla="*/ 447543 w 543264"/>
              <a:gd name="connsiteY55" fmla="*/ 1228 h 500424"/>
              <a:gd name="connsiteX56" fmla="*/ 448705 w 543264"/>
              <a:gd name="connsiteY56" fmla="*/ -100 h 500424"/>
              <a:gd name="connsiteX57" fmla="*/ 467282 w 543264"/>
              <a:gd name="connsiteY57" fmla="*/ 24615 h 500424"/>
              <a:gd name="connsiteX58" fmla="*/ 496143 w 543264"/>
              <a:gd name="connsiteY58" fmla="*/ 58784 h 500424"/>
              <a:gd name="connsiteX59" fmla="*/ 503607 w 543264"/>
              <a:gd name="connsiteY59" fmla="*/ 113520 h 500424"/>
              <a:gd name="connsiteX60" fmla="*/ 523179 w 543264"/>
              <a:gd name="connsiteY60" fmla="*/ 165271 h 500424"/>
              <a:gd name="connsiteX61" fmla="*/ 543249 w 543264"/>
              <a:gd name="connsiteY61" fmla="*/ 183849 h 50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43264" h="500424">
                <a:moveTo>
                  <a:pt x="543249" y="183849"/>
                </a:moveTo>
                <a:cubicBezTo>
                  <a:pt x="534757" y="195658"/>
                  <a:pt x="523992" y="205644"/>
                  <a:pt x="511568" y="213207"/>
                </a:cubicBezTo>
                <a:cubicBezTo>
                  <a:pt x="505265" y="219344"/>
                  <a:pt x="491001" y="221335"/>
                  <a:pt x="492991" y="231619"/>
                </a:cubicBezTo>
                <a:cubicBezTo>
                  <a:pt x="494418" y="243992"/>
                  <a:pt x="489856" y="256317"/>
                  <a:pt x="480717" y="264792"/>
                </a:cubicBezTo>
                <a:cubicBezTo>
                  <a:pt x="470433" y="277067"/>
                  <a:pt x="476570" y="295312"/>
                  <a:pt x="478561" y="309743"/>
                </a:cubicBezTo>
                <a:cubicBezTo>
                  <a:pt x="480551" y="324173"/>
                  <a:pt x="466287" y="340263"/>
                  <a:pt x="466287" y="348390"/>
                </a:cubicBezTo>
                <a:cubicBezTo>
                  <a:pt x="466021" y="356634"/>
                  <a:pt x="459984" y="363567"/>
                  <a:pt x="451856" y="364977"/>
                </a:cubicBezTo>
                <a:cubicBezTo>
                  <a:pt x="445719" y="364977"/>
                  <a:pt x="439582" y="381564"/>
                  <a:pt x="431454" y="389526"/>
                </a:cubicBezTo>
                <a:cubicBezTo>
                  <a:pt x="423327" y="397487"/>
                  <a:pt x="429298" y="416065"/>
                  <a:pt x="421170" y="422699"/>
                </a:cubicBezTo>
                <a:cubicBezTo>
                  <a:pt x="413043" y="429334"/>
                  <a:pt x="400602" y="430827"/>
                  <a:pt x="406740" y="436964"/>
                </a:cubicBezTo>
                <a:cubicBezTo>
                  <a:pt x="412877" y="443101"/>
                  <a:pt x="404584" y="448077"/>
                  <a:pt x="400271" y="456038"/>
                </a:cubicBezTo>
                <a:cubicBezTo>
                  <a:pt x="391862" y="448724"/>
                  <a:pt x="386288" y="438689"/>
                  <a:pt x="384513" y="427675"/>
                </a:cubicBezTo>
                <a:cubicBezTo>
                  <a:pt x="383817" y="410856"/>
                  <a:pt x="381262" y="394170"/>
                  <a:pt x="376883" y="377915"/>
                </a:cubicBezTo>
                <a:lnTo>
                  <a:pt x="371410" y="382227"/>
                </a:lnTo>
                <a:cubicBezTo>
                  <a:pt x="371410" y="382227"/>
                  <a:pt x="344042" y="382227"/>
                  <a:pt x="341553" y="387038"/>
                </a:cubicBezTo>
                <a:cubicBezTo>
                  <a:pt x="341553" y="387038"/>
                  <a:pt x="333094" y="387038"/>
                  <a:pt x="343710" y="414240"/>
                </a:cubicBezTo>
                <a:cubicBezTo>
                  <a:pt x="343710" y="414240"/>
                  <a:pt x="350842" y="421538"/>
                  <a:pt x="333592" y="427011"/>
                </a:cubicBezTo>
                <a:cubicBezTo>
                  <a:pt x="333592" y="427011"/>
                  <a:pt x="320322" y="429997"/>
                  <a:pt x="320488" y="448741"/>
                </a:cubicBezTo>
                <a:cubicBezTo>
                  <a:pt x="320488" y="448741"/>
                  <a:pt x="315678" y="479426"/>
                  <a:pt x="286319" y="456038"/>
                </a:cubicBezTo>
                <a:cubicBezTo>
                  <a:pt x="286319" y="456038"/>
                  <a:pt x="258951" y="429665"/>
                  <a:pt x="247174" y="456038"/>
                </a:cubicBezTo>
                <a:cubicBezTo>
                  <a:pt x="247174" y="456038"/>
                  <a:pt x="246345" y="462673"/>
                  <a:pt x="230587" y="462673"/>
                </a:cubicBezTo>
                <a:cubicBezTo>
                  <a:pt x="225180" y="465410"/>
                  <a:pt x="220934" y="470005"/>
                  <a:pt x="218645" y="475611"/>
                </a:cubicBezTo>
                <a:cubicBezTo>
                  <a:pt x="218645" y="475611"/>
                  <a:pt x="216157" y="481416"/>
                  <a:pt x="200897" y="468811"/>
                </a:cubicBezTo>
                <a:cubicBezTo>
                  <a:pt x="200897" y="468811"/>
                  <a:pt x="190614" y="455375"/>
                  <a:pt x="183315" y="454546"/>
                </a:cubicBezTo>
                <a:cubicBezTo>
                  <a:pt x="183315" y="454546"/>
                  <a:pt x="176349" y="450565"/>
                  <a:pt x="174027" y="462010"/>
                </a:cubicBezTo>
                <a:cubicBezTo>
                  <a:pt x="174027" y="462010"/>
                  <a:pt x="167226" y="480753"/>
                  <a:pt x="143507" y="461015"/>
                </a:cubicBezTo>
                <a:cubicBezTo>
                  <a:pt x="138829" y="456022"/>
                  <a:pt x="134450" y="450764"/>
                  <a:pt x="130403" y="445257"/>
                </a:cubicBezTo>
                <a:cubicBezTo>
                  <a:pt x="130403" y="445257"/>
                  <a:pt x="120120" y="433812"/>
                  <a:pt x="96400" y="445257"/>
                </a:cubicBezTo>
                <a:cubicBezTo>
                  <a:pt x="96400" y="445257"/>
                  <a:pt x="82467" y="459024"/>
                  <a:pt x="91424" y="471464"/>
                </a:cubicBezTo>
                <a:cubicBezTo>
                  <a:pt x="91424" y="471464"/>
                  <a:pt x="91424" y="494354"/>
                  <a:pt x="79813" y="496013"/>
                </a:cubicBezTo>
                <a:cubicBezTo>
                  <a:pt x="79813" y="496013"/>
                  <a:pt x="70857" y="498833"/>
                  <a:pt x="64719" y="500325"/>
                </a:cubicBezTo>
                <a:lnTo>
                  <a:pt x="64719" y="498501"/>
                </a:lnTo>
                <a:lnTo>
                  <a:pt x="50289" y="496510"/>
                </a:lnTo>
                <a:cubicBezTo>
                  <a:pt x="50289" y="496510"/>
                  <a:pt x="42161" y="490373"/>
                  <a:pt x="54435" y="484236"/>
                </a:cubicBezTo>
                <a:cubicBezTo>
                  <a:pt x="66710" y="478099"/>
                  <a:pt x="54435" y="461844"/>
                  <a:pt x="52445" y="455707"/>
                </a:cubicBezTo>
                <a:cubicBezTo>
                  <a:pt x="45048" y="444046"/>
                  <a:pt x="36787" y="432950"/>
                  <a:pt x="27731" y="422533"/>
                </a:cubicBezTo>
                <a:lnTo>
                  <a:pt x="31878" y="408269"/>
                </a:lnTo>
                <a:cubicBezTo>
                  <a:pt x="31878" y="408269"/>
                  <a:pt x="15291" y="400141"/>
                  <a:pt x="15291" y="387867"/>
                </a:cubicBezTo>
                <a:cubicBezTo>
                  <a:pt x="15291" y="375593"/>
                  <a:pt x="19437" y="363484"/>
                  <a:pt x="9154" y="363484"/>
                </a:cubicBezTo>
                <a:cubicBezTo>
                  <a:pt x="-1131" y="363484"/>
                  <a:pt x="-3121" y="353200"/>
                  <a:pt x="5007" y="345073"/>
                </a:cubicBezTo>
                <a:cubicBezTo>
                  <a:pt x="13134" y="336945"/>
                  <a:pt x="-7268" y="320524"/>
                  <a:pt x="7163" y="320524"/>
                </a:cubicBezTo>
                <a:cubicBezTo>
                  <a:pt x="21594" y="320524"/>
                  <a:pt x="11310" y="298132"/>
                  <a:pt x="21428" y="296142"/>
                </a:cubicBezTo>
                <a:cubicBezTo>
                  <a:pt x="31545" y="294151"/>
                  <a:pt x="33702" y="286023"/>
                  <a:pt x="33702" y="275740"/>
                </a:cubicBezTo>
                <a:cubicBezTo>
                  <a:pt x="33702" y="265456"/>
                  <a:pt x="56260" y="259153"/>
                  <a:pt x="62397" y="257494"/>
                </a:cubicBezTo>
                <a:cubicBezTo>
                  <a:pt x="68534" y="255836"/>
                  <a:pt x="66544" y="222828"/>
                  <a:pt x="66544" y="222828"/>
                </a:cubicBezTo>
                <a:lnTo>
                  <a:pt x="66544" y="114848"/>
                </a:lnTo>
                <a:lnTo>
                  <a:pt x="97230" y="114848"/>
                </a:lnTo>
                <a:lnTo>
                  <a:pt x="97230" y="44188"/>
                </a:lnTo>
                <a:lnTo>
                  <a:pt x="300252" y="44188"/>
                </a:lnTo>
                <a:lnTo>
                  <a:pt x="312029" y="36392"/>
                </a:lnTo>
                <a:cubicBezTo>
                  <a:pt x="317834" y="32411"/>
                  <a:pt x="327787" y="42197"/>
                  <a:pt x="327787" y="42197"/>
                </a:cubicBezTo>
                <a:lnTo>
                  <a:pt x="370912" y="42197"/>
                </a:lnTo>
                <a:cubicBezTo>
                  <a:pt x="375341" y="47621"/>
                  <a:pt x="381710" y="51138"/>
                  <a:pt x="388660" y="51983"/>
                </a:cubicBezTo>
                <a:cubicBezTo>
                  <a:pt x="398447" y="51983"/>
                  <a:pt x="392475" y="36392"/>
                  <a:pt x="408233" y="36392"/>
                </a:cubicBezTo>
                <a:cubicBezTo>
                  <a:pt x="423990" y="36392"/>
                  <a:pt x="420009" y="13004"/>
                  <a:pt x="429961" y="13004"/>
                </a:cubicBezTo>
                <a:cubicBezTo>
                  <a:pt x="439914" y="13004"/>
                  <a:pt x="437757" y="14995"/>
                  <a:pt x="447543" y="1228"/>
                </a:cubicBezTo>
                <a:lnTo>
                  <a:pt x="448705" y="-100"/>
                </a:lnTo>
                <a:cubicBezTo>
                  <a:pt x="450645" y="10599"/>
                  <a:pt x="457545" y="19772"/>
                  <a:pt x="467282" y="24615"/>
                </a:cubicBezTo>
                <a:cubicBezTo>
                  <a:pt x="480833" y="32013"/>
                  <a:pt x="491117" y="44188"/>
                  <a:pt x="496143" y="58784"/>
                </a:cubicBezTo>
                <a:cubicBezTo>
                  <a:pt x="500389" y="76748"/>
                  <a:pt x="502894" y="95076"/>
                  <a:pt x="503607" y="113520"/>
                </a:cubicBezTo>
                <a:cubicBezTo>
                  <a:pt x="503607" y="139396"/>
                  <a:pt x="511403" y="159964"/>
                  <a:pt x="523179" y="165271"/>
                </a:cubicBezTo>
                <a:cubicBezTo>
                  <a:pt x="530942" y="170197"/>
                  <a:pt x="537742" y="176501"/>
                  <a:pt x="543249" y="183849"/>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36" name="Freeform: Shape 535">
            <a:extLst>
              <a:ext uri="{FF2B5EF4-FFF2-40B4-BE49-F238E27FC236}">
                <a16:creationId xmlns:a16="http://schemas.microsoft.com/office/drawing/2014/main" id="{52B25387-362E-42A3-96EB-9D6B7FE50D32}"/>
              </a:ext>
            </a:extLst>
          </p:cNvPr>
          <p:cNvSpPr/>
          <p:nvPr/>
        </p:nvSpPr>
        <p:spPr>
          <a:xfrm>
            <a:off x="5949603" y="4343765"/>
            <a:ext cx="307912" cy="230485"/>
          </a:xfrm>
          <a:custGeom>
            <a:avLst/>
            <a:gdLst>
              <a:gd name="connsiteX0" fmla="*/ 384800 w 388352"/>
              <a:gd name="connsiteY0" fmla="*/ 259318 h 296386"/>
              <a:gd name="connsiteX1" fmla="*/ 376506 w 388352"/>
              <a:gd name="connsiteY1" fmla="*/ 254342 h 296386"/>
              <a:gd name="connsiteX2" fmla="*/ 356602 w 388352"/>
              <a:gd name="connsiteY2" fmla="*/ 252186 h 296386"/>
              <a:gd name="connsiteX3" fmla="*/ 330063 w 388352"/>
              <a:gd name="connsiteY3" fmla="*/ 269768 h 296386"/>
              <a:gd name="connsiteX4" fmla="*/ 325751 w 388352"/>
              <a:gd name="connsiteY4" fmla="*/ 275076 h 296386"/>
              <a:gd name="connsiteX5" fmla="*/ 314472 w 388352"/>
              <a:gd name="connsiteY5" fmla="*/ 285857 h 296386"/>
              <a:gd name="connsiteX6" fmla="*/ 293904 w 388352"/>
              <a:gd name="connsiteY6" fmla="*/ 287350 h 296386"/>
              <a:gd name="connsiteX7" fmla="*/ 269521 w 388352"/>
              <a:gd name="connsiteY7" fmla="*/ 295312 h 296386"/>
              <a:gd name="connsiteX8" fmla="*/ 248954 w 388352"/>
              <a:gd name="connsiteY8" fmla="*/ 288014 h 296386"/>
              <a:gd name="connsiteX9" fmla="*/ 224405 w 388352"/>
              <a:gd name="connsiteY9" fmla="*/ 295146 h 296386"/>
              <a:gd name="connsiteX10" fmla="*/ 185924 w 388352"/>
              <a:gd name="connsiteY10" fmla="*/ 262967 h 296386"/>
              <a:gd name="connsiteX11" fmla="*/ 169337 w 388352"/>
              <a:gd name="connsiteY11" fmla="*/ 267114 h 296386"/>
              <a:gd name="connsiteX12" fmla="*/ 150925 w 388352"/>
              <a:gd name="connsiteY12" fmla="*/ 264958 h 296386"/>
              <a:gd name="connsiteX13" fmla="*/ 130358 w 388352"/>
              <a:gd name="connsiteY13" fmla="*/ 264958 h 296386"/>
              <a:gd name="connsiteX14" fmla="*/ 115927 w 388352"/>
              <a:gd name="connsiteY14" fmla="*/ 248371 h 296386"/>
              <a:gd name="connsiteX15" fmla="*/ 107302 w 388352"/>
              <a:gd name="connsiteY15" fmla="*/ 239746 h 296386"/>
              <a:gd name="connsiteX16" fmla="*/ 99672 w 388352"/>
              <a:gd name="connsiteY16" fmla="*/ 220671 h 296386"/>
              <a:gd name="connsiteX17" fmla="*/ 77114 w 388352"/>
              <a:gd name="connsiteY17" fmla="*/ 204084 h 296386"/>
              <a:gd name="connsiteX18" fmla="*/ 64840 w 388352"/>
              <a:gd name="connsiteY18" fmla="*/ 181692 h 296386"/>
              <a:gd name="connsiteX19" fmla="*/ 44438 w 388352"/>
              <a:gd name="connsiteY19" fmla="*/ 163281 h 296386"/>
              <a:gd name="connsiteX20" fmla="*/ 30007 w 388352"/>
              <a:gd name="connsiteY20" fmla="*/ 142879 h 296386"/>
              <a:gd name="connsiteX21" fmla="*/ 3469 w 388352"/>
              <a:gd name="connsiteY21" fmla="*/ 130770 h 296386"/>
              <a:gd name="connsiteX22" fmla="*/ -15 w 388352"/>
              <a:gd name="connsiteY22" fmla="*/ 122311 h 296386"/>
              <a:gd name="connsiteX23" fmla="*/ 15079 w 388352"/>
              <a:gd name="connsiteY23" fmla="*/ 117999 h 296386"/>
              <a:gd name="connsiteX24" fmla="*/ 26690 w 388352"/>
              <a:gd name="connsiteY24" fmla="*/ 93450 h 296386"/>
              <a:gd name="connsiteX25" fmla="*/ 31666 w 388352"/>
              <a:gd name="connsiteY25" fmla="*/ 67243 h 296386"/>
              <a:gd name="connsiteX26" fmla="*/ 65669 w 388352"/>
              <a:gd name="connsiteY26" fmla="*/ 67243 h 296386"/>
              <a:gd name="connsiteX27" fmla="*/ 78772 w 388352"/>
              <a:gd name="connsiteY27" fmla="*/ 83001 h 296386"/>
              <a:gd name="connsiteX28" fmla="*/ 109293 w 388352"/>
              <a:gd name="connsiteY28" fmla="*/ 83996 h 296386"/>
              <a:gd name="connsiteX29" fmla="*/ 118581 w 388352"/>
              <a:gd name="connsiteY29" fmla="*/ 76532 h 296386"/>
              <a:gd name="connsiteX30" fmla="*/ 136163 w 388352"/>
              <a:gd name="connsiteY30" fmla="*/ 90797 h 296386"/>
              <a:gd name="connsiteX31" fmla="*/ 153911 w 388352"/>
              <a:gd name="connsiteY31" fmla="*/ 97597 h 296386"/>
              <a:gd name="connsiteX32" fmla="*/ 165853 w 388352"/>
              <a:gd name="connsiteY32" fmla="*/ 84659 h 296386"/>
              <a:gd name="connsiteX33" fmla="*/ 182440 w 388352"/>
              <a:gd name="connsiteY33" fmla="*/ 78024 h 296386"/>
              <a:gd name="connsiteX34" fmla="*/ 221585 w 388352"/>
              <a:gd name="connsiteY34" fmla="*/ 78024 h 296386"/>
              <a:gd name="connsiteX35" fmla="*/ 255754 w 388352"/>
              <a:gd name="connsiteY35" fmla="*/ 70726 h 296386"/>
              <a:gd name="connsiteX36" fmla="*/ 268858 w 388352"/>
              <a:gd name="connsiteY36" fmla="*/ 48997 h 296386"/>
              <a:gd name="connsiteX37" fmla="*/ 278976 w 388352"/>
              <a:gd name="connsiteY37" fmla="*/ 36226 h 296386"/>
              <a:gd name="connsiteX38" fmla="*/ 276819 w 388352"/>
              <a:gd name="connsiteY38" fmla="*/ 9023 h 296386"/>
              <a:gd name="connsiteX39" fmla="*/ 306676 w 388352"/>
              <a:gd name="connsiteY39" fmla="*/ 4213 h 296386"/>
              <a:gd name="connsiteX40" fmla="*/ 312149 w 388352"/>
              <a:gd name="connsiteY40" fmla="*/ -100 h 296386"/>
              <a:gd name="connsiteX41" fmla="*/ 319779 w 388352"/>
              <a:gd name="connsiteY41" fmla="*/ 49661 h 296386"/>
              <a:gd name="connsiteX42" fmla="*/ 335537 w 388352"/>
              <a:gd name="connsiteY42" fmla="*/ 78024 h 296386"/>
              <a:gd name="connsiteX43" fmla="*/ 331722 w 388352"/>
              <a:gd name="connsiteY43" fmla="*/ 89635 h 296386"/>
              <a:gd name="connsiteX44" fmla="*/ 327575 w 388352"/>
              <a:gd name="connsiteY44" fmla="*/ 126292 h 296386"/>
              <a:gd name="connsiteX45" fmla="*/ 300870 w 388352"/>
              <a:gd name="connsiteY45" fmla="*/ 132429 h 296386"/>
              <a:gd name="connsiteX46" fmla="*/ 294733 w 388352"/>
              <a:gd name="connsiteY46" fmla="*/ 150841 h 296386"/>
              <a:gd name="connsiteX47" fmla="*/ 325585 w 388352"/>
              <a:gd name="connsiteY47" fmla="*/ 167428 h 296386"/>
              <a:gd name="connsiteX48" fmla="*/ 354280 w 388352"/>
              <a:gd name="connsiteY48" fmla="*/ 204084 h 296386"/>
              <a:gd name="connsiteX49" fmla="*/ 385131 w 388352"/>
              <a:gd name="connsiteY49" fmla="*/ 228633 h 296386"/>
              <a:gd name="connsiteX50" fmla="*/ 384800 w 388352"/>
              <a:gd name="connsiteY50" fmla="*/ 259318 h 29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88352" h="296386">
                <a:moveTo>
                  <a:pt x="384800" y="259318"/>
                </a:moveTo>
                <a:cubicBezTo>
                  <a:pt x="381682" y="258340"/>
                  <a:pt x="378845" y="256631"/>
                  <a:pt x="376506" y="254342"/>
                </a:cubicBezTo>
                <a:cubicBezTo>
                  <a:pt x="372691" y="249864"/>
                  <a:pt x="363900" y="250693"/>
                  <a:pt x="356602" y="252186"/>
                </a:cubicBezTo>
                <a:cubicBezTo>
                  <a:pt x="349304" y="253679"/>
                  <a:pt x="331556" y="263797"/>
                  <a:pt x="330063" y="269768"/>
                </a:cubicBezTo>
                <a:cubicBezTo>
                  <a:pt x="329217" y="271941"/>
                  <a:pt x="327708" y="273799"/>
                  <a:pt x="325751" y="275076"/>
                </a:cubicBezTo>
                <a:cubicBezTo>
                  <a:pt x="321272" y="278891"/>
                  <a:pt x="314969" y="282374"/>
                  <a:pt x="314472" y="285857"/>
                </a:cubicBezTo>
                <a:cubicBezTo>
                  <a:pt x="313974" y="289341"/>
                  <a:pt x="299875" y="290170"/>
                  <a:pt x="293904" y="287350"/>
                </a:cubicBezTo>
                <a:cubicBezTo>
                  <a:pt x="284980" y="286156"/>
                  <a:pt x="276007" y="289075"/>
                  <a:pt x="269521" y="295312"/>
                </a:cubicBezTo>
                <a:cubicBezTo>
                  <a:pt x="266702" y="299790"/>
                  <a:pt x="256252" y="287350"/>
                  <a:pt x="248954" y="288014"/>
                </a:cubicBezTo>
                <a:cubicBezTo>
                  <a:pt x="240577" y="289705"/>
                  <a:pt x="232367" y="292077"/>
                  <a:pt x="224405" y="295146"/>
                </a:cubicBezTo>
                <a:cubicBezTo>
                  <a:pt x="207818" y="280715"/>
                  <a:pt x="190236" y="265787"/>
                  <a:pt x="185924" y="262967"/>
                </a:cubicBezTo>
                <a:cubicBezTo>
                  <a:pt x="181611" y="260148"/>
                  <a:pt x="169337" y="267114"/>
                  <a:pt x="169337" y="267114"/>
                </a:cubicBezTo>
                <a:cubicBezTo>
                  <a:pt x="169337" y="267114"/>
                  <a:pt x="159053" y="256830"/>
                  <a:pt x="150925" y="264958"/>
                </a:cubicBezTo>
                <a:cubicBezTo>
                  <a:pt x="142798" y="273086"/>
                  <a:pt x="130358" y="264958"/>
                  <a:pt x="130358" y="264958"/>
                </a:cubicBezTo>
                <a:cubicBezTo>
                  <a:pt x="124055" y="260927"/>
                  <a:pt x="119045" y="255172"/>
                  <a:pt x="115927" y="248371"/>
                </a:cubicBezTo>
                <a:cubicBezTo>
                  <a:pt x="114252" y="244507"/>
                  <a:pt x="111167" y="241421"/>
                  <a:pt x="107302" y="239746"/>
                </a:cubicBezTo>
                <a:lnTo>
                  <a:pt x="99672" y="220671"/>
                </a:lnTo>
                <a:cubicBezTo>
                  <a:pt x="99672" y="220671"/>
                  <a:pt x="77114" y="210387"/>
                  <a:pt x="77114" y="204084"/>
                </a:cubicBezTo>
                <a:cubicBezTo>
                  <a:pt x="77114" y="197781"/>
                  <a:pt x="77114" y="191810"/>
                  <a:pt x="64840" y="181692"/>
                </a:cubicBezTo>
                <a:cubicBezTo>
                  <a:pt x="52566" y="171574"/>
                  <a:pt x="44438" y="169418"/>
                  <a:pt x="44438" y="163281"/>
                </a:cubicBezTo>
                <a:cubicBezTo>
                  <a:pt x="44438" y="157144"/>
                  <a:pt x="40291" y="155153"/>
                  <a:pt x="30007" y="142879"/>
                </a:cubicBezTo>
                <a:cubicBezTo>
                  <a:pt x="23124" y="135465"/>
                  <a:pt x="13570" y="131119"/>
                  <a:pt x="3469" y="130770"/>
                </a:cubicBezTo>
                <a:lnTo>
                  <a:pt x="-15" y="122311"/>
                </a:lnTo>
                <a:cubicBezTo>
                  <a:pt x="6123" y="120819"/>
                  <a:pt x="15079" y="117999"/>
                  <a:pt x="15079" y="117999"/>
                </a:cubicBezTo>
                <a:cubicBezTo>
                  <a:pt x="26856" y="116340"/>
                  <a:pt x="26690" y="93450"/>
                  <a:pt x="26690" y="93450"/>
                </a:cubicBezTo>
                <a:cubicBezTo>
                  <a:pt x="17733" y="81010"/>
                  <a:pt x="31666" y="67243"/>
                  <a:pt x="31666" y="67243"/>
                </a:cubicBezTo>
                <a:cubicBezTo>
                  <a:pt x="55385" y="56130"/>
                  <a:pt x="65669" y="67243"/>
                  <a:pt x="65669" y="67243"/>
                </a:cubicBezTo>
                <a:cubicBezTo>
                  <a:pt x="69716" y="72750"/>
                  <a:pt x="74095" y="78008"/>
                  <a:pt x="78772" y="83001"/>
                </a:cubicBezTo>
                <a:cubicBezTo>
                  <a:pt x="102492" y="102739"/>
                  <a:pt x="109293" y="83996"/>
                  <a:pt x="109293" y="83996"/>
                </a:cubicBezTo>
                <a:cubicBezTo>
                  <a:pt x="111615" y="72551"/>
                  <a:pt x="118581" y="76532"/>
                  <a:pt x="118581" y="76532"/>
                </a:cubicBezTo>
                <a:cubicBezTo>
                  <a:pt x="125880" y="77361"/>
                  <a:pt x="136163" y="90797"/>
                  <a:pt x="136163" y="90797"/>
                </a:cubicBezTo>
                <a:cubicBezTo>
                  <a:pt x="151423" y="103402"/>
                  <a:pt x="153911" y="97597"/>
                  <a:pt x="153911" y="97597"/>
                </a:cubicBezTo>
                <a:cubicBezTo>
                  <a:pt x="156200" y="91991"/>
                  <a:pt x="160446" y="87396"/>
                  <a:pt x="165853" y="84659"/>
                </a:cubicBezTo>
                <a:cubicBezTo>
                  <a:pt x="181611" y="84659"/>
                  <a:pt x="182440" y="78024"/>
                  <a:pt x="182440" y="78024"/>
                </a:cubicBezTo>
                <a:cubicBezTo>
                  <a:pt x="194217" y="51817"/>
                  <a:pt x="221585" y="78024"/>
                  <a:pt x="221585" y="78024"/>
                </a:cubicBezTo>
                <a:cubicBezTo>
                  <a:pt x="250944" y="101412"/>
                  <a:pt x="255754" y="70726"/>
                  <a:pt x="255754" y="70726"/>
                </a:cubicBezTo>
                <a:cubicBezTo>
                  <a:pt x="255754" y="51983"/>
                  <a:pt x="268858" y="48997"/>
                  <a:pt x="268858" y="48997"/>
                </a:cubicBezTo>
                <a:cubicBezTo>
                  <a:pt x="285445" y="43524"/>
                  <a:pt x="278976" y="36226"/>
                  <a:pt x="278976" y="36226"/>
                </a:cubicBezTo>
                <a:cubicBezTo>
                  <a:pt x="268360" y="9023"/>
                  <a:pt x="276819" y="9023"/>
                  <a:pt x="276819" y="9023"/>
                </a:cubicBezTo>
                <a:cubicBezTo>
                  <a:pt x="279308" y="3384"/>
                  <a:pt x="306676" y="4213"/>
                  <a:pt x="306676" y="4213"/>
                </a:cubicBezTo>
                <a:lnTo>
                  <a:pt x="312149" y="-100"/>
                </a:lnTo>
                <a:cubicBezTo>
                  <a:pt x="316528" y="16156"/>
                  <a:pt x="319083" y="32842"/>
                  <a:pt x="319779" y="49661"/>
                </a:cubicBezTo>
                <a:cubicBezTo>
                  <a:pt x="321554" y="60675"/>
                  <a:pt x="327127" y="70710"/>
                  <a:pt x="335537" y="78024"/>
                </a:cubicBezTo>
                <a:cubicBezTo>
                  <a:pt x="333265" y="81491"/>
                  <a:pt x="331954" y="85489"/>
                  <a:pt x="331722" y="89635"/>
                </a:cubicBezTo>
                <a:cubicBezTo>
                  <a:pt x="331971" y="101976"/>
                  <a:pt x="330577" y="114317"/>
                  <a:pt x="327575" y="126292"/>
                </a:cubicBezTo>
                <a:cubicBezTo>
                  <a:pt x="325585" y="128448"/>
                  <a:pt x="300870" y="122311"/>
                  <a:pt x="300870" y="132429"/>
                </a:cubicBezTo>
                <a:cubicBezTo>
                  <a:pt x="300870" y="142547"/>
                  <a:pt x="290587" y="142713"/>
                  <a:pt x="294733" y="150841"/>
                </a:cubicBezTo>
                <a:cubicBezTo>
                  <a:pt x="298880" y="158968"/>
                  <a:pt x="321438" y="156978"/>
                  <a:pt x="325585" y="167428"/>
                </a:cubicBezTo>
                <a:cubicBezTo>
                  <a:pt x="329731" y="177877"/>
                  <a:pt x="348143" y="187829"/>
                  <a:pt x="354280" y="204084"/>
                </a:cubicBezTo>
                <a:cubicBezTo>
                  <a:pt x="359240" y="217337"/>
                  <a:pt x="371099" y="226775"/>
                  <a:pt x="385131" y="228633"/>
                </a:cubicBezTo>
                <a:cubicBezTo>
                  <a:pt x="391269" y="230291"/>
                  <a:pt x="387122" y="240576"/>
                  <a:pt x="384800" y="259318"/>
                </a:cubicBezTo>
                <a:close/>
              </a:path>
            </a:pathLst>
          </a:custGeom>
          <a:solidFill>
            <a:schemeClr val="accent1">
              <a:lumMod val="40000"/>
              <a:lumOff val="60000"/>
            </a:schemeClr>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grpSp>
        <p:nvGrpSpPr>
          <p:cNvPr id="538" name="Group 537">
            <a:extLst>
              <a:ext uri="{FF2B5EF4-FFF2-40B4-BE49-F238E27FC236}">
                <a16:creationId xmlns:a16="http://schemas.microsoft.com/office/drawing/2014/main" id="{42EC4C68-F61E-476E-8C4C-9F93F4CC4043}"/>
              </a:ext>
            </a:extLst>
          </p:cNvPr>
          <p:cNvGrpSpPr/>
          <p:nvPr/>
        </p:nvGrpSpPr>
        <p:grpSpPr>
          <a:xfrm>
            <a:off x="2225068" y="3696167"/>
            <a:ext cx="4029272" cy="582716"/>
            <a:chOff x="1987743" y="3636839"/>
            <a:chExt cx="4345641" cy="628470"/>
          </a:xfrm>
        </p:grpSpPr>
        <p:sp>
          <p:nvSpPr>
            <p:cNvPr id="539" name="Freeform: Shape 538">
              <a:extLst>
                <a:ext uri="{FF2B5EF4-FFF2-40B4-BE49-F238E27FC236}">
                  <a16:creationId xmlns:a16="http://schemas.microsoft.com/office/drawing/2014/main" id="{40DD0C10-165E-4007-965C-0CB761EA8CD4}"/>
                </a:ext>
              </a:extLst>
            </p:cNvPr>
            <p:cNvSpPr/>
            <p:nvPr/>
          </p:nvSpPr>
          <p:spPr>
            <a:xfrm>
              <a:off x="4852290" y="3636839"/>
              <a:ext cx="453188" cy="444421"/>
            </a:xfrm>
            <a:custGeom>
              <a:avLst/>
              <a:gdLst>
                <a:gd name="connsiteX0" fmla="*/ 529768 w 529970"/>
                <a:gd name="connsiteY0" fmla="*/ 128718 h 529887"/>
                <a:gd name="connsiteX1" fmla="*/ 516665 w 529970"/>
                <a:gd name="connsiteY1" fmla="*/ 105995 h 529887"/>
                <a:gd name="connsiteX2" fmla="*/ 514509 w 529970"/>
                <a:gd name="connsiteY2" fmla="*/ 75640 h 529887"/>
                <a:gd name="connsiteX3" fmla="*/ 504888 w 529970"/>
                <a:gd name="connsiteY3" fmla="*/ 40974 h 529887"/>
                <a:gd name="connsiteX4" fmla="*/ 499415 w 529970"/>
                <a:gd name="connsiteY4" fmla="*/ 30690 h 529887"/>
                <a:gd name="connsiteX5" fmla="*/ 460767 w 529970"/>
                <a:gd name="connsiteY5" fmla="*/ 21733 h 529887"/>
                <a:gd name="connsiteX6" fmla="*/ 404372 w 529970"/>
                <a:gd name="connsiteY6" fmla="*/ 15762 h 529887"/>
                <a:gd name="connsiteX7" fmla="*/ 373355 w 529970"/>
                <a:gd name="connsiteY7" fmla="*/ 1498 h 529887"/>
                <a:gd name="connsiteX8" fmla="*/ 337030 w 529970"/>
                <a:gd name="connsiteY8" fmla="*/ 69338 h 529887"/>
                <a:gd name="connsiteX9" fmla="*/ 286440 w 529970"/>
                <a:gd name="connsiteY9" fmla="*/ 93388 h 529887"/>
                <a:gd name="connsiteX10" fmla="*/ 261394 w 529970"/>
                <a:gd name="connsiteY10" fmla="*/ 121918 h 529887"/>
                <a:gd name="connsiteX11" fmla="*/ 242650 w 529970"/>
                <a:gd name="connsiteY11" fmla="*/ 153433 h 529887"/>
                <a:gd name="connsiteX12" fmla="*/ 242650 w 529970"/>
                <a:gd name="connsiteY12" fmla="*/ 204023 h 529887"/>
                <a:gd name="connsiteX13" fmla="*/ 203340 w 529970"/>
                <a:gd name="connsiteY13" fmla="*/ 258593 h 529887"/>
                <a:gd name="connsiteX14" fmla="*/ 154740 w 529970"/>
                <a:gd name="connsiteY14" fmla="*/ 291767 h 529887"/>
                <a:gd name="connsiteX15" fmla="*/ 130689 w 529970"/>
                <a:gd name="connsiteY15" fmla="*/ 303544 h 529887"/>
                <a:gd name="connsiteX16" fmla="*/ 112444 w 529970"/>
                <a:gd name="connsiteY16" fmla="*/ 334064 h 529887"/>
                <a:gd name="connsiteX17" fmla="*/ 68323 w 529970"/>
                <a:gd name="connsiteY17" fmla="*/ 394937 h 529887"/>
                <a:gd name="connsiteX18" fmla="*/ 9772 w 529970"/>
                <a:gd name="connsiteY18" fmla="*/ 498605 h 529887"/>
                <a:gd name="connsiteX19" fmla="*/ -15 w 529970"/>
                <a:gd name="connsiteY19" fmla="*/ 529788 h 529887"/>
                <a:gd name="connsiteX20" fmla="*/ 131021 w 529970"/>
                <a:gd name="connsiteY20" fmla="*/ 529788 h 529887"/>
                <a:gd name="connsiteX21" fmla="*/ 131021 w 529970"/>
                <a:gd name="connsiteY21" fmla="*/ 477871 h 529887"/>
                <a:gd name="connsiteX22" fmla="*/ 165688 w 529970"/>
                <a:gd name="connsiteY22" fmla="*/ 452991 h 529887"/>
                <a:gd name="connsiteX23" fmla="*/ 165688 w 529970"/>
                <a:gd name="connsiteY23" fmla="*/ 364086 h 529887"/>
                <a:gd name="connsiteX24" fmla="*/ 277317 w 529970"/>
                <a:gd name="connsiteY24" fmla="*/ 364086 h 529887"/>
                <a:gd name="connsiteX25" fmla="*/ 278147 w 529970"/>
                <a:gd name="connsiteY25" fmla="*/ 316316 h 529887"/>
                <a:gd name="connsiteX26" fmla="*/ 277317 w 529970"/>
                <a:gd name="connsiteY26" fmla="*/ 270868 h 529887"/>
                <a:gd name="connsiteX27" fmla="*/ 330395 w 529970"/>
                <a:gd name="connsiteY27" fmla="*/ 236201 h 529887"/>
                <a:gd name="connsiteX28" fmla="*/ 352124 w 529970"/>
                <a:gd name="connsiteY28" fmla="*/ 229732 h 529887"/>
                <a:gd name="connsiteX29" fmla="*/ 381317 w 529970"/>
                <a:gd name="connsiteY29" fmla="*/ 223264 h 529887"/>
                <a:gd name="connsiteX30" fmla="*/ 397903 w 529970"/>
                <a:gd name="connsiteY30" fmla="*/ 203691 h 529887"/>
                <a:gd name="connsiteX31" fmla="*/ 422784 w 529970"/>
                <a:gd name="connsiteY31" fmla="*/ 195066 h 529887"/>
                <a:gd name="connsiteX32" fmla="*/ 437878 w 529970"/>
                <a:gd name="connsiteY32" fmla="*/ 185446 h 529887"/>
                <a:gd name="connsiteX33" fmla="*/ 442190 w 529970"/>
                <a:gd name="connsiteY33" fmla="*/ 164712 h 529887"/>
                <a:gd name="connsiteX34" fmla="*/ 453137 w 529970"/>
                <a:gd name="connsiteY34" fmla="*/ 156087 h 529887"/>
                <a:gd name="connsiteX35" fmla="*/ 472544 w 529970"/>
                <a:gd name="connsiteY35" fmla="*/ 144144 h 529887"/>
                <a:gd name="connsiteX36" fmla="*/ 521309 w 529970"/>
                <a:gd name="connsiteY36" fmla="*/ 141988 h 529887"/>
                <a:gd name="connsiteX37" fmla="*/ 529768 w 529970"/>
                <a:gd name="connsiteY37" fmla="*/ 128718 h 52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29970" h="529887">
                  <a:moveTo>
                    <a:pt x="529768" y="128718"/>
                  </a:moveTo>
                  <a:cubicBezTo>
                    <a:pt x="528608" y="123245"/>
                    <a:pt x="523300" y="106990"/>
                    <a:pt x="516665" y="105995"/>
                  </a:cubicBezTo>
                  <a:cubicBezTo>
                    <a:pt x="510030" y="104999"/>
                    <a:pt x="514509" y="88578"/>
                    <a:pt x="514509" y="75640"/>
                  </a:cubicBezTo>
                  <a:cubicBezTo>
                    <a:pt x="515288" y="63333"/>
                    <a:pt x="511904" y="51125"/>
                    <a:pt x="504888" y="40974"/>
                  </a:cubicBezTo>
                  <a:cubicBezTo>
                    <a:pt x="502716" y="37740"/>
                    <a:pt x="500874" y="34306"/>
                    <a:pt x="499415" y="30690"/>
                  </a:cubicBezTo>
                  <a:cubicBezTo>
                    <a:pt x="487472" y="30690"/>
                    <a:pt x="473207" y="22065"/>
                    <a:pt x="460767" y="21733"/>
                  </a:cubicBezTo>
                  <a:cubicBezTo>
                    <a:pt x="444180" y="21733"/>
                    <a:pt x="417144" y="30027"/>
                    <a:pt x="404372" y="15762"/>
                  </a:cubicBezTo>
                  <a:cubicBezTo>
                    <a:pt x="391600" y="1498"/>
                    <a:pt x="382643" y="-2815"/>
                    <a:pt x="373355" y="1498"/>
                  </a:cubicBezTo>
                  <a:cubicBezTo>
                    <a:pt x="364066" y="5810"/>
                    <a:pt x="346816" y="55073"/>
                    <a:pt x="337030" y="69338"/>
                  </a:cubicBezTo>
                  <a:cubicBezTo>
                    <a:pt x="323893" y="83569"/>
                    <a:pt x="305763" y="92178"/>
                    <a:pt x="286440" y="93388"/>
                  </a:cubicBezTo>
                  <a:cubicBezTo>
                    <a:pt x="273170" y="93388"/>
                    <a:pt x="271677" y="113624"/>
                    <a:pt x="261394" y="121918"/>
                  </a:cubicBezTo>
                  <a:cubicBezTo>
                    <a:pt x="251110" y="130211"/>
                    <a:pt x="254925" y="143481"/>
                    <a:pt x="242650" y="153433"/>
                  </a:cubicBezTo>
                  <a:cubicBezTo>
                    <a:pt x="230376" y="163385"/>
                    <a:pt x="236347" y="193241"/>
                    <a:pt x="242650" y="204023"/>
                  </a:cubicBezTo>
                  <a:cubicBezTo>
                    <a:pt x="248954" y="214804"/>
                    <a:pt x="220093" y="248641"/>
                    <a:pt x="203340" y="258593"/>
                  </a:cubicBezTo>
                  <a:cubicBezTo>
                    <a:pt x="186587" y="268545"/>
                    <a:pt x="181279" y="286957"/>
                    <a:pt x="154740" y="291767"/>
                  </a:cubicBezTo>
                  <a:cubicBezTo>
                    <a:pt x="145700" y="293144"/>
                    <a:pt x="137308" y="297241"/>
                    <a:pt x="130689" y="303544"/>
                  </a:cubicBezTo>
                  <a:cubicBezTo>
                    <a:pt x="122396" y="312218"/>
                    <a:pt x="116159" y="322651"/>
                    <a:pt x="112444" y="334064"/>
                  </a:cubicBezTo>
                  <a:cubicBezTo>
                    <a:pt x="106639" y="349655"/>
                    <a:pt x="69816" y="372877"/>
                    <a:pt x="68323" y="394937"/>
                  </a:cubicBezTo>
                  <a:cubicBezTo>
                    <a:pt x="66830" y="416998"/>
                    <a:pt x="32330" y="451498"/>
                    <a:pt x="9772" y="498605"/>
                  </a:cubicBezTo>
                  <a:cubicBezTo>
                    <a:pt x="4762" y="508375"/>
                    <a:pt x="1462" y="518907"/>
                    <a:pt x="-15" y="529788"/>
                  </a:cubicBezTo>
                  <a:lnTo>
                    <a:pt x="131021" y="529788"/>
                  </a:lnTo>
                  <a:lnTo>
                    <a:pt x="131021" y="477871"/>
                  </a:lnTo>
                  <a:cubicBezTo>
                    <a:pt x="131021" y="470241"/>
                    <a:pt x="165688" y="461284"/>
                    <a:pt x="165688" y="452991"/>
                  </a:cubicBezTo>
                  <a:lnTo>
                    <a:pt x="165688" y="364086"/>
                  </a:lnTo>
                  <a:cubicBezTo>
                    <a:pt x="165688" y="364086"/>
                    <a:pt x="274165" y="366242"/>
                    <a:pt x="277317" y="364086"/>
                  </a:cubicBezTo>
                  <a:cubicBezTo>
                    <a:pt x="279025" y="348212"/>
                    <a:pt x="279308" y="332239"/>
                    <a:pt x="278147" y="316316"/>
                  </a:cubicBezTo>
                  <a:cubicBezTo>
                    <a:pt x="278147" y="294587"/>
                    <a:pt x="276819" y="273024"/>
                    <a:pt x="277317" y="270868"/>
                  </a:cubicBezTo>
                  <a:cubicBezTo>
                    <a:pt x="294053" y="257897"/>
                    <a:pt x="311801" y="246302"/>
                    <a:pt x="330395" y="236201"/>
                  </a:cubicBezTo>
                  <a:cubicBezTo>
                    <a:pt x="338025" y="231889"/>
                    <a:pt x="352124" y="238357"/>
                    <a:pt x="352124" y="229732"/>
                  </a:cubicBezTo>
                  <a:cubicBezTo>
                    <a:pt x="352124" y="221107"/>
                    <a:pt x="370535" y="225419"/>
                    <a:pt x="381317" y="223264"/>
                  </a:cubicBezTo>
                  <a:cubicBezTo>
                    <a:pt x="390870" y="221654"/>
                    <a:pt x="397870" y="213378"/>
                    <a:pt x="397903" y="203691"/>
                  </a:cubicBezTo>
                  <a:cubicBezTo>
                    <a:pt x="397903" y="194071"/>
                    <a:pt x="412998" y="196227"/>
                    <a:pt x="422784" y="195066"/>
                  </a:cubicBezTo>
                  <a:cubicBezTo>
                    <a:pt x="432570" y="193905"/>
                    <a:pt x="431409" y="185446"/>
                    <a:pt x="437878" y="185446"/>
                  </a:cubicBezTo>
                  <a:cubicBezTo>
                    <a:pt x="444346" y="185446"/>
                    <a:pt x="441195" y="175659"/>
                    <a:pt x="442190" y="164712"/>
                  </a:cubicBezTo>
                  <a:cubicBezTo>
                    <a:pt x="443185" y="153765"/>
                    <a:pt x="443351" y="156087"/>
                    <a:pt x="453137" y="156087"/>
                  </a:cubicBezTo>
                  <a:cubicBezTo>
                    <a:pt x="462924" y="156087"/>
                    <a:pt x="472544" y="150613"/>
                    <a:pt x="472544" y="144144"/>
                  </a:cubicBezTo>
                  <a:cubicBezTo>
                    <a:pt x="472544" y="137676"/>
                    <a:pt x="514840" y="141988"/>
                    <a:pt x="521309" y="141988"/>
                  </a:cubicBezTo>
                  <a:cubicBezTo>
                    <a:pt x="527778" y="141988"/>
                    <a:pt x="530764" y="134192"/>
                    <a:pt x="529768" y="128718"/>
                  </a:cubicBezTo>
                  <a:close/>
                </a:path>
              </a:pathLst>
            </a:custGeom>
            <a:solidFill>
              <a:srgbClr val="0F47F2"/>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540" name="Freeform: Shape 539">
              <a:extLst>
                <a:ext uri="{FF2B5EF4-FFF2-40B4-BE49-F238E27FC236}">
                  <a16:creationId xmlns:a16="http://schemas.microsoft.com/office/drawing/2014/main" id="{11651D32-709A-4031-B39B-2A68338E6C52}"/>
                </a:ext>
              </a:extLst>
            </p:cNvPr>
            <p:cNvSpPr/>
            <p:nvPr/>
          </p:nvSpPr>
          <p:spPr>
            <a:xfrm>
              <a:off x="6028611" y="3761017"/>
              <a:ext cx="304773" cy="303410"/>
            </a:xfrm>
            <a:custGeom>
              <a:avLst/>
              <a:gdLst>
                <a:gd name="connsiteX0" fmla="*/ 333638 w 356410"/>
                <a:gd name="connsiteY0" fmla="*/ 77693 h 361758"/>
                <a:gd name="connsiteX1" fmla="*/ 309919 w 356410"/>
                <a:gd name="connsiteY1" fmla="*/ 19307 h 361758"/>
                <a:gd name="connsiteX2" fmla="*/ 306104 w 356410"/>
                <a:gd name="connsiteY2" fmla="*/ 24449 h 361758"/>
                <a:gd name="connsiteX3" fmla="*/ 270774 w 356410"/>
                <a:gd name="connsiteY3" fmla="*/ 22458 h 361758"/>
                <a:gd name="connsiteX4" fmla="*/ 228975 w 356410"/>
                <a:gd name="connsiteY4" fmla="*/ 13667 h 361758"/>
                <a:gd name="connsiteX5" fmla="*/ 159642 w 356410"/>
                <a:gd name="connsiteY5" fmla="*/ 24947 h 361758"/>
                <a:gd name="connsiteX6" fmla="*/ 122322 w 356410"/>
                <a:gd name="connsiteY6" fmla="*/ 28430 h 361758"/>
                <a:gd name="connsiteX7" fmla="*/ 61448 w 356410"/>
                <a:gd name="connsiteY7" fmla="*/ 11843 h 361758"/>
                <a:gd name="connsiteX8" fmla="*/ 11688 w 356410"/>
                <a:gd name="connsiteY8" fmla="*/ -100 h 361758"/>
                <a:gd name="connsiteX9" fmla="*/ 8702 w 356410"/>
                <a:gd name="connsiteY9" fmla="*/ 8194 h 361758"/>
                <a:gd name="connsiteX10" fmla="*/ 4556 w 356410"/>
                <a:gd name="connsiteY10" fmla="*/ 49163 h 361758"/>
                <a:gd name="connsiteX11" fmla="*/ 4556 w 356410"/>
                <a:gd name="connsiteY11" fmla="*/ 98924 h 361758"/>
                <a:gd name="connsiteX12" fmla="*/ 4556 w 356410"/>
                <a:gd name="connsiteY12" fmla="*/ 353863 h 361758"/>
                <a:gd name="connsiteX13" fmla="*/ 207578 w 356410"/>
                <a:gd name="connsiteY13" fmla="*/ 353863 h 361758"/>
                <a:gd name="connsiteX14" fmla="*/ 219355 w 356410"/>
                <a:gd name="connsiteY14" fmla="*/ 345902 h 361758"/>
                <a:gd name="connsiteX15" fmla="*/ 235112 w 356410"/>
                <a:gd name="connsiteY15" fmla="*/ 351873 h 361758"/>
                <a:gd name="connsiteX16" fmla="*/ 278238 w 356410"/>
                <a:gd name="connsiteY16" fmla="*/ 351873 h 361758"/>
                <a:gd name="connsiteX17" fmla="*/ 295986 w 356410"/>
                <a:gd name="connsiteY17" fmla="*/ 361659 h 361758"/>
                <a:gd name="connsiteX18" fmla="*/ 315559 w 356410"/>
                <a:gd name="connsiteY18" fmla="*/ 345902 h 361758"/>
                <a:gd name="connsiteX19" fmla="*/ 337287 w 356410"/>
                <a:gd name="connsiteY19" fmla="*/ 322349 h 361758"/>
                <a:gd name="connsiteX20" fmla="*/ 354869 w 356410"/>
                <a:gd name="connsiteY20" fmla="*/ 310572 h 361758"/>
                <a:gd name="connsiteX21" fmla="*/ 356031 w 356410"/>
                <a:gd name="connsiteY21" fmla="*/ 309245 h 361758"/>
                <a:gd name="connsiteX22" fmla="*/ 356031 w 356410"/>
                <a:gd name="connsiteY22" fmla="*/ 295810 h 361758"/>
                <a:gd name="connsiteX23" fmla="*/ 340770 w 356410"/>
                <a:gd name="connsiteY23" fmla="*/ 258987 h 361758"/>
                <a:gd name="connsiteX24" fmla="*/ 305440 w 356410"/>
                <a:gd name="connsiteY24" fmla="*/ 191147 h 361758"/>
                <a:gd name="connsiteX25" fmla="*/ 288854 w 356410"/>
                <a:gd name="connsiteY25" fmla="*/ 157973 h 361758"/>
                <a:gd name="connsiteX26" fmla="*/ 266296 w 356410"/>
                <a:gd name="connsiteY26" fmla="*/ 121150 h 361758"/>
                <a:gd name="connsiteX27" fmla="*/ 251036 w 356410"/>
                <a:gd name="connsiteY27" fmla="*/ 60111 h 361758"/>
                <a:gd name="connsiteX28" fmla="*/ 273096 w 356410"/>
                <a:gd name="connsiteY28" fmla="*/ 102905 h 361758"/>
                <a:gd name="connsiteX29" fmla="*/ 306270 w 356410"/>
                <a:gd name="connsiteY29" fmla="*/ 146694 h 361758"/>
                <a:gd name="connsiteX30" fmla="*/ 326340 w 356410"/>
                <a:gd name="connsiteY30" fmla="*/ 99421 h 361758"/>
                <a:gd name="connsiteX31" fmla="*/ 327169 w 356410"/>
                <a:gd name="connsiteY31" fmla="*/ 100914 h 361758"/>
                <a:gd name="connsiteX32" fmla="*/ 328496 w 356410"/>
                <a:gd name="connsiteY32" fmla="*/ 91957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6410" h="361758">
                  <a:moveTo>
                    <a:pt x="333638" y="77693"/>
                  </a:moveTo>
                  <a:lnTo>
                    <a:pt x="309919" y="19307"/>
                  </a:lnTo>
                  <a:cubicBezTo>
                    <a:pt x="308758" y="21098"/>
                    <a:pt x="307481" y="22823"/>
                    <a:pt x="306104" y="24449"/>
                  </a:cubicBezTo>
                  <a:cubicBezTo>
                    <a:pt x="302123" y="28430"/>
                    <a:pt x="286034" y="18644"/>
                    <a:pt x="270774" y="22458"/>
                  </a:cubicBezTo>
                  <a:cubicBezTo>
                    <a:pt x="256228" y="25096"/>
                    <a:pt x="241217" y="21945"/>
                    <a:pt x="228975" y="13667"/>
                  </a:cubicBezTo>
                  <a:cubicBezTo>
                    <a:pt x="214213" y="6369"/>
                    <a:pt x="166111" y="15658"/>
                    <a:pt x="159642" y="24947"/>
                  </a:cubicBezTo>
                  <a:cubicBezTo>
                    <a:pt x="153173" y="34235"/>
                    <a:pt x="137084" y="34235"/>
                    <a:pt x="122322" y="28430"/>
                  </a:cubicBezTo>
                  <a:cubicBezTo>
                    <a:pt x="103048" y="19672"/>
                    <a:pt x="82497" y="14066"/>
                    <a:pt x="61448" y="11843"/>
                  </a:cubicBezTo>
                  <a:cubicBezTo>
                    <a:pt x="36236" y="9521"/>
                    <a:pt x="15835" y="6038"/>
                    <a:pt x="11688" y="-100"/>
                  </a:cubicBezTo>
                  <a:lnTo>
                    <a:pt x="8702" y="8194"/>
                  </a:lnTo>
                  <a:cubicBezTo>
                    <a:pt x="574" y="30752"/>
                    <a:pt x="14839" y="36889"/>
                    <a:pt x="4556" y="49163"/>
                  </a:cubicBezTo>
                  <a:cubicBezTo>
                    <a:pt x="-5728" y="61437"/>
                    <a:pt x="4556" y="75868"/>
                    <a:pt x="4556" y="98924"/>
                  </a:cubicBezTo>
                  <a:lnTo>
                    <a:pt x="4556" y="353863"/>
                  </a:lnTo>
                  <a:lnTo>
                    <a:pt x="207578" y="353863"/>
                  </a:lnTo>
                  <a:lnTo>
                    <a:pt x="219355" y="345902"/>
                  </a:lnTo>
                  <a:cubicBezTo>
                    <a:pt x="225160" y="342087"/>
                    <a:pt x="235112" y="351873"/>
                    <a:pt x="235112" y="351873"/>
                  </a:cubicBezTo>
                  <a:lnTo>
                    <a:pt x="278238" y="351873"/>
                  </a:lnTo>
                  <a:cubicBezTo>
                    <a:pt x="282667" y="357297"/>
                    <a:pt x="289036" y="360813"/>
                    <a:pt x="295986" y="361659"/>
                  </a:cubicBezTo>
                  <a:cubicBezTo>
                    <a:pt x="305772" y="361659"/>
                    <a:pt x="299801" y="345902"/>
                    <a:pt x="315559" y="345902"/>
                  </a:cubicBezTo>
                  <a:cubicBezTo>
                    <a:pt x="331316" y="345902"/>
                    <a:pt x="327335" y="322349"/>
                    <a:pt x="337287" y="322349"/>
                  </a:cubicBezTo>
                  <a:cubicBezTo>
                    <a:pt x="347240" y="322349"/>
                    <a:pt x="345083" y="324339"/>
                    <a:pt x="354869" y="310572"/>
                  </a:cubicBezTo>
                  <a:lnTo>
                    <a:pt x="356031" y="309245"/>
                  </a:lnTo>
                  <a:cubicBezTo>
                    <a:pt x="355284" y="304799"/>
                    <a:pt x="355284" y="300255"/>
                    <a:pt x="356031" y="295810"/>
                  </a:cubicBezTo>
                  <a:cubicBezTo>
                    <a:pt x="358518" y="280052"/>
                    <a:pt x="347737" y="281047"/>
                    <a:pt x="340770" y="258987"/>
                  </a:cubicBezTo>
                  <a:cubicBezTo>
                    <a:pt x="333804" y="236926"/>
                    <a:pt x="306436" y="203918"/>
                    <a:pt x="305440" y="191147"/>
                  </a:cubicBezTo>
                  <a:cubicBezTo>
                    <a:pt x="304445" y="178375"/>
                    <a:pt x="288854" y="171077"/>
                    <a:pt x="288854" y="157973"/>
                  </a:cubicBezTo>
                  <a:cubicBezTo>
                    <a:pt x="288854" y="144869"/>
                    <a:pt x="281555" y="142713"/>
                    <a:pt x="266296" y="121150"/>
                  </a:cubicBezTo>
                  <a:cubicBezTo>
                    <a:pt x="251036" y="99588"/>
                    <a:pt x="246557" y="61604"/>
                    <a:pt x="251036" y="60111"/>
                  </a:cubicBezTo>
                  <a:cubicBezTo>
                    <a:pt x="255514" y="58618"/>
                    <a:pt x="267622" y="92123"/>
                    <a:pt x="273096" y="102905"/>
                  </a:cubicBezTo>
                  <a:cubicBezTo>
                    <a:pt x="278570" y="113686"/>
                    <a:pt x="294825" y="146694"/>
                    <a:pt x="306270" y="146694"/>
                  </a:cubicBezTo>
                  <a:cubicBezTo>
                    <a:pt x="317715" y="146694"/>
                    <a:pt x="322857" y="96934"/>
                    <a:pt x="326340" y="99421"/>
                  </a:cubicBezTo>
                  <a:cubicBezTo>
                    <a:pt x="326755" y="99836"/>
                    <a:pt x="327037" y="100350"/>
                    <a:pt x="327169" y="100914"/>
                  </a:cubicBezTo>
                  <a:lnTo>
                    <a:pt x="328496" y="91957"/>
                  </a:lnTo>
                  <a:close/>
                </a:path>
              </a:pathLst>
            </a:custGeom>
            <a:solidFill>
              <a:srgbClr val="0F47F2"/>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541" name="Freeform: Shape 540">
              <a:extLst>
                <a:ext uri="{FF2B5EF4-FFF2-40B4-BE49-F238E27FC236}">
                  <a16:creationId xmlns:a16="http://schemas.microsoft.com/office/drawing/2014/main" id="{911CF54E-186D-4E91-B67C-0B31E9622BDA}"/>
                </a:ext>
              </a:extLst>
            </p:cNvPr>
            <p:cNvSpPr/>
            <p:nvPr/>
          </p:nvSpPr>
          <p:spPr>
            <a:xfrm>
              <a:off x="1987743" y="3737924"/>
              <a:ext cx="863644" cy="527385"/>
            </a:xfrm>
            <a:custGeom>
              <a:avLst/>
              <a:gdLst>
                <a:gd name="connsiteX0" fmla="*/ 842596 w 1009968"/>
                <a:gd name="connsiteY0" fmla="*/ 593046 h 628806"/>
                <a:gd name="connsiteX1" fmla="*/ 886717 w 1009968"/>
                <a:gd name="connsiteY1" fmla="*/ 588069 h 628806"/>
                <a:gd name="connsiteX2" fmla="*/ 862500 w 1009968"/>
                <a:gd name="connsiteY2" fmla="*/ 556057 h 628806"/>
                <a:gd name="connsiteX3" fmla="*/ 873116 w 1009968"/>
                <a:gd name="connsiteY3" fmla="*/ 531177 h 628806"/>
                <a:gd name="connsiteX4" fmla="*/ 933658 w 1009968"/>
                <a:gd name="connsiteY4" fmla="*/ 531177 h 628806"/>
                <a:gd name="connsiteX5" fmla="*/ 954889 w 1009968"/>
                <a:gd name="connsiteY5" fmla="*/ 510443 h 628806"/>
                <a:gd name="connsiteX6" fmla="*/ 970481 w 1009968"/>
                <a:gd name="connsiteY6" fmla="*/ 520229 h 628806"/>
                <a:gd name="connsiteX7" fmla="*/ 985243 w 1009968"/>
                <a:gd name="connsiteY7" fmla="*/ 475113 h 628806"/>
                <a:gd name="connsiteX8" fmla="*/ 991048 w 1009968"/>
                <a:gd name="connsiteY8" fmla="*/ 437461 h 628806"/>
                <a:gd name="connsiteX9" fmla="*/ 1009460 w 1009968"/>
                <a:gd name="connsiteY9" fmla="*/ 410259 h 628806"/>
                <a:gd name="connsiteX10" fmla="*/ 980764 w 1009968"/>
                <a:gd name="connsiteY10" fmla="*/ 402795 h 628806"/>
                <a:gd name="connsiteX11" fmla="*/ 928516 w 1009968"/>
                <a:gd name="connsiteY11" fmla="*/ 404951 h 628806"/>
                <a:gd name="connsiteX12" fmla="*/ 885722 w 1009968"/>
                <a:gd name="connsiteY12" fmla="*/ 443432 h 628806"/>
                <a:gd name="connsiteX13" fmla="*/ 876102 w 1009968"/>
                <a:gd name="connsiteY13" fmla="*/ 473620 h 628806"/>
                <a:gd name="connsiteX14" fmla="*/ 854041 w 1009968"/>
                <a:gd name="connsiteY14" fmla="*/ 503809 h 628806"/>
                <a:gd name="connsiteX15" fmla="*/ 828995 w 1009968"/>
                <a:gd name="connsiteY15" fmla="*/ 500159 h 628806"/>
                <a:gd name="connsiteX16" fmla="*/ 750871 w 1009968"/>
                <a:gd name="connsiteY16" fmla="*/ 516746 h 628806"/>
                <a:gd name="connsiteX17" fmla="*/ 713219 w 1009968"/>
                <a:gd name="connsiteY17" fmla="*/ 498998 h 628806"/>
                <a:gd name="connsiteX18" fmla="*/ 694144 w 1009968"/>
                <a:gd name="connsiteY18" fmla="*/ 465825 h 628806"/>
                <a:gd name="connsiteX19" fmla="*/ 658814 w 1009968"/>
                <a:gd name="connsiteY19" fmla="*/ 422367 h 628806"/>
                <a:gd name="connsiteX20" fmla="*/ 646208 w 1009968"/>
                <a:gd name="connsiteY20" fmla="*/ 357513 h 628806"/>
                <a:gd name="connsiteX21" fmla="*/ 657321 w 1009968"/>
                <a:gd name="connsiteY21" fmla="*/ 264626 h 628806"/>
                <a:gd name="connsiteX22" fmla="*/ 660307 w 1009968"/>
                <a:gd name="connsiteY22" fmla="*/ 250693 h 628806"/>
                <a:gd name="connsiteX23" fmla="*/ 646374 w 1009968"/>
                <a:gd name="connsiteY23" fmla="*/ 245551 h 628806"/>
                <a:gd name="connsiteX24" fmla="*/ 599931 w 1009968"/>
                <a:gd name="connsiteY24" fmla="*/ 228965 h 628806"/>
                <a:gd name="connsiteX25" fmla="*/ 590476 w 1009968"/>
                <a:gd name="connsiteY25" fmla="*/ 208563 h 628806"/>
                <a:gd name="connsiteX26" fmla="*/ 582680 w 1009968"/>
                <a:gd name="connsiteY26" fmla="*/ 183351 h 628806"/>
                <a:gd name="connsiteX27" fmla="*/ 551166 w 1009968"/>
                <a:gd name="connsiteY27" fmla="*/ 138401 h 628806"/>
                <a:gd name="connsiteX28" fmla="*/ 492116 w 1009968"/>
                <a:gd name="connsiteY28" fmla="*/ 105227 h 628806"/>
                <a:gd name="connsiteX29" fmla="*/ 466075 w 1009968"/>
                <a:gd name="connsiteY29" fmla="*/ 135747 h 628806"/>
                <a:gd name="connsiteX30" fmla="*/ 427593 w 1009968"/>
                <a:gd name="connsiteY30" fmla="*/ 116174 h 628806"/>
                <a:gd name="connsiteX31" fmla="*/ 415817 w 1009968"/>
                <a:gd name="connsiteY31" fmla="*/ 94943 h 628806"/>
                <a:gd name="connsiteX32" fmla="*/ 394420 w 1009968"/>
                <a:gd name="connsiteY32" fmla="*/ 68902 h 628806"/>
                <a:gd name="connsiteX33" fmla="*/ 356768 w 1009968"/>
                <a:gd name="connsiteY33" fmla="*/ 35728 h 628806"/>
                <a:gd name="connsiteX34" fmla="*/ 305349 w 1009968"/>
                <a:gd name="connsiteY34" fmla="*/ 35728 h 628806"/>
                <a:gd name="connsiteX35" fmla="*/ 294401 w 1009968"/>
                <a:gd name="connsiteY35" fmla="*/ 49827 h 628806"/>
                <a:gd name="connsiteX36" fmla="*/ 199856 w 1009968"/>
                <a:gd name="connsiteY36" fmla="*/ 50656 h 628806"/>
                <a:gd name="connsiteX37" fmla="*/ 114103 w 1009968"/>
                <a:gd name="connsiteY37" fmla="*/ 20800 h 628806"/>
                <a:gd name="connsiteX38" fmla="*/ 76450 w 1009968"/>
                <a:gd name="connsiteY38" fmla="*/ -100 h 628806"/>
                <a:gd name="connsiteX39" fmla="*/ -15 w 1009968"/>
                <a:gd name="connsiteY39" fmla="*/ 9853 h 628806"/>
                <a:gd name="connsiteX40" fmla="*/ 17567 w 1009968"/>
                <a:gd name="connsiteY40" fmla="*/ 37718 h 628806"/>
                <a:gd name="connsiteX41" fmla="*/ 45599 w 1009968"/>
                <a:gd name="connsiteY41" fmla="*/ 102407 h 628806"/>
                <a:gd name="connsiteX42" fmla="*/ 86900 w 1009968"/>
                <a:gd name="connsiteY42" fmla="*/ 135581 h 628806"/>
                <a:gd name="connsiteX43" fmla="*/ 103487 w 1009968"/>
                <a:gd name="connsiteY43" fmla="*/ 179868 h 628806"/>
                <a:gd name="connsiteX44" fmla="*/ 77114 w 1009968"/>
                <a:gd name="connsiteY44" fmla="*/ 182024 h 628806"/>
                <a:gd name="connsiteX45" fmla="*/ 118249 w 1009968"/>
                <a:gd name="connsiteY45" fmla="*/ 213041 h 628806"/>
                <a:gd name="connsiteX46" fmla="*/ 154409 w 1009968"/>
                <a:gd name="connsiteY46" fmla="*/ 235102 h 628806"/>
                <a:gd name="connsiteX47" fmla="*/ 164029 w 1009968"/>
                <a:gd name="connsiteY47" fmla="*/ 276403 h 628806"/>
                <a:gd name="connsiteX48" fmla="*/ 202344 w 1009968"/>
                <a:gd name="connsiteY48" fmla="*/ 309577 h 628806"/>
                <a:gd name="connsiteX49" fmla="*/ 237674 w 1009968"/>
                <a:gd name="connsiteY49" fmla="*/ 352371 h 628806"/>
                <a:gd name="connsiteX50" fmla="*/ 254261 w 1009968"/>
                <a:gd name="connsiteY50" fmla="*/ 342087 h 628806"/>
                <a:gd name="connsiteX51" fmla="*/ 246797 w 1009968"/>
                <a:gd name="connsiteY51" fmla="*/ 315548 h 628806"/>
                <a:gd name="connsiteX52" fmla="*/ 218931 w 1009968"/>
                <a:gd name="connsiteY52" fmla="*/ 303771 h 628806"/>
                <a:gd name="connsiteX53" fmla="*/ 210804 w 1009968"/>
                <a:gd name="connsiteY53" fmla="*/ 274247 h 628806"/>
                <a:gd name="connsiteX54" fmla="*/ 189407 w 1009968"/>
                <a:gd name="connsiteY54" fmla="*/ 227140 h 628806"/>
                <a:gd name="connsiteX55" fmla="*/ 152584 w 1009968"/>
                <a:gd name="connsiteY55" fmla="*/ 177380 h 628806"/>
                <a:gd name="connsiteX56" fmla="*/ 126045 w 1009968"/>
                <a:gd name="connsiteY56" fmla="*/ 141220 h 628806"/>
                <a:gd name="connsiteX57" fmla="*/ 129694 w 1009968"/>
                <a:gd name="connsiteY57" fmla="*/ 123473 h 628806"/>
                <a:gd name="connsiteX58" fmla="*/ 103819 w 1009968"/>
                <a:gd name="connsiteY58" fmla="*/ 112359 h 628806"/>
                <a:gd name="connsiteX59" fmla="*/ 85407 w 1009968"/>
                <a:gd name="connsiteY59" fmla="*/ 86650 h 628806"/>
                <a:gd name="connsiteX60" fmla="*/ 74460 w 1009968"/>
                <a:gd name="connsiteY60" fmla="*/ 36889 h 628806"/>
                <a:gd name="connsiteX61" fmla="*/ 86237 w 1009968"/>
                <a:gd name="connsiteY61" fmla="*/ 33074 h 628806"/>
                <a:gd name="connsiteX62" fmla="*/ 98013 w 1009968"/>
                <a:gd name="connsiteY62" fmla="*/ 39045 h 628806"/>
                <a:gd name="connsiteX63" fmla="*/ 115529 w 1009968"/>
                <a:gd name="connsiteY63" fmla="*/ 45780 h 628806"/>
                <a:gd name="connsiteX64" fmla="*/ 115761 w 1009968"/>
                <a:gd name="connsiteY64" fmla="*/ 46343 h 628806"/>
                <a:gd name="connsiteX65" fmla="*/ 137822 w 1009968"/>
                <a:gd name="connsiteY65" fmla="*/ 50822 h 628806"/>
                <a:gd name="connsiteX66" fmla="*/ 143627 w 1009968"/>
                <a:gd name="connsiteY66" fmla="*/ 92787 h 628806"/>
                <a:gd name="connsiteX67" fmla="*/ 149598 w 1009968"/>
                <a:gd name="connsiteY67" fmla="*/ 130439 h 628806"/>
                <a:gd name="connsiteX68" fmla="*/ 165024 w 1009968"/>
                <a:gd name="connsiteY68" fmla="*/ 139230 h 628806"/>
                <a:gd name="connsiteX69" fmla="*/ 188577 w 1009968"/>
                <a:gd name="connsiteY69" fmla="*/ 158305 h 628806"/>
                <a:gd name="connsiteX70" fmla="*/ 216609 w 1009968"/>
                <a:gd name="connsiteY70" fmla="*/ 177545 h 628806"/>
                <a:gd name="connsiteX71" fmla="*/ 233196 w 1009968"/>
                <a:gd name="connsiteY71" fmla="*/ 199606 h 628806"/>
                <a:gd name="connsiteX72" fmla="*/ 256086 w 1009968"/>
                <a:gd name="connsiteY72" fmla="*/ 217354 h 628806"/>
                <a:gd name="connsiteX73" fmla="*/ 261228 w 1009968"/>
                <a:gd name="connsiteY73" fmla="*/ 237258 h 628806"/>
                <a:gd name="connsiteX74" fmla="*/ 281795 w 1009968"/>
                <a:gd name="connsiteY74" fmla="*/ 262967 h 628806"/>
                <a:gd name="connsiteX75" fmla="*/ 309164 w 1009968"/>
                <a:gd name="connsiteY75" fmla="*/ 288014 h 628806"/>
                <a:gd name="connsiteX76" fmla="*/ 380653 w 1009968"/>
                <a:gd name="connsiteY76" fmla="*/ 367631 h 628806"/>
                <a:gd name="connsiteX77" fmla="*/ 397240 w 1009968"/>
                <a:gd name="connsiteY77" fmla="*/ 403790 h 628806"/>
                <a:gd name="connsiteX78" fmla="*/ 395913 w 1009968"/>
                <a:gd name="connsiteY78" fmla="*/ 428173 h 628806"/>
                <a:gd name="connsiteX79" fmla="*/ 385463 w 1009968"/>
                <a:gd name="connsiteY79" fmla="*/ 439949 h 628806"/>
                <a:gd name="connsiteX80" fmla="*/ 412002 w 1009968"/>
                <a:gd name="connsiteY80" fmla="*/ 481250 h 628806"/>
                <a:gd name="connsiteX81" fmla="*/ 459938 w 1009968"/>
                <a:gd name="connsiteY81" fmla="*/ 513595 h 628806"/>
                <a:gd name="connsiteX82" fmla="*/ 513016 w 1009968"/>
                <a:gd name="connsiteY82" fmla="*/ 530182 h 628806"/>
                <a:gd name="connsiteX83" fmla="*/ 579363 w 1009968"/>
                <a:gd name="connsiteY83" fmla="*/ 563355 h 628806"/>
                <a:gd name="connsiteX84" fmla="*/ 654667 w 1009968"/>
                <a:gd name="connsiteY84" fmla="*/ 595700 h 628806"/>
                <a:gd name="connsiteX85" fmla="*/ 721015 w 1009968"/>
                <a:gd name="connsiteY85" fmla="*/ 592051 h 628806"/>
                <a:gd name="connsiteX86" fmla="*/ 781391 w 1009968"/>
                <a:gd name="connsiteY86" fmla="*/ 600842 h 628806"/>
                <a:gd name="connsiteX87" fmla="*/ 817218 w 1009968"/>
                <a:gd name="connsiteY87" fmla="*/ 628707 h 628806"/>
                <a:gd name="connsiteX88" fmla="*/ 842596 w 1009968"/>
                <a:gd name="connsiteY88" fmla="*/ 593046 h 62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09968" h="628806">
                  <a:moveTo>
                    <a:pt x="842596" y="593046"/>
                  </a:moveTo>
                  <a:cubicBezTo>
                    <a:pt x="846079" y="592216"/>
                    <a:pt x="883068" y="597358"/>
                    <a:pt x="886717" y="588069"/>
                  </a:cubicBezTo>
                  <a:cubicBezTo>
                    <a:pt x="890366" y="578781"/>
                    <a:pt x="858851" y="558213"/>
                    <a:pt x="862500" y="556057"/>
                  </a:cubicBezTo>
                  <a:cubicBezTo>
                    <a:pt x="866149" y="553901"/>
                    <a:pt x="867476" y="531177"/>
                    <a:pt x="873116" y="531177"/>
                  </a:cubicBezTo>
                  <a:cubicBezTo>
                    <a:pt x="878755" y="531177"/>
                    <a:pt x="930838" y="532503"/>
                    <a:pt x="933658" y="531177"/>
                  </a:cubicBezTo>
                  <a:cubicBezTo>
                    <a:pt x="936478" y="529850"/>
                    <a:pt x="946430" y="511107"/>
                    <a:pt x="954889" y="510443"/>
                  </a:cubicBezTo>
                  <a:cubicBezTo>
                    <a:pt x="958870" y="510443"/>
                    <a:pt x="965007" y="514921"/>
                    <a:pt x="970481" y="520229"/>
                  </a:cubicBezTo>
                  <a:cubicBezTo>
                    <a:pt x="979802" y="507010"/>
                    <a:pt x="984944" y="491285"/>
                    <a:pt x="985243" y="475113"/>
                  </a:cubicBezTo>
                  <a:cubicBezTo>
                    <a:pt x="987399" y="455209"/>
                    <a:pt x="980764" y="448574"/>
                    <a:pt x="991048" y="437461"/>
                  </a:cubicBezTo>
                  <a:cubicBezTo>
                    <a:pt x="1001332" y="426348"/>
                    <a:pt x="1012445" y="425685"/>
                    <a:pt x="1009460" y="410259"/>
                  </a:cubicBezTo>
                  <a:cubicBezTo>
                    <a:pt x="1006474" y="394833"/>
                    <a:pt x="992873" y="410259"/>
                    <a:pt x="980764" y="402795"/>
                  </a:cubicBezTo>
                  <a:cubicBezTo>
                    <a:pt x="968656" y="395330"/>
                    <a:pt x="958704" y="400638"/>
                    <a:pt x="928516" y="404951"/>
                  </a:cubicBezTo>
                  <a:cubicBezTo>
                    <a:pt x="898328" y="409263"/>
                    <a:pt x="884229" y="421538"/>
                    <a:pt x="885722" y="443432"/>
                  </a:cubicBezTo>
                  <a:cubicBezTo>
                    <a:pt x="887215" y="465327"/>
                    <a:pt x="875438" y="455209"/>
                    <a:pt x="876102" y="473620"/>
                  </a:cubicBezTo>
                  <a:cubicBezTo>
                    <a:pt x="876765" y="492032"/>
                    <a:pt x="852548" y="492695"/>
                    <a:pt x="854041" y="503809"/>
                  </a:cubicBezTo>
                  <a:cubicBezTo>
                    <a:pt x="855534" y="514921"/>
                    <a:pt x="834800" y="503809"/>
                    <a:pt x="828995" y="500159"/>
                  </a:cubicBezTo>
                  <a:cubicBezTo>
                    <a:pt x="823189" y="496510"/>
                    <a:pt x="759662" y="515585"/>
                    <a:pt x="750871" y="516746"/>
                  </a:cubicBezTo>
                  <a:cubicBezTo>
                    <a:pt x="742080" y="517907"/>
                    <a:pt x="725825" y="498335"/>
                    <a:pt x="713219" y="498998"/>
                  </a:cubicBezTo>
                  <a:cubicBezTo>
                    <a:pt x="700613" y="499662"/>
                    <a:pt x="695637" y="480587"/>
                    <a:pt x="694144" y="465825"/>
                  </a:cubicBezTo>
                  <a:cubicBezTo>
                    <a:pt x="692651" y="451063"/>
                    <a:pt x="669098" y="436300"/>
                    <a:pt x="658814" y="422367"/>
                  </a:cubicBezTo>
                  <a:cubicBezTo>
                    <a:pt x="648530" y="408434"/>
                    <a:pt x="646871" y="377417"/>
                    <a:pt x="646208" y="357513"/>
                  </a:cubicBezTo>
                  <a:cubicBezTo>
                    <a:pt x="643571" y="326114"/>
                    <a:pt x="647353" y="294516"/>
                    <a:pt x="657321" y="264626"/>
                  </a:cubicBezTo>
                  <a:cubicBezTo>
                    <a:pt x="658913" y="260131"/>
                    <a:pt x="659909" y="255454"/>
                    <a:pt x="660307" y="250693"/>
                  </a:cubicBezTo>
                  <a:cubicBezTo>
                    <a:pt x="656210" y="247757"/>
                    <a:pt x="651400" y="245966"/>
                    <a:pt x="646374" y="245551"/>
                  </a:cubicBezTo>
                  <a:cubicBezTo>
                    <a:pt x="633768" y="245551"/>
                    <a:pt x="605404" y="228965"/>
                    <a:pt x="599931" y="228965"/>
                  </a:cubicBezTo>
                  <a:cubicBezTo>
                    <a:pt x="594457" y="228965"/>
                    <a:pt x="595286" y="215695"/>
                    <a:pt x="590476" y="208563"/>
                  </a:cubicBezTo>
                  <a:cubicBezTo>
                    <a:pt x="585666" y="201430"/>
                    <a:pt x="588984" y="187995"/>
                    <a:pt x="582680" y="183351"/>
                  </a:cubicBezTo>
                  <a:cubicBezTo>
                    <a:pt x="568167" y="171624"/>
                    <a:pt x="557253" y="156049"/>
                    <a:pt x="551166" y="138401"/>
                  </a:cubicBezTo>
                  <a:cubicBezTo>
                    <a:pt x="544863" y="116506"/>
                    <a:pt x="506215" y="105227"/>
                    <a:pt x="492116" y="105227"/>
                  </a:cubicBezTo>
                  <a:cubicBezTo>
                    <a:pt x="478018" y="105227"/>
                    <a:pt x="470056" y="134254"/>
                    <a:pt x="466075" y="135747"/>
                  </a:cubicBezTo>
                  <a:cubicBezTo>
                    <a:pt x="452557" y="130688"/>
                    <a:pt x="439635" y="124136"/>
                    <a:pt x="427593" y="116174"/>
                  </a:cubicBezTo>
                  <a:cubicBezTo>
                    <a:pt x="419814" y="112061"/>
                    <a:pt x="415187" y="103734"/>
                    <a:pt x="415817" y="94943"/>
                  </a:cubicBezTo>
                  <a:cubicBezTo>
                    <a:pt x="415817" y="85489"/>
                    <a:pt x="399230" y="70561"/>
                    <a:pt x="394420" y="68902"/>
                  </a:cubicBezTo>
                  <a:cubicBezTo>
                    <a:pt x="381233" y="58585"/>
                    <a:pt x="368661" y="47521"/>
                    <a:pt x="356768" y="35728"/>
                  </a:cubicBezTo>
                  <a:lnTo>
                    <a:pt x="305349" y="35728"/>
                  </a:lnTo>
                  <a:lnTo>
                    <a:pt x="294401" y="49827"/>
                  </a:lnTo>
                  <a:lnTo>
                    <a:pt x="199856" y="50656"/>
                  </a:lnTo>
                  <a:cubicBezTo>
                    <a:pt x="199856" y="50656"/>
                    <a:pt x="127538" y="23952"/>
                    <a:pt x="114103" y="20800"/>
                  </a:cubicBezTo>
                  <a:cubicBezTo>
                    <a:pt x="100651" y="15608"/>
                    <a:pt x="87978" y="8576"/>
                    <a:pt x="76450" y="-100"/>
                  </a:cubicBezTo>
                  <a:lnTo>
                    <a:pt x="-15" y="9853"/>
                  </a:lnTo>
                  <a:cubicBezTo>
                    <a:pt x="4745" y="19788"/>
                    <a:pt x="10650" y="29143"/>
                    <a:pt x="17567" y="37718"/>
                  </a:cubicBezTo>
                  <a:cubicBezTo>
                    <a:pt x="31417" y="57042"/>
                    <a:pt x="40971" y="79086"/>
                    <a:pt x="45599" y="102407"/>
                  </a:cubicBezTo>
                  <a:cubicBezTo>
                    <a:pt x="47092" y="114350"/>
                    <a:pt x="68489" y="123804"/>
                    <a:pt x="86900" y="135581"/>
                  </a:cubicBezTo>
                  <a:cubicBezTo>
                    <a:pt x="100617" y="145831"/>
                    <a:pt x="107086" y="163132"/>
                    <a:pt x="103487" y="179868"/>
                  </a:cubicBezTo>
                  <a:cubicBezTo>
                    <a:pt x="101331" y="186502"/>
                    <a:pt x="78441" y="175389"/>
                    <a:pt x="77114" y="182024"/>
                  </a:cubicBezTo>
                  <a:cubicBezTo>
                    <a:pt x="75787" y="188659"/>
                    <a:pt x="106473" y="215198"/>
                    <a:pt x="118249" y="213041"/>
                  </a:cubicBezTo>
                  <a:cubicBezTo>
                    <a:pt x="130026" y="210885"/>
                    <a:pt x="135997" y="218847"/>
                    <a:pt x="154409" y="235102"/>
                  </a:cubicBezTo>
                  <a:cubicBezTo>
                    <a:pt x="172820" y="251357"/>
                    <a:pt x="170995" y="270432"/>
                    <a:pt x="164029" y="276403"/>
                  </a:cubicBezTo>
                  <a:cubicBezTo>
                    <a:pt x="157062" y="282374"/>
                    <a:pt x="178791" y="294814"/>
                    <a:pt x="202344" y="309577"/>
                  </a:cubicBezTo>
                  <a:cubicBezTo>
                    <a:pt x="218633" y="319429"/>
                    <a:pt x="231089" y="334507"/>
                    <a:pt x="237674" y="352371"/>
                  </a:cubicBezTo>
                  <a:cubicBezTo>
                    <a:pt x="239831" y="360498"/>
                    <a:pt x="250280" y="353200"/>
                    <a:pt x="254261" y="342087"/>
                  </a:cubicBezTo>
                  <a:cubicBezTo>
                    <a:pt x="258242" y="330974"/>
                    <a:pt x="246797" y="327988"/>
                    <a:pt x="246797" y="315548"/>
                  </a:cubicBezTo>
                  <a:cubicBezTo>
                    <a:pt x="246797" y="303108"/>
                    <a:pt x="227722" y="305264"/>
                    <a:pt x="218931" y="303771"/>
                  </a:cubicBezTo>
                  <a:cubicBezTo>
                    <a:pt x="210140" y="302279"/>
                    <a:pt x="218931" y="283038"/>
                    <a:pt x="210804" y="274247"/>
                  </a:cubicBezTo>
                  <a:cubicBezTo>
                    <a:pt x="200503" y="260181"/>
                    <a:pt x="193222" y="244142"/>
                    <a:pt x="189407" y="227140"/>
                  </a:cubicBezTo>
                  <a:cubicBezTo>
                    <a:pt x="184928" y="210553"/>
                    <a:pt x="162038" y="193967"/>
                    <a:pt x="152584" y="177380"/>
                  </a:cubicBezTo>
                  <a:cubicBezTo>
                    <a:pt x="146115" y="163745"/>
                    <a:pt x="137108" y="151488"/>
                    <a:pt x="126045" y="141220"/>
                  </a:cubicBezTo>
                  <a:cubicBezTo>
                    <a:pt x="119410" y="136742"/>
                    <a:pt x="135665" y="130107"/>
                    <a:pt x="129694" y="123473"/>
                  </a:cubicBezTo>
                  <a:cubicBezTo>
                    <a:pt x="123723" y="116837"/>
                    <a:pt x="114932" y="117667"/>
                    <a:pt x="103819" y="112359"/>
                  </a:cubicBezTo>
                  <a:cubicBezTo>
                    <a:pt x="93054" y="108279"/>
                    <a:pt x="85805" y="98144"/>
                    <a:pt x="85407" y="86650"/>
                  </a:cubicBezTo>
                  <a:cubicBezTo>
                    <a:pt x="83798" y="69681"/>
                    <a:pt x="80116" y="52962"/>
                    <a:pt x="74460" y="36889"/>
                  </a:cubicBezTo>
                  <a:cubicBezTo>
                    <a:pt x="70811" y="27269"/>
                    <a:pt x="82588" y="28761"/>
                    <a:pt x="86237" y="33074"/>
                  </a:cubicBezTo>
                  <a:cubicBezTo>
                    <a:pt x="89886" y="37387"/>
                    <a:pt x="92871" y="41865"/>
                    <a:pt x="98013" y="39045"/>
                  </a:cubicBezTo>
                  <a:cubicBezTo>
                    <a:pt x="104714" y="36076"/>
                    <a:pt x="112560" y="39079"/>
                    <a:pt x="115529" y="45780"/>
                  </a:cubicBezTo>
                  <a:cubicBezTo>
                    <a:pt x="115612" y="45962"/>
                    <a:pt x="115695" y="46161"/>
                    <a:pt x="115761" y="46343"/>
                  </a:cubicBezTo>
                  <a:cubicBezTo>
                    <a:pt x="119410" y="54471"/>
                    <a:pt x="132348" y="47173"/>
                    <a:pt x="137822" y="50822"/>
                  </a:cubicBezTo>
                  <a:cubicBezTo>
                    <a:pt x="143295" y="54471"/>
                    <a:pt x="124552" y="58950"/>
                    <a:pt x="143627" y="92787"/>
                  </a:cubicBezTo>
                  <a:cubicBezTo>
                    <a:pt x="162702" y="126624"/>
                    <a:pt x="149598" y="107549"/>
                    <a:pt x="149598" y="130439"/>
                  </a:cubicBezTo>
                  <a:cubicBezTo>
                    <a:pt x="149598" y="153329"/>
                    <a:pt x="161375" y="142879"/>
                    <a:pt x="165024" y="139230"/>
                  </a:cubicBezTo>
                  <a:cubicBezTo>
                    <a:pt x="168673" y="135581"/>
                    <a:pt x="179123" y="146528"/>
                    <a:pt x="188577" y="158305"/>
                  </a:cubicBezTo>
                  <a:cubicBezTo>
                    <a:pt x="198032" y="170082"/>
                    <a:pt x="216609" y="170911"/>
                    <a:pt x="216609" y="177545"/>
                  </a:cubicBezTo>
                  <a:cubicBezTo>
                    <a:pt x="216161" y="187912"/>
                    <a:pt x="223111" y="197151"/>
                    <a:pt x="233196" y="199606"/>
                  </a:cubicBezTo>
                  <a:cubicBezTo>
                    <a:pt x="245802" y="201928"/>
                    <a:pt x="247958" y="216193"/>
                    <a:pt x="256086" y="217354"/>
                  </a:cubicBezTo>
                  <a:cubicBezTo>
                    <a:pt x="264213" y="218515"/>
                    <a:pt x="265540" y="227638"/>
                    <a:pt x="261228" y="237258"/>
                  </a:cubicBezTo>
                  <a:cubicBezTo>
                    <a:pt x="256915" y="246879"/>
                    <a:pt x="261228" y="255006"/>
                    <a:pt x="281795" y="262967"/>
                  </a:cubicBezTo>
                  <a:cubicBezTo>
                    <a:pt x="302363" y="270929"/>
                    <a:pt x="292909" y="272588"/>
                    <a:pt x="309164" y="288014"/>
                  </a:cubicBezTo>
                  <a:cubicBezTo>
                    <a:pt x="334359" y="313292"/>
                    <a:pt x="358228" y="339864"/>
                    <a:pt x="380653" y="367631"/>
                  </a:cubicBezTo>
                  <a:cubicBezTo>
                    <a:pt x="387901" y="378827"/>
                    <a:pt x="393491" y="391002"/>
                    <a:pt x="397240" y="403790"/>
                  </a:cubicBezTo>
                  <a:cubicBezTo>
                    <a:pt x="401055" y="414074"/>
                    <a:pt x="389942" y="419216"/>
                    <a:pt x="395913" y="428173"/>
                  </a:cubicBezTo>
                  <a:cubicBezTo>
                    <a:pt x="401884" y="437129"/>
                    <a:pt x="384799" y="433314"/>
                    <a:pt x="385463" y="439949"/>
                  </a:cubicBezTo>
                  <a:cubicBezTo>
                    <a:pt x="386126" y="446584"/>
                    <a:pt x="395913" y="479757"/>
                    <a:pt x="412002" y="481250"/>
                  </a:cubicBezTo>
                  <a:cubicBezTo>
                    <a:pt x="428091" y="482743"/>
                    <a:pt x="446668" y="502481"/>
                    <a:pt x="459938" y="513595"/>
                  </a:cubicBezTo>
                  <a:cubicBezTo>
                    <a:pt x="473207" y="524708"/>
                    <a:pt x="493112" y="522386"/>
                    <a:pt x="513016" y="530182"/>
                  </a:cubicBezTo>
                  <a:cubicBezTo>
                    <a:pt x="532920" y="537977"/>
                    <a:pt x="549839" y="555228"/>
                    <a:pt x="579363" y="563355"/>
                  </a:cubicBezTo>
                  <a:cubicBezTo>
                    <a:pt x="605836" y="570620"/>
                    <a:pt x="631180" y="581501"/>
                    <a:pt x="654667" y="595700"/>
                  </a:cubicBezTo>
                  <a:cubicBezTo>
                    <a:pt x="673079" y="607476"/>
                    <a:pt x="695803" y="602334"/>
                    <a:pt x="721015" y="592051"/>
                  </a:cubicBezTo>
                  <a:cubicBezTo>
                    <a:pt x="746227" y="581766"/>
                    <a:pt x="766628" y="595036"/>
                    <a:pt x="781391" y="600842"/>
                  </a:cubicBezTo>
                  <a:cubicBezTo>
                    <a:pt x="794395" y="608687"/>
                    <a:pt x="806420" y="618042"/>
                    <a:pt x="817218" y="628707"/>
                  </a:cubicBezTo>
                  <a:cubicBezTo>
                    <a:pt x="824765" y="616201"/>
                    <a:pt x="833241" y="604275"/>
                    <a:pt x="842596" y="593046"/>
                  </a:cubicBezTo>
                  <a:close/>
                </a:path>
              </a:pathLst>
            </a:custGeom>
            <a:solidFill>
              <a:srgbClr val="0F47F2"/>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05EBB8B8-1C9D-45E0-961D-75C0591E9111}"/>
              </a:ext>
            </a:extLst>
          </p:cNvPr>
          <p:cNvGrpSpPr/>
          <p:nvPr/>
        </p:nvGrpSpPr>
        <p:grpSpPr>
          <a:xfrm>
            <a:off x="5416060" y="1845257"/>
            <a:ext cx="4922821" cy="3111872"/>
            <a:chOff x="5429284" y="1640600"/>
            <a:chExt cx="5309349" cy="3356209"/>
          </a:xfrm>
          <a:solidFill>
            <a:schemeClr val="tx2">
              <a:lumMod val="20000"/>
              <a:lumOff val="80000"/>
            </a:schemeClr>
          </a:solidFill>
        </p:grpSpPr>
        <p:sp>
          <p:nvSpPr>
            <p:cNvPr id="543" name="Freeform: Shape 542">
              <a:extLst>
                <a:ext uri="{FF2B5EF4-FFF2-40B4-BE49-F238E27FC236}">
                  <a16:creationId xmlns:a16="http://schemas.microsoft.com/office/drawing/2014/main" id="{E88E2E15-3E78-4AE6-87F9-088D347C123D}"/>
                </a:ext>
              </a:extLst>
            </p:cNvPr>
            <p:cNvSpPr/>
            <p:nvPr/>
          </p:nvSpPr>
          <p:spPr>
            <a:xfrm>
              <a:off x="6257198" y="4267236"/>
              <a:ext cx="421567" cy="322559"/>
            </a:xfrm>
            <a:custGeom>
              <a:avLst/>
              <a:gdLst>
                <a:gd name="connsiteX0" fmla="*/ 30329 w 492991"/>
                <a:gd name="connsiteY0" fmla="*/ 253373 h 384590"/>
                <a:gd name="connsiteX1" fmla="*/ 59024 w 492991"/>
                <a:gd name="connsiteY1" fmla="*/ 290362 h 384590"/>
                <a:gd name="connsiteX2" fmla="*/ 89875 w 492991"/>
                <a:gd name="connsiteY2" fmla="*/ 315076 h 384590"/>
                <a:gd name="connsiteX3" fmla="*/ 89875 w 492991"/>
                <a:gd name="connsiteY3" fmla="*/ 344103 h 384590"/>
                <a:gd name="connsiteX4" fmla="*/ 100657 w 492991"/>
                <a:gd name="connsiteY4" fmla="*/ 348747 h 384590"/>
                <a:gd name="connsiteX5" fmla="*/ 134660 w 492991"/>
                <a:gd name="connsiteY5" fmla="*/ 355382 h 384590"/>
                <a:gd name="connsiteX6" fmla="*/ 172976 w 492991"/>
                <a:gd name="connsiteY6" fmla="*/ 377443 h 384590"/>
                <a:gd name="connsiteX7" fmla="*/ 211291 w 492991"/>
                <a:gd name="connsiteY7" fmla="*/ 384077 h 384590"/>
                <a:gd name="connsiteX8" fmla="*/ 233352 w 492991"/>
                <a:gd name="connsiteY8" fmla="*/ 366495 h 384590"/>
                <a:gd name="connsiteX9" fmla="*/ 262047 w 492991"/>
                <a:gd name="connsiteY9" fmla="*/ 360524 h 384590"/>
                <a:gd name="connsiteX10" fmla="*/ 278634 w 492991"/>
                <a:gd name="connsiteY10" fmla="*/ 367159 h 384590"/>
                <a:gd name="connsiteX11" fmla="*/ 295221 w 492991"/>
                <a:gd name="connsiteY11" fmla="*/ 362514 h 384590"/>
                <a:gd name="connsiteX12" fmla="*/ 322091 w 492991"/>
                <a:gd name="connsiteY12" fmla="*/ 358368 h 384590"/>
                <a:gd name="connsiteX13" fmla="*/ 365549 w 492991"/>
                <a:gd name="connsiteY13" fmla="*/ 335478 h 384590"/>
                <a:gd name="connsiteX14" fmla="*/ 402371 w 492991"/>
                <a:gd name="connsiteY14" fmla="*/ 328843 h 384590"/>
                <a:gd name="connsiteX15" fmla="*/ 490945 w 492991"/>
                <a:gd name="connsiteY15" fmla="*/ 240435 h 384590"/>
                <a:gd name="connsiteX16" fmla="*/ 479003 w 492991"/>
                <a:gd name="connsiteY16" fmla="*/ 232971 h 384590"/>
                <a:gd name="connsiteX17" fmla="*/ 433389 w 492991"/>
                <a:gd name="connsiteY17" fmla="*/ 222688 h 384590"/>
                <a:gd name="connsiteX18" fmla="*/ 367042 w 492991"/>
                <a:gd name="connsiteY18" fmla="*/ 199134 h 384590"/>
                <a:gd name="connsiteX19" fmla="*/ 344815 w 492991"/>
                <a:gd name="connsiteY19" fmla="*/ 179230 h 384590"/>
                <a:gd name="connsiteX20" fmla="*/ 324247 w 492991"/>
                <a:gd name="connsiteY20" fmla="*/ 149042 h 384590"/>
                <a:gd name="connsiteX21" fmla="*/ 329224 w 492991"/>
                <a:gd name="connsiteY21" fmla="*/ 136602 h 384590"/>
                <a:gd name="connsiteX22" fmla="*/ 313632 w 492991"/>
                <a:gd name="connsiteY22" fmla="*/ 131128 h 384590"/>
                <a:gd name="connsiteX23" fmla="*/ 294889 w 492991"/>
                <a:gd name="connsiteY23" fmla="*/ 132289 h 384590"/>
                <a:gd name="connsiteX24" fmla="*/ 296050 w 492991"/>
                <a:gd name="connsiteY24" fmla="*/ 104257 h 384590"/>
                <a:gd name="connsiteX25" fmla="*/ 312637 w 492991"/>
                <a:gd name="connsiteY25" fmla="*/ 80372 h 384590"/>
                <a:gd name="connsiteX26" fmla="*/ 242143 w 492991"/>
                <a:gd name="connsiteY26" fmla="*/ 12035 h 384590"/>
                <a:gd name="connsiteX27" fmla="*/ 208969 w 492991"/>
                <a:gd name="connsiteY27" fmla="*/ 12035 h 384590"/>
                <a:gd name="connsiteX28" fmla="*/ 194538 w 492991"/>
                <a:gd name="connsiteY28" fmla="*/ 12035 h 384590"/>
                <a:gd name="connsiteX29" fmla="*/ 173805 w 492991"/>
                <a:gd name="connsiteY29" fmla="*/ 3741 h 384590"/>
                <a:gd name="connsiteX30" fmla="*/ 158214 w 492991"/>
                <a:gd name="connsiteY30" fmla="*/ 7888 h 384590"/>
                <a:gd name="connsiteX31" fmla="*/ 147929 w 492991"/>
                <a:gd name="connsiteY31" fmla="*/ 18338 h 384590"/>
                <a:gd name="connsiteX32" fmla="*/ 120064 w 492991"/>
                <a:gd name="connsiteY32" fmla="*/ 16845 h 384590"/>
                <a:gd name="connsiteX33" fmla="*/ 120064 w 492991"/>
                <a:gd name="connsiteY33" fmla="*/ 16845 h 384590"/>
                <a:gd name="connsiteX34" fmla="*/ 107790 w 492991"/>
                <a:gd name="connsiteY34" fmla="*/ 55824 h 384590"/>
                <a:gd name="connsiteX35" fmla="*/ 93359 w 492991"/>
                <a:gd name="connsiteY35" fmla="*/ 72411 h 384590"/>
                <a:gd name="connsiteX36" fmla="*/ 72957 w 492991"/>
                <a:gd name="connsiteY36" fmla="*/ 97125 h 384590"/>
                <a:gd name="connsiteX37" fmla="*/ 62673 w 492991"/>
                <a:gd name="connsiteY37" fmla="*/ 130299 h 384590"/>
                <a:gd name="connsiteX38" fmla="*/ 48243 w 492991"/>
                <a:gd name="connsiteY38" fmla="*/ 144563 h 384590"/>
                <a:gd name="connsiteX39" fmla="*/ 37959 w 492991"/>
                <a:gd name="connsiteY39" fmla="*/ 175415 h 384590"/>
                <a:gd name="connsiteX40" fmla="*/ 33812 w 492991"/>
                <a:gd name="connsiteY40" fmla="*/ 212403 h 384590"/>
                <a:gd name="connsiteX41" fmla="*/ 7107 w 492991"/>
                <a:gd name="connsiteY41" fmla="*/ 218541 h 384590"/>
                <a:gd name="connsiteX42" fmla="*/ 970 w 492991"/>
                <a:gd name="connsiteY42" fmla="*/ 237118 h 384590"/>
                <a:gd name="connsiteX43" fmla="*/ 30329 w 492991"/>
                <a:gd name="connsiteY43" fmla="*/ 253373 h 38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2991" h="384590">
                  <a:moveTo>
                    <a:pt x="30329" y="253373"/>
                  </a:moveTo>
                  <a:cubicBezTo>
                    <a:pt x="34310" y="263657"/>
                    <a:pt x="52887" y="273941"/>
                    <a:pt x="59024" y="290362"/>
                  </a:cubicBezTo>
                  <a:cubicBezTo>
                    <a:pt x="64000" y="303631"/>
                    <a:pt x="75843" y="313119"/>
                    <a:pt x="89875" y="315076"/>
                  </a:cubicBezTo>
                  <a:cubicBezTo>
                    <a:pt x="96013" y="315076"/>
                    <a:pt x="91866" y="325360"/>
                    <a:pt x="89875" y="344103"/>
                  </a:cubicBezTo>
                  <a:cubicBezTo>
                    <a:pt x="93691" y="345762"/>
                    <a:pt x="98003" y="347254"/>
                    <a:pt x="100657" y="348747"/>
                  </a:cubicBezTo>
                  <a:cubicBezTo>
                    <a:pt x="105799" y="351567"/>
                    <a:pt x="127196" y="348747"/>
                    <a:pt x="134660" y="355382"/>
                  </a:cubicBezTo>
                  <a:cubicBezTo>
                    <a:pt x="145840" y="365201"/>
                    <a:pt x="158877" y="372699"/>
                    <a:pt x="172976" y="377443"/>
                  </a:cubicBezTo>
                  <a:cubicBezTo>
                    <a:pt x="185980" y="377957"/>
                    <a:pt x="198868" y="380179"/>
                    <a:pt x="211291" y="384077"/>
                  </a:cubicBezTo>
                  <a:cubicBezTo>
                    <a:pt x="215604" y="387063"/>
                    <a:pt x="221575" y="373130"/>
                    <a:pt x="233352" y="366495"/>
                  </a:cubicBezTo>
                  <a:cubicBezTo>
                    <a:pt x="245128" y="359861"/>
                    <a:pt x="259890" y="355382"/>
                    <a:pt x="262047" y="360524"/>
                  </a:cubicBezTo>
                  <a:cubicBezTo>
                    <a:pt x="264983" y="366744"/>
                    <a:pt x="272215" y="369647"/>
                    <a:pt x="278634" y="367159"/>
                  </a:cubicBezTo>
                  <a:cubicBezTo>
                    <a:pt x="284025" y="365185"/>
                    <a:pt x="289581" y="363626"/>
                    <a:pt x="295221" y="362514"/>
                  </a:cubicBezTo>
                  <a:cubicBezTo>
                    <a:pt x="304012" y="360192"/>
                    <a:pt x="313018" y="358799"/>
                    <a:pt x="322091" y="358368"/>
                  </a:cubicBezTo>
                  <a:cubicBezTo>
                    <a:pt x="328063" y="358368"/>
                    <a:pt x="344152" y="335478"/>
                    <a:pt x="365549" y="335478"/>
                  </a:cubicBezTo>
                  <a:cubicBezTo>
                    <a:pt x="386946" y="335478"/>
                    <a:pt x="392917" y="339127"/>
                    <a:pt x="402371" y="328843"/>
                  </a:cubicBezTo>
                  <a:cubicBezTo>
                    <a:pt x="411826" y="318559"/>
                    <a:pt x="484310" y="245909"/>
                    <a:pt x="490945" y="240435"/>
                  </a:cubicBezTo>
                  <a:cubicBezTo>
                    <a:pt x="497580" y="234962"/>
                    <a:pt x="486467" y="232971"/>
                    <a:pt x="479003" y="232971"/>
                  </a:cubicBezTo>
                  <a:cubicBezTo>
                    <a:pt x="463262" y="232673"/>
                    <a:pt x="447737" y="229173"/>
                    <a:pt x="433389" y="222688"/>
                  </a:cubicBezTo>
                  <a:cubicBezTo>
                    <a:pt x="409836" y="213067"/>
                    <a:pt x="373013" y="200627"/>
                    <a:pt x="367042" y="199134"/>
                  </a:cubicBezTo>
                  <a:cubicBezTo>
                    <a:pt x="361070" y="197641"/>
                    <a:pt x="350455" y="182547"/>
                    <a:pt x="344815" y="179230"/>
                  </a:cubicBezTo>
                  <a:cubicBezTo>
                    <a:pt x="336207" y="170489"/>
                    <a:pt x="329240" y="160255"/>
                    <a:pt x="324247" y="149042"/>
                  </a:cubicBezTo>
                  <a:cubicBezTo>
                    <a:pt x="323252" y="146720"/>
                    <a:pt x="325575" y="141909"/>
                    <a:pt x="329224" y="136602"/>
                  </a:cubicBezTo>
                  <a:cubicBezTo>
                    <a:pt x="322091" y="129801"/>
                    <a:pt x="318442" y="127976"/>
                    <a:pt x="313632" y="131128"/>
                  </a:cubicBezTo>
                  <a:cubicBezTo>
                    <a:pt x="308822" y="134280"/>
                    <a:pt x="297045" y="136436"/>
                    <a:pt x="294889" y="132289"/>
                  </a:cubicBezTo>
                  <a:cubicBezTo>
                    <a:pt x="290643" y="123316"/>
                    <a:pt x="291074" y="112849"/>
                    <a:pt x="296050" y="104257"/>
                  </a:cubicBezTo>
                  <a:cubicBezTo>
                    <a:pt x="302071" y="96660"/>
                    <a:pt x="307611" y="88682"/>
                    <a:pt x="312637" y="80372"/>
                  </a:cubicBezTo>
                  <a:cubicBezTo>
                    <a:pt x="312637" y="80372"/>
                    <a:pt x="249441" y="14025"/>
                    <a:pt x="242143" y="12035"/>
                  </a:cubicBezTo>
                  <a:cubicBezTo>
                    <a:pt x="231096" y="12615"/>
                    <a:pt x="220016" y="12615"/>
                    <a:pt x="208969" y="12035"/>
                  </a:cubicBezTo>
                  <a:cubicBezTo>
                    <a:pt x="203827" y="10044"/>
                    <a:pt x="204823" y="6893"/>
                    <a:pt x="194538" y="12035"/>
                  </a:cubicBezTo>
                  <a:cubicBezTo>
                    <a:pt x="184255" y="17177"/>
                    <a:pt x="179942" y="9049"/>
                    <a:pt x="173805" y="3741"/>
                  </a:cubicBezTo>
                  <a:cubicBezTo>
                    <a:pt x="167668" y="-1567"/>
                    <a:pt x="161365" y="-2396"/>
                    <a:pt x="158214" y="7888"/>
                  </a:cubicBezTo>
                  <a:cubicBezTo>
                    <a:pt x="155062" y="18172"/>
                    <a:pt x="153071" y="23480"/>
                    <a:pt x="147929" y="18338"/>
                  </a:cubicBezTo>
                  <a:cubicBezTo>
                    <a:pt x="138873" y="15700"/>
                    <a:pt x="129336" y="15203"/>
                    <a:pt x="120064" y="16845"/>
                  </a:cubicBezTo>
                  <a:lnTo>
                    <a:pt x="120064" y="16845"/>
                  </a:lnTo>
                  <a:cubicBezTo>
                    <a:pt x="122220" y="31275"/>
                    <a:pt x="107790" y="47531"/>
                    <a:pt x="107790" y="55824"/>
                  </a:cubicBezTo>
                  <a:cubicBezTo>
                    <a:pt x="107457" y="64051"/>
                    <a:pt x="101453" y="70934"/>
                    <a:pt x="93359" y="72411"/>
                  </a:cubicBezTo>
                  <a:cubicBezTo>
                    <a:pt x="87222" y="72411"/>
                    <a:pt x="81084" y="88998"/>
                    <a:pt x="72957" y="97125"/>
                  </a:cubicBezTo>
                  <a:cubicBezTo>
                    <a:pt x="64830" y="105253"/>
                    <a:pt x="70801" y="123830"/>
                    <a:pt x="62673" y="130299"/>
                  </a:cubicBezTo>
                  <a:cubicBezTo>
                    <a:pt x="54546" y="136767"/>
                    <a:pt x="42106" y="138426"/>
                    <a:pt x="48243" y="144563"/>
                  </a:cubicBezTo>
                  <a:cubicBezTo>
                    <a:pt x="54380" y="150701"/>
                    <a:pt x="37959" y="163141"/>
                    <a:pt x="37959" y="175415"/>
                  </a:cubicBezTo>
                  <a:cubicBezTo>
                    <a:pt x="38208" y="187872"/>
                    <a:pt x="36815" y="200312"/>
                    <a:pt x="33812" y="212403"/>
                  </a:cubicBezTo>
                  <a:cubicBezTo>
                    <a:pt x="31822" y="214560"/>
                    <a:pt x="7107" y="208423"/>
                    <a:pt x="7107" y="218541"/>
                  </a:cubicBezTo>
                  <a:cubicBezTo>
                    <a:pt x="7107" y="228659"/>
                    <a:pt x="-3176" y="228825"/>
                    <a:pt x="970" y="237118"/>
                  </a:cubicBezTo>
                  <a:cubicBezTo>
                    <a:pt x="5117" y="245411"/>
                    <a:pt x="26182" y="243089"/>
                    <a:pt x="30329" y="253373"/>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44" name="Freeform: Shape 543">
              <a:extLst>
                <a:ext uri="{FF2B5EF4-FFF2-40B4-BE49-F238E27FC236}">
                  <a16:creationId xmlns:a16="http://schemas.microsoft.com/office/drawing/2014/main" id="{A47FFB89-0D96-4497-B9C1-6D5B82B4282E}"/>
                </a:ext>
              </a:extLst>
            </p:cNvPr>
            <p:cNvSpPr/>
            <p:nvPr/>
          </p:nvSpPr>
          <p:spPr>
            <a:xfrm>
              <a:off x="8896883" y="3556796"/>
              <a:ext cx="100991" cy="129457"/>
            </a:xfrm>
            <a:custGeom>
              <a:avLst/>
              <a:gdLst>
                <a:gd name="connsiteX0" fmla="*/ 24913 w 118102"/>
                <a:gd name="connsiteY0" fmla="*/ 13004 h 154353"/>
                <a:gd name="connsiteX1" fmla="*/ 5340 w 118102"/>
                <a:gd name="connsiteY1" fmla="*/ 27766 h 154353"/>
                <a:gd name="connsiteX2" fmla="*/ 15624 w 118102"/>
                <a:gd name="connsiteY2" fmla="*/ 45348 h 154353"/>
                <a:gd name="connsiteX3" fmla="*/ 23105 w 118102"/>
                <a:gd name="connsiteY3" fmla="*/ 52464 h 154353"/>
                <a:gd name="connsiteX4" fmla="*/ 15989 w 118102"/>
                <a:gd name="connsiteY4" fmla="*/ 59945 h 154353"/>
                <a:gd name="connsiteX5" fmla="*/ 13634 w 118102"/>
                <a:gd name="connsiteY5" fmla="*/ 59613 h 154353"/>
                <a:gd name="connsiteX6" fmla="*/ 12140 w 118102"/>
                <a:gd name="connsiteY6" fmla="*/ 90133 h 154353"/>
                <a:gd name="connsiteX7" fmla="*/ 1359 w 118102"/>
                <a:gd name="connsiteY7" fmla="*/ 130439 h 154353"/>
                <a:gd name="connsiteX8" fmla="*/ 6336 w 118102"/>
                <a:gd name="connsiteY8" fmla="*/ 152499 h 154353"/>
                <a:gd name="connsiteX9" fmla="*/ 69696 w 118102"/>
                <a:gd name="connsiteY9" fmla="*/ 131932 h 154353"/>
                <a:gd name="connsiteX10" fmla="*/ 102870 w 118102"/>
                <a:gd name="connsiteY10" fmla="*/ 118165 h 154353"/>
                <a:gd name="connsiteX11" fmla="*/ 116637 w 118102"/>
                <a:gd name="connsiteY11" fmla="*/ 103900 h 154353"/>
                <a:gd name="connsiteX12" fmla="*/ 107847 w 118102"/>
                <a:gd name="connsiteY12" fmla="*/ 55798 h 154353"/>
                <a:gd name="connsiteX13" fmla="*/ 73512 w 118102"/>
                <a:gd name="connsiteY13" fmla="*/ -100 h 154353"/>
                <a:gd name="connsiteX14" fmla="*/ 55930 w 118102"/>
                <a:gd name="connsiteY14" fmla="*/ 6535 h 154353"/>
                <a:gd name="connsiteX15" fmla="*/ 24913 w 118102"/>
                <a:gd name="connsiteY15" fmla="*/ 13004 h 154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102" h="154353">
                  <a:moveTo>
                    <a:pt x="24913" y="13004"/>
                  </a:moveTo>
                  <a:cubicBezTo>
                    <a:pt x="21927" y="15990"/>
                    <a:pt x="12970" y="21629"/>
                    <a:pt x="5340" y="27766"/>
                  </a:cubicBezTo>
                  <a:cubicBezTo>
                    <a:pt x="9155" y="34069"/>
                    <a:pt x="8326" y="44353"/>
                    <a:pt x="15624" y="45348"/>
                  </a:cubicBezTo>
                  <a:cubicBezTo>
                    <a:pt x="19654" y="45249"/>
                    <a:pt x="23004" y="48434"/>
                    <a:pt x="23105" y="52464"/>
                  </a:cubicBezTo>
                  <a:cubicBezTo>
                    <a:pt x="23204" y="56495"/>
                    <a:pt x="20003" y="59845"/>
                    <a:pt x="15989" y="59945"/>
                  </a:cubicBezTo>
                  <a:cubicBezTo>
                    <a:pt x="15193" y="59961"/>
                    <a:pt x="14396" y="59845"/>
                    <a:pt x="13634" y="59613"/>
                  </a:cubicBezTo>
                  <a:cubicBezTo>
                    <a:pt x="2354" y="57125"/>
                    <a:pt x="2354" y="74873"/>
                    <a:pt x="12140" y="90133"/>
                  </a:cubicBezTo>
                  <a:cubicBezTo>
                    <a:pt x="21927" y="105393"/>
                    <a:pt x="-6437" y="123307"/>
                    <a:pt x="1359" y="130439"/>
                  </a:cubicBezTo>
                  <a:cubicBezTo>
                    <a:pt x="9155" y="137571"/>
                    <a:pt x="2852" y="147026"/>
                    <a:pt x="6336" y="152499"/>
                  </a:cubicBezTo>
                  <a:cubicBezTo>
                    <a:pt x="9818" y="157973"/>
                    <a:pt x="51451" y="150509"/>
                    <a:pt x="69696" y="131932"/>
                  </a:cubicBezTo>
                  <a:cubicBezTo>
                    <a:pt x="87942" y="113355"/>
                    <a:pt x="92752" y="115345"/>
                    <a:pt x="102870" y="118165"/>
                  </a:cubicBezTo>
                  <a:cubicBezTo>
                    <a:pt x="112989" y="120984"/>
                    <a:pt x="121613" y="111198"/>
                    <a:pt x="116637" y="103900"/>
                  </a:cubicBezTo>
                  <a:cubicBezTo>
                    <a:pt x="109190" y="89038"/>
                    <a:pt x="106138" y="72335"/>
                    <a:pt x="107847" y="55798"/>
                  </a:cubicBezTo>
                  <a:cubicBezTo>
                    <a:pt x="108676" y="42529"/>
                    <a:pt x="91260" y="18809"/>
                    <a:pt x="73512" y="-100"/>
                  </a:cubicBezTo>
                  <a:cubicBezTo>
                    <a:pt x="68685" y="4230"/>
                    <a:pt x="62415" y="6585"/>
                    <a:pt x="55930" y="6535"/>
                  </a:cubicBezTo>
                  <a:cubicBezTo>
                    <a:pt x="45165" y="5258"/>
                    <a:pt x="34267" y="7531"/>
                    <a:pt x="24913" y="13004"/>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45" name="Freeform: Shape 544">
              <a:extLst>
                <a:ext uri="{FF2B5EF4-FFF2-40B4-BE49-F238E27FC236}">
                  <a16:creationId xmlns:a16="http://schemas.microsoft.com/office/drawing/2014/main" id="{953EF4C8-8CDA-414A-BE3A-759ECF075DBA}"/>
                </a:ext>
              </a:extLst>
            </p:cNvPr>
            <p:cNvSpPr/>
            <p:nvPr/>
          </p:nvSpPr>
          <p:spPr>
            <a:xfrm>
              <a:off x="7829544" y="3936658"/>
              <a:ext cx="119623" cy="156148"/>
            </a:xfrm>
            <a:custGeom>
              <a:avLst/>
              <a:gdLst>
                <a:gd name="connsiteX0" fmla="*/ 139875 w 139890"/>
                <a:gd name="connsiteY0" fmla="*/ 155061 h 186177"/>
                <a:gd name="connsiteX1" fmla="*/ 126440 w 139890"/>
                <a:gd name="connsiteY1" fmla="*/ 90870 h 186177"/>
                <a:gd name="connsiteX2" fmla="*/ 102555 w 139890"/>
                <a:gd name="connsiteY2" fmla="*/ 116745 h 186177"/>
                <a:gd name="connsiteX3" fmla="*/ 104545 w 139890"/>
                <a:gd name="connsiteY3" fmla="*/ 80918 h 186177"/>
                <a:gd name="connsiteX4" fmla="*/ 130421 w 139890"/>
                <a:gd name="connsiteY4" fmla="*/ 47744 h 186177"/>
                <a:gd name="connsiteX5" fmla="*/ 106535 w 139890"/>
                <a:gd name="connsiteY5" fmla="*/ 39782 h 186177"/>
                <a:gd name="connsiteX6" fmla="*/ 68717 w 139890"/>
                <a:gd name="connsiteY6" fmla="*/ 41773 h 186177"/>
                <a:gd name="connsiteX7" fmla="*/ 52130 w 139890"/>
                <a:gd name="connsiteY7" fmla="*/ 25186 h 186177"/>
                <a:gd name="connsiteX8" fmla="*/ 30236 w 139890"/>
                <a:gd name="connsiteY8" fmla="*/ 7272 h 186177"/>
                <a:gd name="connsiteX9" fmla="*/ 2370 w 139890"/>
                <a:gd name="connsiteY9" fmla="*/ 7272 h 186177"/>
                <a:gd name="connsiteX10" fmla="*/ 24264 w 139890"/>
                <a:gd name="connsiteY10" fmla="*/ 35138 h 186177"/>
                <a:gd name="connsiteX11" fmla="*/ 6351 w 139890"/>
                <a:gd name="connsiteY11" fmla="*/ 49071 h 186177"/>
                <a:gd name="connsiteX12" fmla="*/ 14479 w 139890"/>
                <a:gd name="connsiteY12" fmla="*/ 98832 h 186177"/>
                <a:gd name="connsiteX13" fmla="*/ 26090 w 139890"/>
                <a:gd name="connsiteY13" fmla="*/ 159705 h 186177"/>
                <a:gd name="connsiteX14" fmla="*/ 48316 w 139890"/>
                <a:gd name="connsiteY14" fmla="*/ 153568 h 186177"/>
                <a:gd name="connsiteX15" fmla="*/ 74854 w 139890"/>
                <a:gd name="connsiteY15" fmla="*/ 140796 h 186177"/>
                <a:gd name="connsiteX16" fmla="*/ 94924 w 139890"/>
                <a:gd name="connsiteY16" fmla="*/ 124209 h 186177"/>
                <a:gd name="connsiteX17" fmla="*/ 112673 w 139890"/>
                <a:gd name="connsiteY17" fmla="*/ 169492 h 186177"/>
                <a:gd name="connsiteX18" fmla="*/ 117814 w 139890"/>
                <a:gd name="connsiteY18" fmla="*/ 186078 h 186177"/>
                <a:gd name="connsiteX19" fmla="*/ 129757 w 139890"/>
                <a:gd name="connsiteY19" fmla="*/ 176292 h 186177"/>
                <a:gd name="connsiteX20" fmla="*/ 139875 w 139890"/>
                <a:gd name="connsiteY20" fmla="*/ 155061 h 18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890" h="186177">
                  <a:moveTo>
                    <a:pt x="139875" y="155061"/>
                  </a:moveTo>
                  <a:cubicBezTo>
                    <a:pt x="133904" y="121887"/>
                    <a:pt x="130753" y="90870"/>
                    <a:pt x="126440" y="90870"/>
                  </a:cubicBezTo>
                  <a:cubicBezTo>
                    <a:pt x="122127" y="90870"/>
                    <a:pt x="112506" y="118736"/>
                    <a:pt x="102555" y="116745"/>
                  </a:cubicBezTo>
                  <a:cubicBezTo>
                    <a:pt x="92602" y="114755"/>
                    <a:pt x="92602" y="80918"/>
                    <a:pt x="104545" y="80918"/>
                  </a:cubicBezTo>
                  <a:cubicBezTo>
                    <a:pt x="116487" y="80918"/>
                    <a:pt x="130421" y="55042"/>
                    <a:pt x="130421" y="47744"/>
                  </a:cubicBezTo>
                  <a:cubicBezTo>
                    <a:pt x="130421" y="40446"/>
                    <a:pt x="118478" y="39782"/>
                    <a:pt x="106535" y="39782"/>
                  </a:cubicBezTo>
                  <a:cubicBezTo>
                    <a:pt x="94592" y="39782"/>
                    <a:pt x="68717" y="41773"/>
                    <a:pt x="68717" y="41773"/>
                  </a:cubicBezTo>
                  <a:cubicBezTo>
                    <a:pt x="68717" y="41773"/>
                    <a:pt x="52130" y="35802"/>
                    <a:pt x="52130" y="25186"/>
                  </a:cubicBezTo>
                  <a:cubicBezTo>
                    <a:pt x="52130" y="14571"/>
                    <a:pt x="46325" y="7272"/>
                    <a:pt x="30236" y="7272"/>
                  </a:cubicBezTo>
                  <a:cubicBezTo>
                    <a:pt x="14147" y="7272"/>
                    <a:pt x="14479" y="-9314"/>
                    <a:pt x="2370" y="7272"/>
                  </a:cubicBezTo>
                  <a:cubicBezTo>
                    <a:pt x="-9738" y="23859"/>
                    <a:pt x="28411" y="23859"/>
                    <a:pt x="24264" y="35138"/>
                  </a:cubicBezTo>
                  <a:cubicBezTo>
                    <a:pt x="20118" y="46417"/>
                    <a:pt x="7678" y="39119"/>
                    <a:pt x="6351" y="49071"/>
                  </a:cubicBezTo>
                  <a:cubicBezTo>
                    <a:pt x="5455" y="66056"/>
                    <a:pt x="8225" y="83024"/>
                    <a:pt x="14479" y="98832"/>
                  </a:cubicBezTo>
                  <a:cubicBezTo>
                    <a:pt x="21578" y="118371"/>
                    <a:pt x="25492" y="138922"/>
                    <a:pt x="26090" y="159705"/>
                  </a:cubicBezTo>
                  <a:cubicBezTo>
                    <a:pt x="35378" y="157881"/>
                    <a:pt x="39690" y="153568"/>
                    <a:pt x="48316" y="153568"/>
                  </a:cubicBezTo>
                  <a:cubicBezTo>
                    <a:pt x="56941" y="153568"/>
                    <a:pt x="73859" y="152075"/>
                    <a:pt x="74854" y="140796"/>
                  </a:cubicBezTo>
                  <a:cubicBezTo>
                    <a:pt x="75850" y="129517"/>
                    <a:pt x="88124" y="121224"/>
                    <a:pt x="94924" y="124209"/>
                  </a:cubicBezTo>
                  <a:cubicBezTo>
                    <a:pt x="105408" y="137097"/>
                    <a:pt x="111594" y="152921"/>
                    <a:pt x="112673" y="169492"/>
                  </a:cubicBezTo>
                  <a:cubicBezTo>
                    <a:pt x="113353" y="175297"/>
                    <a:pt x="115094" y="180920"/>
                    <a:pt x="117814" y="186078"/>
                  </a:cubicBezTo>
                  <a:cubicBezTo>
                    <a:pt x="121514" y="182479"/>
                    <a:pt x="125494" y="179211"/>
                    <a:pt x="129757" y="176292"/>
                  </a:cubicBezTo>
                  <a:cubicBezTo>
                    <a:pt x="131930" y="168712"/>
                    <a:pt x="135347" y="161530"/>
                    <a:pt x="139875" y="155061"/>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46" name="Freeform: Shape 545">
              <a:extLst>
                <a:ext uri="{FF2B5EF4-FFF2-40B4-BE49-F238E27FC236}">
                  <a16:creationId xmlns:a16="http://schemas.microsoft.com/office/drawing/2014/main" id="{2DC592F8-2ECF-4B08-98FB-91A57700FF8A}"/>
                </a:ext>
              </a:extLst>
            </p:cNvPr>
            <p:cNvSpPr/>
            <p:nvPr/>
          </p:nvSpPr>
          <p:spPr>
            <a:xfrm>
              <a:off x="7823216" y="3081614"/>
              <a:ext cx="892665" cy="373771"/>
            </a:xfrm>
            <a:custGeom>
              <a:avLst/>
              <a:gdLst>
                <a:gd name="connsiteX0" fmla="*/ 1001000 w 1043906"/>
                <a:gd name="connsiteY0" fmla="*/ 185299 h 445650"/>
                <a:gd name="connsiteX1" fmla="*/ 974412 w 1043906"/>
                <a:gd name="connsiteY1" fmla="*/ 182512 h 445650"/>
                <a:gd name="connsiteX2" fmla="*/ 968987 w 1043906"/>
                <a:gd name="connsiteY2" fmla="*/ 189611 h 445650"/>
                <a:gd name="connsiteX3" fmla="*/ 936809 w 1043906"/>
                <a:gd name="connsiteY3" fmla="*/ 185299 h 445650"/>
                <a:gd name="connsiteX4" fmla="*/ 902640 w 1043906"/>
                <a:gd name="connsiteY4" fmla="*/ 183142 h 445650"/>
                <a:gd name="connsiteX5" fmla="*/ 906953 w 1043906"/>
                <a:gd name="connsiteY5" fmla="*/ 166556 h 445650"/>
                <a:gd name="connsiteX6" fmla="*/ 909109 w 1043906"/>
                <a:gd name="connsiteY6" fmla="*/ 149969 h 445650"/>
                <a:gd name="connsiteX7" fmla="*/ 935648 w 1043906"/>
                <a:gd name="connsiteY7" fmla="*/ 96725 h 445650"/>
                <a:gd name="connsiteX8" fmla="*/ 911597 w 1043906"/>
                <a:gd name="connsiteY8" fmla="*/ 94403 h 445650"/>
                <a:gd name="connsiteX9" fmla="*/ 883068 w 1043906"/>
                <a:gd name="connsiteY9" fmla="*/ 88598 h 445650"/>
                <a:gd name="connsiteX10" fmla="*/ 841767 w 1043906"/>
                <a:gd name="connsiteY10" fmla="*/ 86607 h 445650"/>
                <a:gd name="connsiteX11" fmla="*/ 815227 w 1043906"/>
                <a:gd name="connsiteY11" fmla="*/ 104355 h 445650"/>
                <a:gd name="connsiteX12" fmla="*/ 788689 w 1043906"/>
                <a:gd name="connsiteY12" fmla="*/ 114141 h 445650"/>
                <a:gd name="connsiteX13" fmla="*/ 745563 w 1043906"/>
                <a:gd name="connsiteY13" fmla="*/ 124923 h 445650"/>
                <a:gd name="connsiteX14" fmla="*/ 701276 w 1043906"/>
                <a:gd name="connsiteY14" fmla="*/ 124923 h 445650"/>
                <a:gd name="connsiteX15" fmla="*/ 658979 w 1043906"/>
                <a:gd name="connsiteY15" fmla="*/ 117127 h 445650"/>
                <a:gd name="connsiteX16" fmla="*/ 641397 w 1043906"/>
                <a:gd name="connsiteY16" fmla="*/ 98384 h 445650"/>
                <a:gd name="connsiteX17" fmla="*/ 613864 w 1043906"/>
                <a:gd name="connsiteY17" fmla="*/ 85612 h 445650"/>
                <a:gd name="connsiteX18" fmla="*/ 588319 w 1043906"/>
                <a:gd name="connsiteY18" fmla="*/ 78811 h 445650"/>
                <a:gd name="connsiteX19" fmla="*/ 557800 w 1043906"/>
                <a:gd name="connsiteY19" fmla="*/ 71845 h 445650"/>
                <a:gd name="connsiteX20" fmla="*/ 527446 w 1043906"/>
                <a:gd name="connsiteY20" fmla="*/ 75826 h 445650"/>
                <a:gd name="connsiteX21" fmla="*/ 503893 w 1043906"/>
                <a:gd name="connsiteY21" fmla="*/ 87602 h 445650"/>
                <a:gd name="connsiteX22" fmla="*/ 474368 w 1043906"/>
                <a:gd name="connsiteY22" fmla="*/ 78811 h 445650"/>
                <a:gd name="connsiteX23" fmla="*/ 453634 w 1043906"/>
                <a:gd name="connsiteY23" fmla="*/ 63054 h 445650"/>
                <a:gd name="connsiteX24" fmla="*/ 449820 w 1043906"/>
                <a:gd name="connsiteY24" fmla="*/ 34525 h 445650"/>
                <a:gd name="connsiteX25" fmla="*/ 416646 w 1043906"/>
                <a:gd name="connsiteY25" fmla="*/ 24738 h 445650"/>
                <a:gd name="connsiteX26" fmla="*/ 392098 w 1043906"/>
                <a:gd name="connsiteY26" fmla="*/ 14952 h 445650"/>
                <a:gd name="connsiteX27" fmla="*/ 371529 w 1043906"/>
                <a:gd name="connsiteY27" fmla="*/ 9976 h 445650"/>
                <a:gd name="connsiteX28" fmla="*/ 346981 w 1043906"/>
                <a:gd name="connsiteY28" fmla="*/ 190 h 445650"/>
                <a:gd name="connsiteX29" fmla="*/ 335039 w 1043906"/>
                <a:gd name="connsiteY29" fmla="*/ 10971 h 445650"/>
                <a:gd name="connsiteX30" fmla="*/ 317457 w 1043906"/>
                <a:gd name="connsiteY30" fmla="*/ 22748 h 445650"/>
                <a:gd name="connsiteX31" fmla="*/ 303690 w 1043906"/>
                <a:gd name="connsiteY31" fmla="*/ 39335 h 445650"/>
                <a:gd name="connsiteX32" fmla="*/ 315467 w 1043906"/>
                <a:gd name="connsiteY32" fmla="*/ 66869 h 445650"/>
                <a:gd name="connsiteX33" fmla="*/ 314471 w 1043906"/>
                <a:gd name="connsiteY33" fmla="*/ 86441 h 445650"/>
                <a:gd name="connsiteX34" fmla="*/ 286937 w 1043906"/>
                <a:gd name="connsiteY34" fmla="*/ 100208 h 445650"/>
                <a:gd name="connsiteX35" fmla="*/ 263384 w 1043906"/>
                <a:gd name="connsiteY35" fmla="*/ 93242 h 445650"/>
                <a:gd name="connsiteX36" fmla="*/ 236844 w 1043906"/>
                <a:gd name="connsiteY36" fmla="*/ 95232 h 445650"/>
                <a:gd name="connsiteX37" fmla="*/ 209311 w 1043906"/>
                <a:gd name="connsiteY37" fmla="*/ 84451 h 445650"/>
                <a:gd name="connsiteX38" fmla="*/ 198529 w 1043906"/>
                <a:gd name="connsiteY38" fmla="*/ 65874 h 445650"/>
                <a:gd name="connsiteX39" fmla="*/ 152418 w 1043906"/>
                <a:gd name="connsiteY39" fmla="*/ 57912 h 445650"/>
                <a:gd name="connsiteX40" fmla="*/ 128699 w 1043906"/>
                <a:gd name="connsiteY40" fmla="*/ 61893 h 445650"/>
                <a:gd name="connsiteX41" fmla="*/ 106140 w 1043906"/>
                <a:gd name="connsiteY41" fmla="*/ 71679 h 445650"/>
                <a:gd name="connsiteX42" fmla="*/ 84577 w 1043906"/>
                <a:gd name="connsiteY42" fmla="*/ 86441 h 445650"/>
                <a:gd name="connsiteX43" fmla="*/ 59034 w 1043906"/>
                <a:gd name="connsiteY43" fmla="*/ 101203 h 445650"/>
                <a:gd name="connsiteX44" fmla="*/ 28514 w 1043906"/>
                <a:gd name="connsiteY44" fmla="*/ 114971 h 445650"/>
                <a:gd name="connsiteX45" fmla="*/ 5956 w 1043906"/>
                <a:gd name="connsiteY45" fmla="*/ 123762 h 445650"/>
                <a:gd name="connsiteX46" fmla="*/ -15 w 1043906"/>
                <a:gd name="connsiteY46" fmla="*/ 125752 h 445650"/>
                <a:gd name="connsiteX47" fmla="*/ 980 w 1043906"/>
                <a:gd name="connsiteY47" fmla="*/ 129733 h 445650"/>
                <a:gd name="connsiteX48" fmla="*/ 24865 w 1043906"/>
                <a:gd name="connsiteY48" fmla="*/ 160419 h 445650"/>
                <a:gd name="connsiteX49" fmla="*/ 54721 w 1043906"/>
                <a:gd name="connsiteY49" fmla="*/ 177005 h 445650"/>
                <a:gd name="connsiteX50" fmla="*/ 83251 w 1043906"/>
                <a:gd name="connsiteY50" fmla="*/ 200227 h 445650"/>
                <a:gd name="connsiteX51" fmla="*/ 100998 w 1043906"/>
                <a:gd name="connsiteY51" fmla="*/ 225273 h 445650"/>
                <a:gd name="connsiteX52" fmla="*/ 99008 w 1043906"/>
                <a:gd name="connsiteY52" fmla="*/ 258447 h 445650"/>
                <a:gd name="connsiteX53" fmla="*/ 91545 w 1043906"/>
                <a:gd name="connsiteY53" fmla="*/ 285649 h 445650"/>
                <a:gd name="connsiteX54" fmla="*/ 166350 w 1043906"/>
                <a:gd name="connsiteY54" fmla="*/ 304061 h 445650"/>
                <a:gd name="connsiteX55" fmla="*/ 191231 w 1043906"/>
                <a:gd name="connsiteY55" fmla="*/ 319155 h 445650"/>
                <a:gd name="connsiteX56" fmla="*/ 212628 w 1043906"/>
                <a:gd name="connsiteY56" fmla="*/ 334083 h 445650"/>
                <a:gd name="connsiteX57" fmla="*/ 238338 w 1043906"/>
                <a:gd name="connsiteY57" fmla="*/ 361949 h 445650"/>
                <a:gd name="connsiteX58" fmla="*/ 257578 w 1043906"/>
                <a:gd name="connsiteY58" fmla="*/ 396118 h 445650"/>
                <a:gd name="connsiteX59" fmla="*/ 300372 w 1043906"/>
                <a:gd name="connsiteY59" fmla="*/ 400430 h 445650"/>
                <a:gd name="connsiteX60" fmla="*/ 379658 w 1043906"/>
                <a:gd name="connsiteY60" fmla="*/ 402586 h 445650"/>
                <a:gd name="connsiteX61" fmla="*/ 439536 w 1043906"/>
                <a:gd name="connsiteY61" fmla="*/ 415358 h 445650"/>
                <a:gd name="connsiteX62" fmla="*/ 476027 w 1043906"/>
                <a:gd name="connsiteY62" fmla="*/ 423983 h 445650"/>
                <a:gd name="connsiteX63" fmla="*/ 510196 w 1043906"/>
                <a:gd name="connsiteY63" fmla="*/ 432609 h 445650"/>
                <a:gd name="connsiteX64" fmla="*/ 535905 w 1043906"/>
                <a:gd name="connsiteY64" fmla="*/ 445380 h 445650"/>
                <a:gd name="connsiteX65" fmla="*/ 593627 w 1043906"/>
                <a:gd name="connsiteY65" fmla="*/ 415358 h 445650"/>
                <a:gd name="connsiteX66" fmla="*/ 668600 w 1043906"/>
                <a:gd name="connsiteY66" fmla="*/ 413368 h 445650"/>
                <a:gd name="connsiteX67" fmla="*/ 728478 w 1043906"/>
                <a:gd name="connsiteY67" fmla="*/ 387492 h 445650"/>
                <a:gd name="connsiteX68" fmla="*/ 769282 w 1043906"/>
                <a:gd name="connsiteY68" fmla="*/ 355480 h 445650"/>
                <a:gd name="connsiteX69" fmla="*/ 760657 w 1043906"/>
                <a:gd name="connsiteY69" fmla="*/ 316998 h 445650"/>
                <a:gd name="connsiteX70" fmla="*/ 791957 w 1043906"/>
                <a:gd name="connsiteY70" fmla="*/ 307859 h 445650"/>
                <a:gd name="connsiteX71" fmla="*/ 792835 w 1043906"/>
                <a:gd name="connsiteY71" fmla="*/ 308373 h 445650"/>
                <a:gd name="connsiteX72" fmla="*/ 846245 w 1043906"/>
                <a:gd name="connsiteY72" fmla="*/ 304061 h 445650"/>
                <a:gd name="connsiteX73" fmla="*/ 896006 w 1043906"/>
                <a:gd name="connsiteY73" fmla="*/ 289132 h 445650"/>
                <a:gd name="connsiteX74" fmla="*/ 926028 w 1043906"/>
                <a:gd name="connsiteY74" fmla="*/ 261267 h 445650"/>
                <a:gd name="connsiteX75" fmla="*/ 966665 w 1043906"/>
                <a:gd name="connsiteY75" fmla="*/ 244680 h 445650"/>
                <a:gd name="connsiteX76" fmla="*/ 1009459 w 1043906"/>
                <a:gd name="connsiteY76" fmla="*/ 236055 h 445650"/>
                <a:gd name="connsiteX77" fmla="*/ 1043794 w 1043906"/>
                <a:gd name="connsiteY77" fmla="*/ 231742 h 445650"/>
                <a:gd name="connsiteX78" fmla="*/ 1001000 w 1043906"/>
                <a:gd name="connsiteY78" fmla="*/ 185299 h 44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43906" h="445650">
                  <a:moveTo>
                    <a:pt x="1001000" y="185299"/>
                  </a:moveTo>
                  <a:cubicBezTo>
                    <a:pt x="994432" y="177188"/>
                    <a:pt x="982522" y="175927"/>
                    <a:pt x="974412" y="182512"/>
                  </a:cubicBezTo>
                  <a:cubicBezTo>
                    <a:pt x="972056" y="184403"/>
                    <a:pt x="970198" y="186841"/>
                    <a:pt x="968987" y="189611"/>
                  </a:cubicBezTo>
                  <a:cubicBezTo>
                    <a:pt x="964675" y="200393"/>
                    <a:pt x="956050" y="185299"/>
                    <a:pt x="936809" y="185299"/>
                  </a:cubicBezTo>
                  <a:cubicBezTo>
                    <a:pt x="917569" y="185299"/>
                    <a:pt x="915412" y="196080"/>
                    <a:pt x="902640" y="183142"/>
                  </a:cubicBezTo>
                  <a:cubicBezTo>
                    <a:pt x="889868" y="170205"/>
                    <a:pt x="906953" y="166556"/>
                    <a:pt x="906953" y="166556"/>
                  </a:cubicBezTo>
                  <a:lnTo>
                    <a:pt x="909109" y="149969"/>
                  </a:lnTo>
                  <a:lnTo>
                    <a:pt x="935648" y="96725"/>
                  </a:lnTo>
                  <a:cubicBezTo>
                    <a:pt x="928035" y="93607"/>
                    <a:pt x="919674" y="92794"/>
                    <a:pt x="911597" y="94403"/>
                  </a:cubicBezTo>
                  <a:cubicBezTo>
                    <a:pt x="903635" y="97389"/>
                    <a:pt x="885058" y="95398"/>
                    <a:pt x="883068" y="88598"/>
                  </a:cubicBezTo>
                  <a:cubicBezTo>
                    <a:pt x="881077" y="81797"/>
                    <a:pt x="849894" y="80802"/>
                    <a:pt x="841767" y="86607"/>
                  </a:cubicBezTo>
                  <a:cubicBezTo>
                    <a:pt x="833639" y="92412"/>
                    <a:pt x="816222" y="97389"/>
                    <a:pt x="815227" y="104355"/>
                  </a:cubicBezTo>
                  <a:cubicBezTo>
                    <a:pt x="814232" y="111321"/>
                    <a:pt x="795655" y="109165"/>
                    <a:pt x="788689" y="114141"/>
                  </a:cubicBezTo>
                  <a:cubicBezTo>
                    <a:pt x="781722" y="119117"/>
                    <a:pt x="746392" y="120942"/>
                    <a:pt x="745563" y="124923"/>
                  </a:cubicBezTo>
                  <a:cubicBezTo>
                    <a:pt x="731149" y="129434"/>
                    <a:pt x="715690" y="129434"/>
                    <a:pt x="701276" y="124923"/>
                  </a:cubicBezTo>
                  <a:cubicBezTo>
                    <a:pt x="695471" y="120113"/>
                    <a:pt x="662960" y="124923"/>
                    <a:pt x="658979" y="117127"/>
                  </a:cubicBezTo>
                  <a:cubicBezTo>
                    <a:pt x="654999" y="109331"/>
                    <a:pt x="641397" y="105350"/>
                    <a:pt x="641397" y="98384"/>
                  </a:cubicBezTo>
                  <a:cubicBezTo>
                    <a:pt x="641397" y="91417"/>
                    <a:pt x="616849" y="91583"/>
                    <a:pt x="613864" y="85612"/>
                  </a:cubicBezTo>
                  <a:cubicBezTo>
                    <a:pt x="610878" y="79641"/>
                    <a:pt x="591305" y="76821"/>
                    <a:pt x="588319" y="78811"/>
                  </a:cubicBezTo>
                  <a:cubicBezTo>
                    <a:pt x="585334" y="80802"/>
                    <a:pt x="563771" y="72840"/>
                    <a:pt x="557800" y="71845"/>
                  </a:cubicBezTo>
                  <a:cubicBezTo>
                    <a:pt x="551829" y="70850"/>
                    <a:pt x="533251" y="75826"/>
                    <a:pt x="527446" y="75826"/>
                  </a:cubicBezTo>
                  <a:cubicBezTo>
                    <a:pt x="521641" y="75826"/>
                    <a:pt x="510859" y="86607"/>
                    <a:pt x="503893" y="87602"/>
                  </a:cubicBezTo>
                  <a:cubicBezTo>
                    <a:pt x="496926" y="88598"/>
                    <a:pt x="478184" y="75826"/>
                    <a:pt x="474368" y="78811"/>
                  </a:cubicBezTo>
                  <a:cubicBezTo>
                    <a:pt x="470553" y="81797"/>
                    <a:pt x="457781" y="68859"/>
                    <a:pt x="453634" y="63054"/>
                  </a:cubicBezTo>
                  <a:cubicBezTo>
                    <a:pt x="449488" y="57248"/>
                    <a:pt x="453634" y="40496"/>
                    <a:pt x="449820" y="34525"/>
                  </a:cubicBezTo>
                  <a:cubicBezTo>
                    <a:pt x="446005" y="28553"/>
                    <a:pt x="424276" y="28719"/>
                    <a:pt x="416646" y="24738"/>
                  </a:cubicBezTo>
                  <a:cubicBezTo>
                    <a:pt x="409231" y="19795"/>
                    <a:pt x="400872" y="16461"/>
                    <a:pt x="392098" y="14952"/>
                  </a:cubicBezTo>
                  <a:cubicBezTo>
                    <a:pt x="384915" y="15218"/>
                    <a:pt x="377800" y="13492"/>
                    <a:pt x="371529" y="9976"/>
                  </a:cubicBezTo>
                  <a:cubicBezTo>
                    <a:pt x="363817" y="5630"/>
                    <a:pt x="355557" y="2346"/>
                    <a:pt x="346981" y="190"/>
                  </a:cubicBezTo>
                  <a:cubicBezTo>
                    <a:pt x="340015" y="-1801"/>
                    <a:pt x="339020" y="6990"/>
                    <a:pt x="335039" y="10971"/>
                  </a:cubicBezTo>
                  <a:cubicBezTo>
                    <a:pt x="331058" y="14952"/>
                    <a:pt x="319448" y="15947"/>
                    <a:pt x="317457" y="22748"/>
                  </a:cubicBezTo>
                  <a:cubicBezTo>
                    <a:pt x="315467" y="29549"/>
                    <a:pt x="300870" y="31539"/>
                    <a:pt x="303690" y="39335"/>
                  </a:cubicBezTo>
                  <a:cubicBezTo>
                    <a:pt x="305613" y="49254"/>
                    <a:pt x="309627" y="58625"/>
                    <a:pt x="315467" y="66869"/>
                  </a:cubicBezTo>
                  <a:cubicBezTo>
                    <a:pt x="320443" y="70684"/>
                    <a:pt x="317457" y="82461"/>
                    <a:pt x="314471" y="86441"/>
                  </a:cubicBezTo>
                  <a:cubicBezTo>
                    <a:pt x="311485" y="90422"/>
                    <a:pt x="290918" y="93242"/>
                    <a:pt x="286937" y="100208"/>
                  </a:cubicBezTo>
                  <a:cubicBezTo>
                    <a:pt x="282956" y="107175"/>
                    <a:pt x="273170" y="99213"/>
                    <a:pt x="263384" y="93242"/>
                  </a:cubicBezTo>
                  <a:cubicBezTo>
                    <a:pt x="254875" y="88797"/>
                    <a:pt x="244591" y="89576"/>
                    <a:pt x="236844" y="95232"/>
                  </a:cubicBezTo>
                  <a:cubicBezTo>
                    <a:pt x="231869" y="99213"/>
                    <a:pt x="214287" y="85446"/>
                    <a:pt x="209311" y="84451"/>
                  </a:cubicBezTo>
                  <a:cubicBezTo>
                    <a:pt x="204335" y="83456"/>
                    <a:pt x="203506" y="64879"/>
                    <a:pt x="198529" y="65874"/>
                  </a:cubicBezTo>
                  <a:cubicBezTo>
                    <a:pt x="182954" y="64530"/>
                    <a:pt x="167529" y="61860"/>
                    <a:pt x="152418" y="57912"/>
                  </a:cubicBezTo>
                  <a:cubicBezTo>
                    <a:pt x="145452" y="55922"/>
                    <a:pt x="130689" y="56917"/>
                    <a:pt x="128699" y="61893"/>
                  </a:cubicBezTo>
                  <a:cubicBezTo>
                    <a:pt x="126709" y="66869"/>
                    <a:pt x="109127" y="65874"/>
                    <a:pt x="106140" y="71679"/>
                  </a:cubicBezTo>
                  <a:cubicBezTo>
                    <a:pt x="103155" y="77484"/>
                    <a:pt x="89553" y="80636"/>
                    <a:pt x="84577" y="86441"/>
                  </a:cubicBezTo>
                  <a:cubicBezTo>
                    <a:pt x="79602" y="92247"/>
                    <a:pt x="63015" y="92412"/>
                    <a:pt x="59034" y="101203"/>
                  </a:cubicBezTo>
                  <a:cubicBezTo>
                    <a:pt x="55053" y="109995"/>
                    <a:pt x="34486" y="113975"/>
                    <a:pt x="28514" y="114971"/>
                  </a:cubicBezTo>
                  <a:cubicBezTo>
                    <a:pt x="22543" y="115966"/>
                    <a:pt x="6951" y="118952"/>
                    <a:pt x="5956" y="123762"/>
                  </a:cubicBezTo>
                  <a:cubicBezTo>
                    <a:pt x="5956" y="125918"/>
                    <a:pt x="2971" y="126084"/>
                    <a:pt x="-15" y="125752"/>
                  </a:cubicBezTo>
                  <a:cubicBezTo>
                    <a:pt x="416" y="127046"/>
                    <a:pt x="748" y="128389"/>
                    <a:pt x="980" y="129733"/>
                  </a:cubicBezTo>
                  <a:cubicBezTo>
                    <a:pt x="5127" y="152125"/>
                    <a:pt x="14582" y="151462"/>
                    <a:pt x="24865" y="160419"/>
                  </a:cubicBezTo>
                  <a:cubicBezTo>
                    <a:pt x="32727" y="169077"/>
                    <a:pt x="43211" y="174899"/>
                    <a:pt x="54721" y="177005"/>
                  </a:cubicBezTo>
                  <a:cubicBezTo>
                    <a:pt x="67676" y="179129"/>
                    <a:pt x="78540" y="187969"/>
                    <a:pt x="83251" y="200227"/>
                  </a:cubicBezTo>
                  <a:cubicBezTo>
                    <a:pt x="86386" y="210245"/>
                    <a:pt x="92589" y="219003"/>
                    <a:pt x="100998" y="225273"/>
                  </a:cubicBezTo>
                  <a:cubicBezTo>
                    <a:pt x="107135" y="230083"/>
                    <a:pt x="99008" y="246504"/>
                    <a:pt x="99008" y="258447"/>
                  </a:cubicBezTo>
                  <a:cubicBezTo>
                    <a:pt x="99008" y="270389"/>
                    <a:pt x="84080" y="273375"/>
                    <a:pt x="91545" y="285649"/>
                  </a:cubicBezTo>
                  <a:cubicBezTo>
                    <a:pt x="99008" y="297923"/>
                    <a:pt x="151423" y="304061"/>
                    <a:pt x="166350" y="304061"/>
                  </a:cubicBezTo>
                  <a:cubicBezTo>
                    <a:pt x="181279" y="304061"/>
                    <a:pt x="186753" y="318325"/>
                    <a:pt x="191231" y="319155"/>
                  </a:cubicBezTo>
                  <a:cubicBezTo>
                    <a:pt x="200685" y="320647"/>
                    <a:pt x="202013" y="331926"/>
                    <a:pt x="212628" y="334083"/>
                  </a:cubicBezTo>
                  <a:cubicBezTo>
                    <a:pt x="226395" y="336704"/>
                    <a:pt x="236828" y="348016"/>
                    <a:pt x="238338" y="361949"/>
                  </a:cubicBezTo>
                  <a:cubicBezTo>
                    <a:pt x="242650" y="381189"/>
                    <a:pt x="254925" y="387492"/>
                    <a:pt x="257578" y="396118"/>
                  </a:cubicBezTo>
                  <a:cubicBezTo>
                    <a:pt x="260232" y="404743"/>
                    <a:pt x="283288" y="398274"/>
                    <a:pt x="300372" y="400430"/>
                  </a:cubicBezTo>
                  <a:cubicBezTo>
                    <a:pt x="317457" y="402586"/>
                    <a:pt x="366720" y="400430"/>
                    <a:pt x="379658" y="402586"/>
                  </a:cubicBezTo>
                  <a:cubicBezTo>
                    <a:pt x="392595" y="404743"/>
                    <a:pt x="422451" y="402586"/>
                    <a:pt x="439536" y="415358"/>
                  </a:cubicBezTo>
                  <a:cubicBezTo>
                    <a:pt x="456620" y="428130"/>
                    <a:pt x="465245" y="417514"/>
                    <a:pt x="476027" y="423983"/>
                  </a:cubicBezTo>
                  <a:cubicBezTo>
                    <a:pt x="485846" y="431232"/>
                    <a:pt x="498120" y="434334"/>
                    <a:pt x="510196" y="432609"/>
                  </a:cubicBezTo>
                  <a:cubicBezTo>
                    <a:pt x="525124" y="430452"/>
                    <a:pt x="525124" y="443224"/>
                    <a:pt x="535905" y="445380"/>
                  </a:cubicBezTo>
                  <a:cubicBezTo>
                    <a:pt x="546686" y="447537"/>
                    <a:pt x="565928" y="428793"/>
                    <a:pt x="593627" y="415358"/>
                  </a:cubicBezTo>
                  <a:cubicBezTo>
                    <a:pt x="621327" y="401923"/>
                    <a:pt x="653672" y="411211"/>
                    <a:pt x="668600" y="413368"/>
                  </a:cubicBezTo>
                  <a:cubicBezTo>
                    <a:pt x="691374" y="413915"/>
                    <a:pt x="713268" y="404461"/>
                    <a:pt x="728478" y="387492"/>
                  </a:cubicBezTo>
                  <a:cubicBezTo>
                    <a:pt x="745065" y="368252"/>
                    <a:pt x="767126" y="372564"/>
                    <a:pt x="769282" y="355480"/>
                  </a:cubicBezTo>
                  <a:cubicBezTo>
                    <a:pt x="771439" y="338395"/>
                    <a:pt x="752695" y="331926"/>
                    <a:pt x="760657" y="316998"/>
                  </a:cubicBezTo>
                  <a:cubicBezTo>
                    <a:pt x="766778" y="305835"/>
                    <a:pt x="780793" y="301738"/>
                    <a:pt x="791957" y="307859"/>
                  </a:cubicBezTo>
                  <a:cubicBezTo>
                    <a:pt x="792255" y="308025"/>
                    <a:pt x="792554" y="308191"/>
                    <a:pt x="792835" y="308373"/>
                  </a:cubicBezTo>
                  <a:cubicBezTo>
                    <a:pt x="810136" y="316517"/>
                    <a:pt x="830471" y="314875"/>
                    <a:pt x="846245" y="304061"/>
                  </a:cubicBezTo>
                  <a:cubicBezTo>
                    <a:pt x="860625" y="293528"/>
                    <a:pt x="878191" y="288253"/>
                    <a:pt x="896006" y="289132"/>
                  </a:cubicBezTo>
                  <a:cubicBezTo>
                    <a:pt x="915246" y="286976"/>
                    <a:pt x="912593" y="274204"/>
                    <a:pt x="926028" y="261267"/>
                  </a:cubicBezTo>
                  <a:cubicBezTo>
                    <a:pt x="936809" y="250518"/>
                    <a:pt x="951439" y="244547"/>
                    <a:pt x="966665" y="244680"/>
                  </a:cubicBezTo>
                  <a:cubicBezTo>
                    <a:pt x="979603" y="244680"/>
                    <a:pt x="996687" y="231742"/>
                    <a:pt x="1009459" y="236055"/>
                  </a:cubicBezTo>
                  <a:cubicBezTo>
                    <a:pt x="1022231" y="240367"/>
                    <a:pt x="1041638" y="242523"/>
                    <a:pt x="1043794" y="231742"/>
                  </a:cubicBezTo>
                  <a:cubicBezTo>
                    <a:pt x="1045950" y="220960"/>
                    <a:pt x="1011616" y="197407"/>
                    <a:pt x="1001000" y="185299"/>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47" name="Freeform: Shape 546">
              <a:extLst>
                <a:ext uri="{FF2B5EF4-FFF2-40B4-BE49-F238E27FC236}">
                  <a16:creationId xmlns:a16="http://schemas.microsoft.com/office/drawing/2014/main" id="{4E68B41F-629B-4058-BC3A-A6A4CB795FA8}"/>
                </a:ext>
              </a:extLst>
            </p:cNvPr>
            <p:cNvSpPr/>
            <p:nvPr/>
          </p:nvSpPr>
          <p:spPr>
            <a:xfrm>
              <a:off x="7309270" y="3396475"/>
              <a:ext cx="309840" cy="127105"/>
            </a:xfrm>
            <a:custGeom>
              <a:avLst/>
              <a:gdLst>
                <a:gd name="connsiteX0" fmla="*/ 334455 w 362335"/>
                <a:gd name="connsiteY0" fmla="*/ 27838 h 151549"/>
                <a:gd name="connsiteX1" fmla="*/ 302940 w 362335"/>
                <a:gd name="connsiteY1" fmla="*/ 18881 h 151549"/>
                <a:gd name="connsiteX2" fmla="*/ 217518 w 362335"/>
                <a:gd name="connsiteY2" fmla="*/ 13905 h 151549"/>
                <a:gd name="connsiteX3" fmla="*/ 173397 w 362335"/>
                <a:gd name="connsiteY3" fmla="*/ 1299 h 151549"/>
                <a:gd name="connsiteX4" fmla="*/ 138896 w 362335"/>
                <a:gd name="connsiteY4" fmla="*/ 14900 h 151549"/>
                <a:gd name="connsiteX5" fmla="*/ 109372 w 362335"/>
                <a:gd name="connsiteY5" fmla="*/ 19876 h 151549"/>
                <a:gd name="connsiteX6" fmla="*/ 64255 w 362335"/>
                <a:gd name="connsiteY6" fmla="*/ 20872 h 151549"/>
                <a:gd name="connsiteX7" fmla="*/ 43688 w 362335"/>
                <a:gd name="connsiteY7" fmla="*/ 43430 h 151549"/>
                <a:gd name="connsiteX8" fmla="*/ 33570 w 362335"/>
                <a:gd name="connsiteY8" fmla="*/ 62007 h 151549"/>
                <a:gd name="connsiteX9" fmla="*/ 45844 w 362335"/>
                <a:gd name="connsiteY9" fmla="*/ 72954 h 151549"/>
                <a:gd name="connsiteX10" fmla="*/ 72217 w 362335"/>
                <a:gd name="connsiteY10" fmla="*/ 71627 h 151549"/>
                <a:gd name="connsiteX11" fmla="*/ 117997 w 362335"/>
                <a:gd name="connsiteY11" fmla="*/ 92693 h 151549"/>
                <a:gd name="connsiteX12" fmla="*/ 103566 w 362335"/>
                <a:gd name="connsiteY12" fmla="*/ 109279 h 151549"/>
                <a:gd name="connsiteX13" fmla="*/ 72217 w 362335"/>
                <a:gd name="connsiteY13" fmla="*/ 114421 h 151549"/>
                <a:gd name="connsiteX14" fmla="*/ 23618 w 362335"/>
                <a:gd name="connsiteY14" fmla="*/ 121056 h 151549"/>
                <a:gd name="connsiteX15" fmla="*/ 65 w 362335"/>
                <a:gd name="connsiteY15" fmla="*/ 140794 h 151549"/>
                <a:gd name="connsiteX16" fmla="*/ 47171 w 362335"/>
                <a:gd name="connsiteY16" fmla="*/ 144609 h 151549"/>
                <a:gd name="connsiteX17" fmla="*/ 77359 w 362335"/>
                <a:gd name="connsiteY17" fmla="*/ 145936 h 151549"/>
                <a:gd name="connsiteX18" fmla="*/ 104893 w 362335"/>
                <a:gd name="connsiteY18" fmla="*/ 151244 h 151549"/>
                <a:gd name="connsiteX19" fmla="*/ 148185 w 362335"/>
                <a:gd name="connsiteY19" fmla="*/ 148590 h 151549"/>
                <a:gd name="connsiteX20" fmla="*/ 153659 w 362335"/>
                <a:gd name="connsiteY20" fmla="*/ 132003 h 151549"/>
                <a:gd name="connsiteX21" fmla="*/ 168421 w 362335"/>
                <a:gd name="connsiteY21" fmla="*/ 123212 h 151549"/>
                <a:gd name="connsiteX22" fmla="*/ 186832 w 362335"/>
                <a:gd name="connsiteY22" fmla="*/ 111270 h 151549"/>
                <a:gd name="connsiteX23" fmla="*/ 206736 w 362335"/>
                <a:gd name="connsiteY23" fmla="*/ 104635 h 151549"/>
                <a:gd name="connsiteX24" fmla="*/ 227304 w 362335"/>
                <a:gd name="connsiteY24" fmla="*/ 111270 h 151549"/>
                <a:gd name="connsiteX25" fmla="*/ 247208 w 362335"/>
                <a:gd name="connsiteY25" fmla="*/ 98000 h 151549"/>
                <a:gd name="connsiteX26" fmla="*/ 277396 w 362335"/>
                <a:gd name="connsiteY26" fmla="*/ 89209 h 151549"/>
                <a:gd name="connsiteX27" fmla="*/ 303935 w 362335"/>
                <a:gd name="connsiteY27" fmla="*/ 74447 h 151549"/>
                <a:gd name="connsiteX28" fmla="*/ 329810 w 362335"/>
                <a:gd name="connsiteY28" fmla="*/ 59685 h 151549"/>
                <a:gd name="connsiteX29" fmla="*/ 359335 w 362335"/>
                <a:gd name="connsiteY29" fmla="*/ 45088 h 151549"/>
                <a:gd name="connsiteX30" fmla="*/ 362321 w 362335"/>
                <a:gd name="connsiteY30" fmla="*/ 37956 h 151549"/>
                <a:gd name="connsiteX31" fmla="*/ 334455 w 362335"/>
                <a:gd name="connsiteY31" fmla="*/ 27838 h 15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2335" h="151549">
                  <a:moveTo>
                    <a:pt x="334455" y="27838"/>
                  </a:moveTo>
                  <a:cubicBezTo>
                    <a:pt x="321683" y="13076"/>
                    <a:pt x="317868" y="22862"/>
                    <a:pt x="302940" y="18881"/>
                  </a:cubicBezTo>
                  <a:cubicBezTo>
                    <a:pt x="288012" y="14900"/>
                    <a:pt x="229295" y="9095"/>
                    <a:pt x="217518" y="13905"/>
                  </a:cubicBezTo>
                  <a:cubicBezTo>
                    <a:pt x="205741" y="18715"/>
                    <a:pt x="181193" y="5114"/>
                    <a:pt x="173397" y="1299"/>
                  </a:cubicBezTo>
                  <a:cubicBezTo>
                    <a:pt x="165601" y="-2516"/>
                    <a:pt x="140223" y="1299"/>
                    <a:pt x="138896" y="14900"/>
                  </a:cubicBezTo>
                  <a:cubicBezTo>
                    <a:pt x="137569" y="28501"/>
                    <a:pt x="127120" y="28667"/>
                    <a:pt x="109372" y="19876"/>
                  </a:cubicBezTo>
                  <a:cubicBezTo>
                    <a:pt x="91624" y="11085"/>
                    <a:pt x="65251" y="11085"/>
                    <a:pt x="64255" y="20872"/>
                  </a:cubicBezTo>
                  <a:cubicBezTo>
                    <a:pt x="63260" y="30658"/>
                    <a:pt x="50489" y="40444"/>
                    <a:pt x="43688" y="43430"/>
                  </a:cubicBezTo>
                  <a:cubicBezTo>
                    <a:pt x="38894" y="48737"/>
                    <a:pt x="35427" y="55107"/>
                    <a:pt x="33570" y="62007"/>
                  </a:cubicBezTo>
                  <a:cubicBezTo>
                    <a:pt x="38596" y="64445"/>
                    <a:pt x="42858" y="68227"/>
                    <a:pt x="45844" y="72954"/>
                  </a:cubicBezTo>
                  <a:cubicBezTo>
                    <a:pt x="52479" y="80916"/>
                    <a:pt x="69563" y="79589"/>
                    <a:pt x="72217" y="71627"/>
                  </a:cubicBezTo>
                  <a:cubicBezTo>
                    <a:pt x="74871" y="63666"/>
                    <a:pt x="102239" y="79589"/>
                    <a:pt x="117997" y="92693"/>
                  </a:cubicBezTo>
                  <a:cubicBezTo>
                    <a:pt x="133754" y="105796"/>
                    <a:pt x="110201" y="96673"/>
                    <a:pt x="103566" y="109279"/>
                  </a:cubicBezTo>
                  <a:cubicBezTo>
                    <a:pt x="96932" y="121885"/>
                    <a:pt x="77359" y="109279"/>
                    <a:pt x="72217" y="114421"/>
                  </a:cubicBezTo>
                  <a:cubicBezTo>
                    <a:pt x="56692" y="120127"/>
                    <a:pt x="40105" y="122383"/>
                    <a:pt x="23618" y="121056"/>
                  </a:cubicBezTo>
                  <a:cubicBezTo>
                    <a:pt x="14329" y="119729"/>
                    <a:pt x="-1262" y="134160"/>
                    <a:pt x="65" y="140794"/>
                  </a:cubicBezTo>
                  <a:cubicBezTo>
                    <a:pt x="1391" y="147429"/>
                    <a:pt x="35395" y="136814"/>
                    <a:pt x="47171" y="144609"/>
                  </a:cubicBezTo>
                  <a:cubicBezTo>
                    <a:pt x="58948" y="152405"/>
                    <a:pt x="70890" y="136814"/>
                    <a:pt x="77359" y="145936"/>
                  </a:cubicBezTo>
                  <a:cubicBezTo>
                    <a:pt x="83828" y="155059"/>
                    <a:pt x="98424" y="148590"/>
                    <a:pt x="104893" y="151244"/>
                  </a:cubicBezTo>
                  <a:cubicBezTo>
                    <a:pt x="119373" y="151891"/>
                    <a:pt x="133887" y="151012"/>
                    <a:pt x="148185" y="148590"/>
                  </a:cubicBezTo>
                  <a:cubicBezTo>
                    <a:pt x="151900" y="143880"/>
                    <a:pt x="153841" y="138008"/>
                    <a:pt x="153659" y="132003"/>
                  </a:cubicBezTo>
                  <a:cubicBezTo>
                    <a:pt x="153659" y="123212"/>
                    <a:pt x="160957" y="125369"/>
                    <a:pt x="168421" y="123212"/>
                  </a:cubicBezTo>
                  <a:cubicBezTo>
                    <a:pt x="175885" y="121056"/>
                    <a:pt x="180861" y="111270"/>
                    <a:pt x="186832" y="111270"/>
                  </a:cubicBezTo>
                  <a:cubicBezTo>
                    <a:pt x="192803" y="111270"/>
                    <a:pt x="200765" y="102479"/>
                    <a:pt x="206736" y="104635"/>
                  </a:cubicBezTo>
                  <a:cubicBezTo>
                    <a:pt x="212708" y="106791"/>
                    <a:pt x="220006" y="117241"/>
                    <a:pt x="227304" y="111270"/>
                  </a:cubicBezTo>
                  <a:cubicBezTo>
                    <a:pt x="234603" y="105299"/>
                    <a:pt x="236924" y="111270"/>
                    <a:pt x="247208" y="98000"/>
                  </a:cubicBezTo>
                  <a:cubicBezTo>
                    <a:pt x="257492" y="84731"/>
                    <a:pt x="263795" y="87717"/>
                    <a:pt x="277396" y="89209"/>
                  </a:cubicBezTo>
                  <a:cubicBezTo>
                    <a:pt x="288675" y="91565"/>
                    <a:pt x="299971" y="85278"/>
                    <a:pt x="303935" y="74447"/>
                  </a:cubicBezTo>
                  <a:cubicBezTo>
                    <a:pt x="308414" y="65656"/>
                    <a:pt x="321683" y="65656"/>
                    <a:pt x="329810" y="59685"/>
                  </a:cubicBezTo>
                  <a:cubicBezTo>
                    <a:pt x="339182" y="53913"/>
                    <a:pt x="349068" y="49036"/>
                    <a:pt x="359335" y="45088"/>
                  </a:cubicBezTo>
                  <a:cubicBezTo>
                    <a:pt x="361824" y="43927"/>
                    <a:pt x="362321" y="41273"/>
                    <a:pt x="362321" y="37956"/>
                  </a:cubicBezTo>
                  <a:cubicBezTo>
                    <a:pt x="350379" y="28999"/>
                    <a:pt x="345237" y="40112"/>
                    <a:pt x="334455" y="27838"/>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48" name="Freeform: Shape 547">
              <a:extLst>
                <a:ext uri="{FF2B5EF4-FFF2-40B4-BE49-F238E27FC236}">
                  <a16:creationId xmlns:a16="http://schemas.microsoft.com/office/drawing/2014/main" id="{8EC85EA6-C6E2-4F6E-ABB3-639342F7842F}"/>
                </a:ext>
              </a:extLst>
            </p:cNvPr>
            <p:cNvSpPr/>
            <p:nvPr/>
          </p:nvSpPr>
          <p:spPr>
            <a:xfrm>
              <a:off x="6457180" y="3379417"/>
              <a:ext cx="193304" cy="84313"/>
            </a:xfrm>
            <a:custGeom>
              <a:avLst/>
              <a:gdLst>
                <a:gd name="connsiteX0" fmla="*/ 90881 w 226055"/>
                <a:gd name="connsiteY0" fmla="*/ 79028 h 100527"/>
                <a:gd name="connsiteX1" fmla="*/ 114434 w 226055"/>
                <a:gd name="connsiteY1" fmla="*/ 97771 h 100527"/>
                <a:gd name="connsiteX2" fmla="*/ 115927 w 226055"/>
                <a:gd name="connsiteY2" fmla="*/ 99927 h 100527"/>
                <a:gd name="connsiteX3" fmla="*/ 149100 w 226055"/>
                <a:gd name="connsiteY3" fmla="*/ 93127 h 100527"/>
                <a:gd name="connsiteX4" fmla="*/ 178459 w 226055"/>
                <a:gd name="connsiteY4" fmla="*/ 96112 h 100527"/>
                <a:gd name="connsiteX5" fmla="*/ 176800 w 226055"/>
                <a:gd name="connsiteY5" fmla="*/ 88814 h 100527"/>
                <a:gd name="connsiteX6" fmla="*/ 199525 w 226055"/>
                <a:gd name="connsiteY6" fmla="*/ 95780 h 100527"/>
                <a:gd name="connsiteX7" fmla="*/ 224902 w 226055"/>
                <a:gd name="connsiteY7" fmla="*/ 97771 h 100527"/>
                <a:gd name="connsiteX8" fmla="*/ 214121 w 226055"/>
                <a:gd name="connsiteY8" fmla="*/ 83009 h 100527"/>
                <a:gd name="connsiteX9" fmla="*/ 220756 w 226055"/>
                <a:gd name="connsiteY9" fmla="*/ 70900 h 100527"/>
                <a:gd name="connsiteX10" fmla="*/ 200354 w 226055"/>
                <a:gd name="connsiteY10" fmla="*/ 60285 h 100527"/>
                <a:gd name="connsiteX11" fmla="*/ 190070 w 226055"/>
                <a:gd name="connsiteY11" fmla="*/ 39717 h 100527"/>
                <a:gd name="connsiteX12" fmla="*/ 178293 w 226055"/>
                <a:gd name="connsiteY12" fmla="*/ 35239 h 100527"/>
                <a:gd name="connsiteX13" fmla="*/ 145120 w 226055"/>
                <a:gd name="connsiteY13" fmla="*/ 39717 h 100527"/>
                <a:gd name="connsiteX14" fmla="*/ 124386 w 226055"/>
                <a:gd name="connsiteY14" fmla="*/ 29433 h 100527"/>
                <a:gd name="connsiteX15" fmla="*/ 103818 w 226055"/>
                <a:gd name="connsiteY15" fmla="*/ 16164 h 100527"/>
                <a:gd name="connsiteX16" fmla="*/ 52233 w 226055"/>
                <a:gd name="connsiteY16" fmla="*/ 11685 h 100527"/>
                <a:gd name="connsiteX17" fmla="*/ 12425 w 226055"/>
                <a:gd name="connsiteY17" fmla="*/ -91 h 100527"/>
                <a:gd name="connsiteX18" fmla="*/ -15 w 226055"/>
                <a:gd name="connsiteY18" fmla="*/ 5714 h 100527"/>
                <a:gd name="connsiteX19" fmla="*/ 51238 w 226055"/>
                <a:gd name="connsiteY19" fmla="*/ 34409 h 100527"/>
                <a:gd name="connsiteX20" fmla="*/ 64010 w 226055"/>
                <a:gd name="connsiteY20" fmla="*/ 68744 h 100527"/>
                <a:gd name="connsiteX21" fmla="*/ 56380 w 226055"/>
                <a:gd name="connsiteY21" fmla="*/ 80023 h 100527"/>
                <a:gd name="connsiteX22" fmla="*/ 90881 w 226055"/>
                <a:gd name="connsiteY22" fmla="*/ 79028 h 10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6055" h="100527">
                  <a:moveTo>
                    <a:pt x="90881" y="79028"/>
                  </a:moveTo>
                  <a:cubicBezTo>
                    <a:pt x="101662" y="74218"/>
                    <a:pt x="105643" y="85994"/>
                    <a:pt x="114434" y="97771"/>
                  </a:cubicBezTo>
                  <a:cubicBezTo>
                    <a:pt x="115031" y="98418"/>
                    <a:pt x="115528" y="99148"/>
                    <a:pt x="115927" y="99927"/>
                  </a:cubicBezTo>
                  <a:cubicBezTo>
                    <a:pt x="128035" y="98103"/>
                    <a:pt x="137158" y="94619"/>
                    <a:pt x="149100" y="93127"/>
                  </a:cubicBezTo>
                  <a:cubicBezTo>
                    <a:pt x="158986" y="92480"/>
                    <a:pt x="168905" y="93491"/>
                    <a:pt x="178459" y="96112"/>
                  </a:cubicBezTo>
                  <a:cubicBezTo>
                    <a:pt x="176966" y="93292"/>
                    <a:pt x="175805" y="90639"/>
                    <a:pt x="176800" y="88814"/>
                  </a:cubicBezTo>
                  <a:cubicBezTo>
                    <a:pt x="179786" y="83009"/>
                    <a:pt x="194548" y="90805"/>
                    <a:pt x="199525" y="95780"/>
                  </a:cubicBezTo>
                  <a:cubicBezTo>
                    <a:pt x="206939" y="101155"/>
                    <a:pt x="216742" y="101934"/>
                    <a:pt x="224902" y="97771"/>
                  </a:cubicBezTo>
                  <a:cubicBezTo>
                    <a:pt x="229878" y="92795"/>
                    <a:pt x="217107" y="87819"/>
                    <a:pt x="214121" y="83009"/>
                  </a:cubicBezTo>
                  <a:cubicBezTo>
                    <a:pt x="211135" y="78198"/>
                    <a:pt x="216609" y="75379"/>
                    <a:pt x="220756" y="70900"/>
                  </a:cubicBezTo>
                  <a:cubicBezTo>
                    <a:pt x="212296" y="66090"/>
                    <a:pt x="204169" y="59289"/>
                    <a:pt x="200354" y="60285"/>
                  </a:cubicBezTo>
                  <a:cubicBezTo>
                    <a:pt x="196539" y="61280"/>
                    <a:pt x="196041" y="39717"/>
                    <a:pt x="190070" y="39717"/>
                  </a:cubicBezTo>
                  <a:cubicBezTo>
                    <a:pt x="184098" y="39717"/>
                    <a:pt x="184264" y="35239"/>
                    <a:pt x="178293" y="35239"/>
                  </a:cubicBezTo>
                  <a:cubicBezTo>
                    <a:pt x="167047" y="34592"/>
                    <a:pt x="155785" y="36118"/>
                    <a:pt x="145120" y="39717"/>
                  </a:cubicBezTo>
                  <a:cubicBezTo>
                    <a:pt x="139148" y="44195"/>
                    <a:pt x="131850" y="29433"/>
                    <a:pt x="124386" y="29433"/>
                  </a:cubicBezTo>
                  <a:cubicBezTo>
                    <a:pt x="116043" y="27907"/>
                    <a:pt x="108645" y="23130"/>
                    <a:pt x="103818" y="16164"/>
                  </a:cubicBezTo>
                  <a:cubicBezTo>
                    <a:pt x="99340" y="10193"/>
                    <a:pt x="62517" y="19149"/>
                    <a:pt x="52233" y="11685"/>
                  </a:cubicBezTo>
                  <a:cubicBezTo>
                    <a:pt x="40473" y="3806"/>
                    <a:pt x="26590" y="-307"/>
                    <a:pt x="12425" y="-91"/>
                  </a:cubicBezTo>
                  <a:cubicBezTo>
                    <a:pt x="7980" y="1119"/>
                    <a:pt x="3767" y="3093"/>
                    <a:pt x="-15" y="5714"/>
                  </a:cubicBezTo>
                  <a:cubicBezTo>
                    <a:pt x="19391" y="16993"/>
                    <a:pt x="47423" y="14007"/>
                    <a:pt x="51238" y="34409"/>
                  </a:cubicBezTo>
                  <a:cubicBezTo>
                    <a:pt x="55717" y="57962"/>
                    <a:pt x="68986" y="48508"/>
                    <a:pt x="64010" y="68744"/>
                  </a:cubicBezTo>
                  <a:cubicBezTo>
                    <a:pt x="62600" y="73156"/>
                    <a:pt x="59963" y="77071"/>
                    <a:pt x="56380" y="80023"/>
                  </a:cubicBezTo>
                  <a:cubicBezTo>
                    <a:pt x="67858" y="81649"/>
                    <a:pt x="79519" y="81317"/>
                    <a:pt x="90881" y="79028"/>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49" name="Freeform: Shape 548">
              <a:extLst>
                <a:ext uri="{FF2B5EF4-FFF2-40B4-BE49-F238E27FC236}">
                  <a16:creationId xmlns:a16="http://schemas.microsoft.com/office/drawing/2014/main" id="{5CD93B9B-6A9F-4D6D-B43C-B6AEC13700B9}"/>
                </a:ext>
              </a:extLst>
            </p:cNvPr>
            <p:cNvSpPr/>
            <p:nvPr/>
          </p:nvSpPr>
          <p:spPr>
            <a:xfrm>
              <a:off x="8837919" y="3405161"/>
              <a:ext cx="195026" cy="177874"/>
            </a:xfrm>
            <a:custGeom>
              <a:avLst/>
              <a:gdLst>
                <a:gd name="connsiteX0" fmla="*/ 219097 w 228068"/>
                <a:gd name="connsiteY0" fmla="*/ 10682 h 212081"/>
                <a:gd name="connsiteX1" fmla="*/ 191232 w 228068"/>
                <a:gd name="connsiteY1" fmla="*/ -100 h 212081"/>
                <a:gd name="connsiteX2" fmla="*/ 171990 w 228068"/>
                <a:gd name="connsiteY2" fmla="*/ 25776 h 212081"/>
                <a:gd name="connsiteX3" fmla="*/ 148437 w 228068"/>
                <a:gd name="connsiteY3" fmla="*/ 42363 h 212081"/>
                <a:gd name="connsiteX4" fmla="*/ 135499 w 228068"/>
                <a:gd name="connsiteY4" fmla="*/ 55135 h 212081"/>
                <a:gd name="connsiteX5" fmla="*/ 114103 w 228068"/>
                <a:gd name="connsiteY5" fmla="*/ 61604 h 212081"/>
                <a:gd name="connsiteX6" fmla="*/ 92706 w 228068"/>
                <a:gd name="connsiteY6" fmla="*/ 52978 h 212081"/>
                <a:gd name="connsiteX7" fmla="*/ 71308 w 228068"/>
                <a:gd name="connsiteY7" fmla="*/ 76532 h 212081"/>
                <a:gd name="connsiteX8" fmla="*/ 9274 w 228068"/>
                <a:gd name="connsiteY8" fmla="*/ 110866 h 212081"/>
                <a:gd name="connsiteX9" fmla="*/ -15 w 228068"/>
                <a:gd name="connsiteY9" fmla="*/ 125463 h 212081"/>
                <a:gd name="connsiteX10" fmla="*/ 37970 w 228068"/>
                <a:gd name="connsiteY10" fmla="*/ 144206 h 212081"/>
                <a:gd name="connsiteX11" fmla="*/ 18231 w 228068"/>
                <a:gd name="connsiteY11" fmla="*/ 180033 h 212081"/>
                <a:gd name="connsiteX12" fmla="*/ 24202 w 228068"/>
                <a:gd name="connsiteY12" fmla="*/ 200103 h 212081"/>
                <a:gd name="connsiteX13" fmla="*/ 40789 w 228068"/>
                <a:gd name="connsiteY13" fmla="*/ 208563 h 212081"/>
                <a:gd name="connsiteX14" fmla="*/ 66166 w 228068"/>
                <a:gd name="connsiteY14" fmla="*/ 203587 h 212081"/>
                <a:gd name="connsiteX15" fmla="*/ 74129 w 228068"/>
                <a:gd name="connsiteY15" fmla="*/ 208065 h 212081"/>
                <a:gd name="connsiteX16" fmla="*/ 93701 w 228068"/>
                <a:gd name="connsiteY16" fmla="*/ 193303 h 212081"/>
                <a:gd name="connsiteX17" fmla="*/ 123889 w 228068"/>
                <a:gd name="connsiteY17" fmla="*/ 186834 h 212081"/>
                <a:gd name="connsiteX18" fmla="*/ 141471 w 228068"/>
                <a:gd name="connsiteY18" fmla="*/ 180199 h 212081"/>
                <a:gd name="connsiteX19" fmla="*/ 111946 w 228068"/>
                <a:gd name="connsiteY19" fmla="*/ 152499 h 212081"/>
                <a:gd name="connsiteX20" fmla="*/ 121235 w 228068"/>
                <a:gd name="connsiteY20" fmla="*/ 122975 h 212081"/>
                <a:gd name="connsiteX21" fmla="*/ 179289 w 228068"/>
                <a:gd name="connsiteY21" fmla="*/ 87645 h 212081"/>
                <a:gd name="connsiteX22" fmla="*/ 191066 w 228068"/>
                <a:gd name="connsiteY22" fmla="*/ 47339 h 212081"/>
                <a:gd name="connsiteX23" fmla="*/ 228054 w 228068"/>
                <a:gd name="connsiteY23" fmla="*/ 11511 h 212081"/>
                <a:gd name="connsiteX24" fmla="*/ 219097 w 228068"/>
                <a:gd name="connsiteY24" fmla="*/ 10682 h 21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068" h="212081">
                  <a:moveTo>
                    <a:pt x="219097" y="10682"/>
                  </a:moveTo>
                  <a:cubicBezTo>
                    <a:pt x="206325" y="14995"/>
                    <a:pt x="202511" y="-100"/>
                    <a:pt x="191232" y="-100"/>
                  </a:cubicBezTo>
                  <a:cubicBezTo>
                    <a:pt x="179953" y="-100"/>
                    <a:pt x="182606" y="25776"/>
                    <a:pt x="171990" y="25776"/>
                  </a:cubicBezTo>
                  <a:cubicBezTo>
                    <a:pt x="161376" y="25776"/>
                    <a:pt x="163366" y="40704"/>
                    <a:pt x="148437" y="42363"/>
                  </a:cubicBezTo>
                  <a:cubicBezTo>
                    <a:pt x="133509" y="44022"/>
                    <a:pt x="129197" y="44519"/>
                    <a:pt x="135499" y="55135"/>
                  </a:cubicBezTo>
                  <a:cubicBezTo>
                    <a:pt x="141802" y="65750"/>
                    <a:pt x="127041" y="61604"/>
                    <a:pt x="114103" y="61604"/>
                  </a:cubicBezTo>
                  <a:cubicBezTo>
                    <a:pt x="101165" y="61604"/>
                    <a:pt x="101330" y="52978"/>
                    <a:pt x="92706" y="52978"/>
                  </a:cubicBezTo>
                  <a:cubicBezTo>
                    <a:pt x="84080" y="52978"/>
                    <a:pt x="77777" y="68072"/>
                    <a:pt x="71308" y="76532"/>
                  </a:cubicBezTo>
                  <a:cubicBezTo>
                    <a:pt x="64840" y="84991"/>
                    <a:pt x="21548" y="104398"/>
                    <a:pt x="9274" y="110866"/>
                  </a:cubicBezTo>
                  <a:cubicBezTo>
                    <a:pt x="4596" y="114532"/>
                    <a:pt x="1328" y="119674"/>
                    <a:pt x="-15" y="125463"/>
                  </a:cubicBezTo>
                  <a:cubicBezTo>
                    <a:pt x="14548" y="126756"/>
                    <a:pt x="28084" y="133441"/>
                    <a:pt x="37970" y="144206"/>
                  </a:cubicBezTo>
                  <a:cubicBezTo>
                    <a:pt x="47258" y="155983"/>
                    <a:pt x="27188" y="169252"/>
                    <a:pt x="18231" y="180033"/>
                  </a:cubicBezTo>
                  <a:cubicBezTo>
                    <a:pt x="9274" y="190815"/>
                    <a:pt x="23704" y="191312"/>
                    <a:pt x="24202" y="200103"/>
                  </a:cubicBezTo>
                  <a:cubicBezTo>
                    <a:pt x="24699" y="208894"/>
                    <a:pt x="36476" y="216690"/>
                    <a:pt x="40789" y="208563"/>
                  </a:cubicBezTo>
                  <a:cubicBezTo>
                    <a:pt x="45102" y="200435"/>
                    <a:pt x="52565" y="203587"/>
                    <a:pt x="66166" y="203587"/>
                  </a:cubicBezTo>
                  <a:cubicBezTo>
                    <a:pt x="69450" y="203471"/>
                    <a:pt x="72519" y="205196"/>
                    <a:pt x="74129" y="208065"/>
                  </a:cubicBezTo>
                  <a:cubicBezTo>
                    <a:pt x="81758" y="201928"/>
                    <a:pt x="90716" y="196289"/>
                    <a:pt x="93701" y="193303"/>
                  </a:cubicBezTo>
                  <a:cubicBezTo>
                    <a:pt x="102824" y="187995"/>
                    <a:pt x="113390" y="185739"/>
                    <a:pt x="123889" y="186834"/>
                  </a:cubicBezTo>
                  <a:cubicBezTo>
                    <a:pt x="130374" y="186884"/>
                    <a:pt x="136644" y="184528"/>
                    <a:pt x="141471" y="180199"/>
                  </a:cubicBezTo>
                  <a:cubicBezTo>
                    <a:pt x="132531" y="170048"/>
                    <a:pt x="122645" y="160776"/>
                    <a:pt x="111946" y="152499"/>
                  </a:cubicBezTo>
                  <a:cubicBezTo>
                    <a:pt x="100667" y="145699"/>
                    <a:pt x="107468" y="126458"/>
                    <a:pt x="121235" y="122975"/>
                  </a:cubicBezTo>
                  <a:cubicBezTo>
                    <a:pt x="141604" y="112956"/>
                    <a:pt x="161044" y="101147"/>
                    <a:pt x="179289" y="87645"/>
                  </a:cubicBezTo>
                  <a:cubicBezTo>
                    <a:pt x="189572" y="81839"/>
                    <a:pt x="182772" y="62599"/>
                    <a:pt x="191066" y="47339"/>
                  </a:cubicBezTo>
                  <a:cubicBezTo>
                    <a:pt x="201549" y="33622"/>
                    <a:pt x="214005" y="21546"/>
                    <a:pt x="228054" y="11511"/>
                  </a:cubicBezTo>
                  <a:cubicBezTo>
                    <a:pt x="225251" y="10217"/>
                    <a:pt x="222083" y="9919"/>
                    <a:pt x="219097" y="10682"/>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0" name="Freeform: Shape 549">
              <a:extLst>
                <a:ext uri="{FF2B5EF4-FFF2-40B4-BE49-F238E27FC236}">
                  <a16:creationId xmlns:a16="http://schemas.microsoft.com/office/drawing/2014/main" id="{398BF32D-29D3-45C1-AE0A-727D4F39DA60}"/>
                </a:ext>
              </a:extLst>
            </p:cNvPr>
            <p:cNvSpPr/>
            <p:nvPr/>
          </p:nvSpPr>
          <p:spPr>
            <a:xfrm>
              <a:off x="7614430" y="3813607"/>
              <a:ext cx="214032" cy="119467"/>
            </a:xfrm>
            <a:custGeom>
              <a:avLst/>
              <a:gdLst>
                <a:gd name="connsiteX0" fmla="*/ 250281 w 250295"/>
                <a:gd name="connsiteY0" fmla="*/ 92119 h 142441"/>
                <a:gd name="connsiteX1" fmla="*/ 242650 w 250295"/>
                <a:gd name="connsiteY1" fmla="*/ 92119 h 142441"/>
                <a:gd name="connsiteX2" fmla="*/ 199193 w 250295"/>
                <a:gd name="connsiteY2" fmla="*/ 83991 h 142441"/>
                <a:gd name="connsiteX3" fmla="*/ 135002 w 250295"/>
                <a:gd name="connsiteY3" fmla="*/ 58281 h 142441"/>
                <a:gd name="connsiteX4" fmla="*/ 67163 w 250295"/>
                <a:gd name="connsiteY4" fmla="*/ 8521 h 142441"/>
                <a:gd name="connsiteX5" fmla="*/ 40789 w 250295"/>
                <a:gd name="connsiteY5" fmla="*/ 3379 h 142441"/>
                <a:gd name="connsiteX6" fmla="*/ 20388 w 250295"/>
                <a:gd name="connsiteY6" fmla="*/ 9682 h 142441"/>
                <a:gd name="connsiteX7" fmla="*/ 5293 w 250295"/>
                <a:gd name="connsiteY7" fmla="*/ 28591 h 142441"/>
                <a:gd name="connsiteX8" fmla="*/ -15 w 250295"/>
                <a:gd name="connsiteY8" fmla="*/ 53637 h 142441"/>
                <a:gd name="connsiteX9" fmla="*/ 16572 w 250295"/>
                <a:gd name="connsiteY9" fmla="*/ 66741 h 142441"/>
                <a:gd name="connsiteX10" fmla="*/ 42779 w 250295"/>
                <a:gd name="connsiteY10" fmla="*/ 79845 h 142441"/>
                <a:gd name="connsiteX11" fmla="*/ 67660 w 250295"/>
                <a:gd name="connsiteY11" fmla="*/ 92948 h 142441"/>
                <a:gd name="connsiteX12" fmla="*/ 95359 w 250295"/>
                <a:gd name="connsiteY12" fmla="*/ 109535 h 142441"/>
                <a:gd name="connsiteX13" fmla="*/ 126709 w 250295"/>
                <a:gd name="connsiteY13" fmla="*/ 104227 h 142441"/>
                <a:gd name="connsiteX14" fmla="*/ 145120 w 250295"/>
                <a:gd name="connsiteY14" fmla="*/ 122638 h 142441"/>
                <a:gd name="connsiteX15" fmla="*/ 188412 w 250295"/>
                <a:gd name="connsiteY15" fmla="*/ 139225 h 142441"/>
                <a:gd name="connsiteX16" fmla="*/ 246134 w 250295"/>
                <a:gd name="connsiteY16" fmla="*/ 133917 h 142441"/>
                <a:gd name="connsiteX17" fmla="*/ 247461 w 250295"/>
                <a:gd name="connsiteY17" fmla="*/ 99748 h 142441"/>
                <a:gd name="connsiteX18" fmla="*/ 250281 w 250295"/>
                <a:gd name="connsiteY18" fmla="*/ 92119 h 14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0295" h="142441">
                  <a:moveTo>
                    <a:pt x="250281" y="92119"/>
                  </a:moveTo>
                  <a:lnTo>
                    <a:pt x="242650" y="92119"/>
                  </a:lnTo>
                  <a:cubicBezTo>
                    <a:pt x="223410" y="92119"/>
                    <a:pt x="211633" y="83328"/>
                    <a:pt x="199193" y="83991"/>
                  </a:cubicBezTo>
                  <a:cubicBezTo>
                    <a:pt x="176022" y="80790"/>
                    <a:pt x="153977" y="71966"/>
                    <a:pt x="135002" y="58281"/>
                  </a:cubicBezTo>
                  <a:cubicBezTo>
                    <a:pt x="119576" y="45676"/>
                    <a:pt x="77611" y="19137"/>
                    <a:pt x="67163" y="8521"/>
                  </a:cubicBezTo>
                  <a:cubicBezTo>
                    <a:pt x="56713" y="-2094"/>
                    <a:pt x="42116" y="-1763"/>
                    <a:pt x="40789" y="3379"/>
                  </a:cubicBezTo>
                  <a:cubicBezTo>
                    <a:pt x="39462" y="8521"/>
                    <a:pt x="31832" y="8521"/>
                    <a:pt x="20388" y="9682"/>
                  </a:cubicBezTo>
                  <a:cubicBezTo>
                    <a:pt x="17402" y="14824"/>
                    <a:pt x="5293" y="21625"/>
                    <a:pt x="5293" y="28591"/>
                  </a:cubicBezTo>
                  <a:cubicBezTo>
                    <a:pt x="5293" y="35558"/>
                    <a:pt x="-15" y="47002"/>
                    <a:pt x="-15" y="53637"/>
                  </a:cubicBezTo>
                  <a:cubicBezTo>
                    <a:pt x="-15" y="60272"/>
                    <a:pt x="13089" y="61433"/>
                    <a:pt x="16572" y="66741"/>
                  </a:cubicBezTo>
                  <a:cubicBezTo>
                    <a:pt x="20055" y="72049"/>
                    <a:pt x="41452" y="74537"/>
                    <a:pt x="42779" y="79845"/>
                  </a:cubicBezTo>
                  <a:cubicBezTo>
                    <a:pt x="44107" y="85152"/>
                    <a:pt x="59366" y="91621"/>
                    <a:pt x="67660" y="92948"/>
                  </a:cubicBezTo>
                  <a:cubicBezTo>
                    <a:pt x="77927" y="96531"/>
                    <a:pt x="87348" y="102170"/>
                    <a:pt x="95359" y="109535"/>
                  </a:cubicBezTo>
                  <a:cubicBezTo>
                    <a:pt x="100501" y="113516"/>
                    <a:pt x="120240" y="104227"/>
                    <a:pt x="126709" y="104227"/>
                  </a:cubicBezTo>
                  <a:cubicBezTo>
                    <a:pt x="133178" y="104227"/>
                    <a:pt x="143295" y="116004"/>
                    <a:pt x="145120" y="122638"/>
                  </a:cubicBezTo>
                  <a:cubicBezTo>
                    <a:pt x="146945" y="129273"/>
                    <a:pt x="180616" y="133088"/>
                    <a:pt x="188412" y="139225"/>
                  </a:cubicBezTo>
                  <a:cubicBezTo>
                    <a:pt x="207636" y="144765"/>
                    <a:pt x="228237" y="142874"/>
                    <a:pt x="246134" y="133917"/>
                  </a:cubicBezTo>
                  <a:cubicBezTo>
                    <a:pt x="254095" y="126121"/>
                    <a:pt x="247461" y="111691"/>
                    <a:pt x="247461" y="99748"/>
                  </a:cubicBezTo>
                  <a:cubicBezTo>
                    <a:pt x="247329" y="96929"/>
                    <a:pt x="248356" y="94175"/>
                    <a:pt x="250281" y="92119"/>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1" name="Freeform: Shape 550">
              <a:extLst>
                <a:ext uri="{FF2B5EF4-FFF2-40B4-BE49-F238E27FC236}">
                  <a16:creationId xmlns:a16="http://schemas.microsoft.com/office/drawing/2014/main" id="{466DCAAB-6150-4470-8891-33F321F5A8AE}"/>
                </a:ext>
              </a:extLst>
            </p:cNvPr>
            <p:cNvSpPr/>
            <p:nvPr/>
          </p:nvSpPr>
          <p:spPr>
            <a:xfrm>
              <a:off x="7928885" y="3871129"/>
              <a:ext cx="243534" cy="522341"/>
            </a:xfrm>
            <a:custGeom>
              <a:avLst/>
              <a:gdLst>
                <a:gd name="connsiteX0" fmla="*/ 231869 w 284795"/>
                <a:gd name="connsiteY0" fmla="*/ 567251 h 622792"/>
                <a:gd name="connsiteX1" fmla="*/ 221419 w 284795"/>
                <a:gd name="connsiteY1" fmla="*/ 542371 h 622792"/>
                <a:gd name="connsiteX2" fmla="*/ 208316 w 284795"/>
                <a:gd name="connsiteY2" fmla="*/ 501567 h 622792"/>
                <a:gd name="connsiteX3" fmla="*/ 196539 w 284795"/>
                <a:gd name="connsiteY3" fmla="*/ 466237 h 622792"/>
                <a:gd name="connsiteX4" fmla="*/ 201680 w 284795"/>
                <a:gd name="connsiteY4" fmla="*/ 442518 h 622792"/>
                <a:gd name="connsiteX5" fmla="*/ 203008 w 284795"/>
                <a:gd name="connsiteY5" fmla="*/ 426760 h 622792"/>
                <a:gd name="connsiteX6" fmla="*/ 196539 w 284795"/>
                <a:gd name="connsiteY6" fmla="*/ 404534 h 622792"/>
                <a:gd name="connsiteX7" fmla="*/ 171492 w 284795"/>
                <a:gd name="connsiteY7" fmla="*/ 374346 h 622792"/>
                <a:gd name="connsiteX8" fmla="*/ 178127 w 284795"/>
                <a:gd name="connsiteY8" fmla="*/ 321931 h 622792"/>
                <a:gd name="connsiteX9" fmla="*/ 196539 w 284795"/>
                <a:gd name="connsiteY9" fmla="*/ 311316 h 622792"/>
                <a:gd name="connsiteX10" fmla="*/ 221419 w 284795"/>
                <a:gd name="connsiteY10" fmla="*/ 303520 h 622792"/>
                <a:gd name="connsiteX11" fmla="*/ 251607 w 284795"/>
                <a:gd name="connsiteY11" fmla="*/ 286933 h 622792"/>
                <a:gd name="connsiteX12" fmla="*/ 268194 w 284795"/>
                <a:gd name="connsiteY12" fmla="*/ 272503 h 622792"/>
                <a:gd name="connsiteX13" fmla="*/ 284781 w 284795"/>
                <a:gd name="connsiteY13" fmla="*/ 244969 h 622792"/>
                <a:gd name="connsiteX14" fmla="*/ 284781 w 284795"/>
                <a:gd name="connsiteY14" fmla="*/ 244969 h 622792"/>
                <a:gd name="connsiteX15" fmla="*/ 269852 w 284795"/>
                <a:gd name="connsiteY15" fmla="*/ 248120 h 622792"/>
                <a:gd name="connsiteX16" fmla="*/ 249285 w 284795"/>
                <a:gd name="connsiteY16" fmla="*/ 237173 h 622792"/>
                <a:gd name="connsiteX17" fmla="*/ 230873 w 284795"/>
                <a:gd name="connsiteY17" fmla="*/ 228216 h 622792"/>
                <a:gd name="connsiteX18" fmla="*/ 230873 w 284795"/>
                <a:gd name="connsiteY18" fmla="*/ 206156 h 622792"/>
                <a:gd name="connsiteX19" fmla="*/ 218267 w 284795"/>
                <a:gd name="connsiteY19" fmla="*/ 191393 h 622792"/>
                <a:gd name="connsiteX20" fmla="*/ 207984 w 284795"/>
                <a:gd name="connsiteY20" fmla="*/ 164191 h 622792"/>
                <a:gd name="connsiteX21" fmla="*/ 177795 w 284795"/>
                <a:gd name="connsiteY21" fmla="*/ 158219 h 622792"/>
                <a:gd name="connsiteX22" fmla="*/ 171824 w 284795"/>
                <a:gd name="connsiteY22" fmla="*/ 141633 h 622792"/>
                <a:gd name="connsiteX23" fmla="*/ 199192 w 284795"/>
                <a:gd name="connsiteY23" fmla="*/ 95355 h 622792"/>
                <a:gd name="connsiteX24" fmla="*/ 207320 w 284795"/>
                <a:gd name="connsiteY24" fmla="*/ 46590 h 622792"/>
                <a:gd name="connsiteX25" fmla="*/ 194050 w 284795"/>
                <a:gd name="connsiteY25" fmla="*/ 30004 h 622792"/>
                <a:gd name="connsiteX26" fmla="*/ 186587 w 284795"/>
                <a:gd name="connsiteY26" fmla="*/ 11592 h 622792"/>
                <a:gd name="connsiteX27" fmla="*/ 169369 w 284795"/>
                <a:gd name="connsiteY27" fmla="*/ 197 h 622792"/>
                <a:gd name="connsiteX28" fmla="*/ 164526 w 284795"/>
                <a:gd name="connsiteY28" fmla="*/ 2137 h 622792"/>
                <a:gd name="connsiteX29" fmla="*/ 158886 w 284795"/>
                <a:gd name="connsiteY29" fmla="*/ 5289 h 622792"/>
                <a:gd name="connsiteX30" fmla="*/ 158886 w 284795"/>
                <a:gd name="connsiteY30" fmla="*/ 5289 h 622792"/>
                <a:gd name="connsiteX31" fmla="*/ 150925 w 284795"/>
                <a:gd name="connsiteY31" fmla="*/ 21047 h 622792"/>
                <a:gd name="connsiteX32" fmla="*/ 153578 w 284795"/>
                <a:gd name="connsiteY32" fmla="*/ 43439 h 622792"/>
                <a:gd name="connsiteX33" fmla="*/ 139148 w 284795"/>
                <a:gd name="connsiteY33" fmla="*/ 43439 h 622792"/>
                <a:gd name="connsiteX34" fmla="*/ 111614 w 284795"/>
                <a:gd name="connsiteY34" fmla="*/ 55215 h 622792"/>
                <a:gd name="connsiteX35" fmla="*/ 89387 w 284795"/>
                <a:gd name="connsiteY35" fmla="*/ 81422 h 622792"/>
                <a:gd name="connsiteX36" fmla="*/ 80099 w 284795"/>
                <a:gd name="connsiteY36" fmla="*/ 122060 h 622792"/>
                <a:gd name="connsiteX37" fmla="*/ 68323 w 284795"/>
                <a:gd name="connsiteY37" fmla="*/ 162864 h 622792"/>
                <a:gd name="connsiteX38" fmla="*/ 42115 w 284795"/>
                <a:gd name="connsiteY38" fmla="*/ 161537 h 622792"/>
                <a:gd name="connsiteX39" fmla="*/ 35480 w 284795"/>
                <a:gd name="connsiteY39" fmla="*/ 194711 h 622792"/>
                <a:gd name="connsiteX40" fmla="*/ 26358 w 284795"/>
                <a:gd name="connsiteY40" fmla="*/ 230206 h 622792"/>
                <a:gd name="connsiteX41" fmla="*/ 11927 w 284795"/>
                <a:gd name="connsiteY41" fmla="*/ 255086 h 622792"/>
                <a:gd name="connsiteX42" fmla="*/ -15 w 284795"/>
                <a:gd name="connsiteY42" fmla="*/ 264873 h 622792"/>
                <a:gd name="connsiteX43" fmla="*/ 31168 w 284795"/>
                <a:gd name="connsiteY43" fmla="*/ 298046 h 622792"/>
                <a:gd name="connsiteX44" fmla="*/ 68986 w 284795"/>
                <a:gd name="connsiteY44" fmla="*/ 365389 h 622792"/>
                <a:gd name="connsiteX45" fmla="*/ 64176 w 284795"/>
                <a:gd name="connsiteY45" fmla="*/ 418964 h 622792"/>
                <a:gd name="connsiteX46" fmla="*/ 77942 w 284795"/>
                <a:gd name="connsiteY46" fmla="*/ 437044 h 622792"/>
                <a:gd name="connsiteX47" fmla="*/ 111116 w 284795"/>
                <a:gd name="connsiteY47" fmla="*/ 433063 h 622792"/>
                <a:gd name="connsiteX48" fmla="*/ 139148 w 284795"/>
                <a:gd name="connsiteY48" fmla="*/ 399890 h 622792"/>
                <a:gd name="connsiteX49" fmla="*/ 155735 w 284795"/>
                <a:gd name="connsiteY49" fmla="*/ 413159 h 622792"/>
                <a:gd name="connsiteX50" fmla="*/ 169005 w 284795"/>
                <a:gd name="connsiteY50" fmla="*/ 449982 h 622792"/>
                <a:gd name="connsiteX51" fmla="*/ 185592 w 284795"/>
                <a:gd name="connsiteY51" fmla="*/ 521803 h 622792"/>
                <a:gd name="connsiteX52" fmla="*/ 198363 w 284795"/>
                <a:gd name="connsiteY52" fmla="*/ 574383 h 622792"/>
                <a:gd name="connsiteX53" fmla="*/ 202842 w 284795"/>
                <a:gd name="connsiteY53" fmla="*/ 613694 h 622792"/>
                <a:gd name="connsiteX54" fmla="*/ 200851 w 284795"/>
                <a:gd name="connsiteY54" fmla="*/ 622651 h 622792"/>
                <a:gd name="connsiteX55" fmla="*/ 231869 w 284795"/>
                <a:gd name="connsiteY55" fmla="*/ 567251 h 62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84795" h="622792">
                  <a:moveTo>
                    <a:pt x="231869" y="567251"/>
                  </a:moveTo>
                  <a:cubicBezTo>
                    <a:pt x="231869" y="554147"/>
                    <a:pt x="221419" y="552820"/>
                    <a:pt x="221419" y="542371"/>
                  </a:cubicBezTo>
                  <a:cubicBezTo>
                    <a:pt x="223045" y="527526"/>
                    <a:pt x="218283" y="512697"/>
                    <a:pt x="208316" y="501567"/>
                  </a:cubicBezTo>
                  <a:cubicBezTo>
                    <a:pt x="195211" y="489790"/>
                    <a:pt x="188577" y="472706"/>
                    <a:pt x="196539" y="466237"/>
                  </a:cubicBezTo>
                  <a:cubicBezTo>
                    <a:pt x="204500" y="459768"/>
                    <a:pt x="197700" y="441191"/>
                    <a:pt x="201680" y="442518"/>
                  </a:cubicBezTo>
                  <a:cubicBezTo>
                    <a:pt x="205661" y="443845"/>
                    <a:pt x="210969" y="430741"/>
                    <a:pt x="203008" y="426760"/>
                  </a:cubicBezTo>
                  <a:cubicBezTo>
                    <a:pt x="195045" y="422780"/>
                    <a:pt x="203008" y="407188"/>
                    <a:pt x="196539" y="404534"/>
                  </a:cubicBezTo>
                  <a:cubicBezTo>
                    <a:pt x="185426" y="397120"/>
                    <a:pt x="176717" y="386637"/>
                    <a:pt x="171492" y="374346"/>
                  </a:cubicBezTo>
                  <a:cubicBezTo>
                    <a:pt x="171492" y="367877"/>
                    <a:pt x="176800" y="331054"/>
                    <a:pt x="178127" y="321931"/>
                  </a:cubicBezTo>
                  <a:cubicBezTo>
                    <a:pt x="179455" y="312809"/>
                    <a:pt x="192558" y="311316"/>
                    <a:pt x="196539" y="311316"/>
                  </a:cubicBezTo>
                  <a:cubicBezTo>
                    <a:pt x="200519" y="311316"/>
                    <a:pt x="216111" y="312643"/>
                    <a:pt x="221419" y="303520"/>
                  </a:cubicBezTo>
                  <a:cubicBezTo>
                    <a:pt x="226727" y="294397"/>
                    <a:pt x="248953" y="293070"/>
                    <a:pt x="251607" y="286933"/>
                  </a:cubicBezTo>
                  <a:cubicBezTo>
                    <a:pt x="254260" y="280796"/>
                    <a:pt x="268194" y="280464"/>
                    <a:pt x="268194" y="272503"/>
                  </a:cubicBezTo>
                  <a:cubicBezTo>
                    <a:pt x="268194" y="264541"/>
                    <a:pt x="284781" y="244969"/>
                    <a:pt x="284781" y="244969"/>
                  </a:cubicBezTo>
                  <a:lnTo>
                    <a:pt x="284781" y="244969"/>
                  </a:lnTo>
                  <a:cubicBezTo>
                    <a:pt x="282956" y="241486"/>
                    <a:pt x="278478" y="244969"/>
                    <a:pt x="269852" y="248120"/>
                  </a:cubicBezTo>
                  <a:cubicBezTo>
                    <a:pt x="255091" y="254091"/>
                    <a:pt x="247792" y="245964"/>
                    <a:pt x="249285" y="237173"/>
                  </a:cubicBezTo>
                  <a:cubicBezTo>
                    <a:pt x="250778" y="228382"/>
                    <a:pt x="239001" y="228216"/>
                    <a:pt x="230873" y="228216"/>
                  </a:cubicBezTo>
                  <a:cubicBezTo>
                    <a:pt x="222746" y="228216"/>
                    <a:pt x="227888" y="214947"/>
                    <a:pt x="230873" y="206156"/>
                  </a:cubicBezTo>
                  <a:cubicBezTo>
                    <a:pt x="233859" y="197365"/>
                    <a:pt x="227888" y="192223"/>
                    <a:pt x="218267" y="191393"/>
                  </a:cubicBezTo>
                  <a:cubicBezTo>
                    <a:pt x="208647" y="190564"/>
                    <a:pt x="204335" y="169996"/>
                    <a:pt x="207984" y="164191"/>
                  </a:cubicBezTo>
                  <a:cubicBezTo>
                    <a:pt x="211632" y="158385"/>
                    <a:pt x="188079" y="153078"/>
                    <a:pt x="177795" y="158219"/>
                  </a:cubicBezTo>
                  <a:cubicBezTo>
                    <a:pt x="167512" y="163361"/>
                    <a:pt x="174810" y="149428"/>
                    <a:pt x="171824" y="141633"/>
                  </a:cubicBezTo>
                  <a:cubicBezTo>
                    <a:pt x="168839" y="133837"/>
                    <a:pt x="185094" y="109289"/>
                    <a:pt x="199192" y="95355"/>
                  </a:cubicBezTo>
                  <a:cubicBezTo>
                    <a:pt x="213291" y="81422"/>
                    <a:pt x="207320" y="62182"/>
                    <a:pt x="207320" y="46590"/>
                  </a:cubicBezTo>
                  <a:cubicBezTo>
                    <a:pt x="207320" y="30999"/>
                    <a:pt x="200685" y="30004"/>
                    <a:pt x="194050" y="30004"/>
                  </a:cubicBezTo>
                  <a:cubicBezTo>
                    <a:pt x="187416" y="30004"/>
                    <a:pt x="186587" y="20549"/>
                    <a:pt x="186587" y="11592"/>
                  </a:cubicBezTo>
                  <a:cubicBezTo>
                    <a:pt x="184977" y="3696"/>
                    <a:pt x="177265" y="-1412"/>
                    <a:pt x="169369" y="197"/>
                  </a:cubicBezTo>
                  <a:cubicBezTo>
                    <a:pt x="167660" y="545"/>
                    <a:pt x="166018" y="1208"/>
                    <a:pt x="164526" y="2137"/>
                  </a:cubicBezTo>
                  <a:cubicBezTo>
                    <a:pt x="162702" y="3282"/>
                    <a:pt x="160811" y="4327"/>
                    <a:pt x="158886" y="5289"/>
                  </a:cubicBezTo>
                  <a:lnTo>
                    <a:pt x="158886" y="5289"/>
                  </a:lnTo>
                  <a:cubicBezTo>
                    <a:pt x="158886" y="5289"/>
                    <a:pt x="156233" y="18393"/>
                    <a:pt x="150925" y="21047"/>
                  </a:cubicBezTo>
                  <a:cubicBezTo>
                    <a:pt x="145617" y="23700"/>
                    <a:pt x="145783" y="31496"/>
                    <a:pt x="153578" y="43439"/>
                  </a:cubicBezTo>
                  <a:cubicBezTo>
                    <a:pt x="161375" y="55381"/>
                    <a:pt x="141802" y="49907"/>
                    <a:pt x="139148" y="43439"/>
                  </a:cubicBezTo>
                  <a:cubicBezTo>
                    <a:pt x="136494" y="36970"/>
                    <a:pt x="120737" y="47253"/>
                    <a:pt x="111614" y="55215"/>
                  </a:cubicBezTo>
                  <a:cubicBezTo>
                    <a:pt x="102492" y="63177"/>
                    <a:pt x="89387" y="66992"/>
                    <a:pt x="89387" y="81422"/>
                  </a:cubicBezTo>
                  <a:cubicBezTo>
                    <a:pt x="89387" y="95853"/>
                    <a:pt x="77445" y="110284"/>
                    <a:pt x="80099" y="122060"/>
                  </a:cubicBezTo>
                  <a:cubicBezTo>
                    <a:pt x="82753" y="133837"/>
                    <a:pt x="66995" y="156229"/>
                    <a:pt x="68323" y="162864"/>
                  </a:cubicBezTo>
                  <a:cubicBezTo>
                    <a:pt x="69649" y="169498"/>
                    <a:pt x="46096" y="161537"/>
                    <a:pt x="42115" y="161537"/>
                  </a:cubicBezTo>
                  <a:cubicBezTo>
                    <a:pt x="38135" y="161537"/>
                    <a:pt x="40788" y="186417"/>
                    <a:pt x="35480" y="194711"/>
                  </a:cubicBezTo>
                  <a:cubicBezTo>
                    <a:pt x="30173" y="203004"/>
                    <a:pt x="34154" y="230206"/>
                    <a:pt x="26358" y="230206"/>
                  </a:cubicBezTo>
                  <a:cubicBezTo>
                    <a:pt x="18562" y="230206"/>
                    <a:pt x="11927" y="255086"/>
                    <a:pt x="11927" y="255086"/>
                  </a:cubicBezTo>
                  <a:cubicBezTo>
                    <a:pt x="7664" y="258006"/>
                    <a:pt x="3683" y="261274"/>
                    <a:pt x="-15" y="264873"/>
                  </a:cubicBezTo>
                  <a:cubicBezTo>
                    <a:pt x="6387" y="279104"/>
                    <a:pt x="17368" y="290781"/>
                    <a:pt x="31168" y="298046"/>
                  </a:cubicBezTo>
                  <a:cubicBezTo>
                    <a:pt x="50409" y="305842"/>
                    <a:pt x="63181" y="344655"/>
                    <a:pt x="68986" y="365389"/>
                  </a:cubicBezTo>
                  <a:cubicBezTo>
                    <a:pt x="74244" y="383203"/>
                    <a:pt x="72519" y="402361"/>
                    <a:pt x="64176" y="418964"/>
                  </a:cubicBezTo>
                  <a:cubicBezTo>
                    <a:pt x="57209" y="430741"/>
                    <a:pt x="66497" y="431239"/>
                    <a:pt x="77942" y="437044"/>
                  </a:cubicBezTo>
                  <a:cubicBezTo>
                    <a:pt x="89387" y="442850"/>
                    <a:pt x="101993" y="444840"/>
                    <a:pt x="111116" y="433063"/>
                  </a:cubicBezTo>
                  <a:cubicBezTo>
                    <a:pt x="120240" y="421287"/>
                    <a:pt x="136660" y="412993"/>
                    <a:pt x="139148" y="399890"/>
                  </a:cubicBezTo>
                  <a:cubicBezTo>
                    <a:pt x="141636" y="386786"/>
                    <a:pt x="149432" y="406358"/>
                    <a:pt x="155735" y="413159"/>
                  </a:cubicBezTo>
                  <a:cubicBezTo>
                    <a:pt x="164028" y="423675"/>
                    <a:pt x="168689" y="436597"/>
                    <a:pt x="169005" y="449982"/>
                  </a:cubicBezTo>
                  <a:cubicBezTo>
                    <a:pt x="170497" y="466569"/>
                    <a:pt x="171824" y="508533"/>
                    <a:pt x="185592" y="521803"/>
                  </a:cubicBezTo>
                  <a:cubicBezTo>
                    <a:pt x="197981" y="536300"/>
                    <a:pt x="202725" y="555823"/>
                    <a:pt x="198363" y="574383"/>
                  </a:cubicBezTo>
                  <a:cubicBezTo>
                    <a:pt x="194548" y="584667"/>
                    <a:pt x="205827" y="602249"/>
                    <a:pt x="202842" y="613694"/>
                  </a:cubicBezTo>
                  <a:cubicBezTo>
                    <a:pt x="202842" y="615850"/>
                    <a:pt x="201680" y="619168"/>
                    <a:pt x="200851" y="622651"/>
                  </a:cubicBezTo>
                  <a:cubicBezTo>
                    <a:pt x="216277" y="624476"/>
                    <a:pt x="231869" y="567251"/>
                    <a:pt x="231869" y="567251"/>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2" name="Freeform: Shape 551">
              <a:extLst>
                <a:ext uri="{FF2B5EF4-FFF2-40B4-BE49-F238E27FC236}">
                  <a16:creationId xmlns:a16="http://schemas.microsoft.com/office/drawing/2014/main" id="{782277DF-97BA-402C-8439-ACF2C56CC482}"/>
                </a:ext>
              </a:extLst>
            </p:cNvPr>
            <p:cNvSpPr/>
            <p:nvPr/>
          </p:nvSpPr>
          <p:spPr>
            <a:xfrm>
              <a:off x="8204332" y="4026059"/>
              <a:ext cx="204817" cy="422665"/>
            </a:xfrm>
            <a:custGeom>
              <a:avLst/>
              <a:gdLst>
                <a:gd name="connsiteX0" fmla="*/ 181279 w 239518"/>
                <a:gd name="connsiteY0" fmla="*/ 59747 h 503947"/>
                <a:gd name="connsiteX1" fmla="*/ 148105 w 239518"/>
                <a:gd name="connsiteY1" fmla="*/ 34866 h 503947"/>
                <a:gd name="connsiteX2" fmla="*/ 138817 w 239518"/>
                <a:gd name="connsiteY2" fmla="*/ 15128 h 503947"/>
                <a:gd name="connsiteX3" fmla="*/ 111283 w 239518"/>
                <a:gd name="connsiteY3" fmla="*/ 698 h 503947"/>
                <a:gd name="connsiteX4" fmla="*/ 85076 w 239518"/>
                <a:gd name="connsiteY4" fmla="*/ 17284 h 503947"/>
                <a:gd name="connsiteX5" fmla="*/ 62849 w 239518"/>
                <a:gd name="connsiteY5" fmla="*/ 21265 h 503947"/>
                <a:gd name="connsiteX6" fmla="*/ 33988 w 239518"/>
                <a:gd name="connsiteY6" fmla="*/ 21265 h 503947"/>
                <a:gd name="connsiteX7" fmla="*/ 8942 w 239518"/>
                <a:gd name="connsiteY7" fmla="*/ 23753 h 503947"/>
                <a:gd name="connsiteX8" fmla="*/ -15 w 239518"/>
                <a:gd name="connsiteY8" fmla="*/ 30885 h 503947"/>
                <a:gd name="connsiteX9" fmla="*/ 11927 w 239518"/>
                <a:gd name="connsiteY9" fmla="*/ 48468 h 503947"/>
                <a:gd name="connsiteX10" fmla="*/ 28514 w 239518"/>
                <a:gd name="connsiteY10" fmla="*/ 73680 h 503947"/>
                <a:gd name="connsiteX11" fmla="*/ 56049 w 239518"/>
                <a:gd name="connsiteY11" fmla="*/ 88442 h 503947"/>
                <a:gd name="connsiteX12" fmla="*/ 79105 w 239518"/>
                <a:gd name="connsiteY12" fmla="*/ 94745 h 503947"/>
                <a:gd name="connsiteX13" fmla="*/ 89719 w 239518"/>
                <a:gd name="connsiteY13" fmla="*/ 119957 h 503947"/>
                <a:gd name="connsiteX14" fmla="*/ 64342 w 239518"/>
                <a:gd name="connsiteY14" fmla="*/ 134719 h 503947"/>
                <a:gd name="connsiteX15" fmla="*/ 100169 w 239518"/>
                <a:gd name="connsiteY15" fmla="*/ 166234 h 503947"/>
                <a:gd name="connsiteX16" fmla="*/ 116756 w 239518"/>
                <a:gd name="connsiteY16" fmla="*/ 195758 h 503947"/>
                <a:gd name="connsiteX17" fmla="*/ 144291 w 239518"/>
                <a:gd name="connsiteY17" fmla="*/ 231586 h 503947"/>
                <a:gd name="connsiteX18" fmla="*/ 171658 w 239518"/>
                <a:gd name="connsiteY18" fmla="*/ 256798 h 503947"/>
                <a:gd name="connsiteX19" fmla="*/ 177961 w 239518"/>
                <a:gd name="connsiteY19" fmla="*/ 289972 h 503947"/>
                <a:gd name="connsiteX20" fmla="*/ 188411 w 239518"/>
                <a:gd name="connsiteY20" fmla="*/ 344708 h 503947"/>
                <a:gd name="connsiteX21" fmla="*/ 165355 w 239518"/>
                <a:gd name="connsiteY21" fmla="*/ 382526 h 503947"/>
                <a:gd name="connsiteX22" fmla="*/ 135831 w 239518"/>
                <a:gd name="connsiteY22" fmla="*/ 401436 h 503947"/>
                <a:gd name="connsiteX23" fmla="*/ 135831 w 239518"/>
                <a:gd name="connsiteY23" fmla="*/ 430960 h 503947"/>
                <a:gd name="connsiteX24" fmla="*/ 97848 w 239518"/>
                <a:gd name="connsiteY24" fmla="*/ 430960 h 503947"/>
                <a:gd name="connsiteX25" fmla="*/ 77445 w 239518"/>
                <a:gd name="connsiteY25" fmla="*/ 447547 h 503947"/>
                <a:gd name="connsiteX26" fmla="*/ 92208 w 239518"/>
                <a:gd name="connsiteY26" fmla="*/ 458660 h 503947"/>
                <a:gd name="connsiteX27" fmla="*/ 82753 w 239518"/>
                <a:gd name="connsiteY27" fmla="*/ 487687 h 503947"/>
                <a:gd name="connsiteX28" fmla="*/ 99340 w 239518"/>
                <a:gd name="connsiteY28" fmla="*/ 500957 h 503947"/>
                <a:gd name="connsiteX29" fmla="*/ 129362 w 239518"/>
                <a:gd name="connsiteY29" fmla="*/ 477901 h 503947"/>
                <a:gd name="connsiteX30" fmla="*/ 137158 w 239518"/>
                <a:gd name="connsiteY30" fmla="*/ 465129 h 503947"/>
                <a:gd name="connsiteX31" fmla="*/ 146115 w 239518"/>
                <a:gd name="connsiteY31" fmla="*/ 447381 h 503947"/>
                <a:gd name="connsiteX32" fmla="*/ 166682 w 239518"/>
                <a:gd name="connsiteY32" fmla="*/ 443898 h 503947"/>
                <a:gd name="connsiteX33" fmla="*/ 211964 w 239518"/>
                <a:gd name="connsiteY33" fmla="*/ 422335 h 503947"/>
                <a:gd name="connsiteX34" fmla="*/ 237840 w 239518"/>
                <a:gd name="connsiteY34" fmla="*/ 378048 h 503947"/>
                <a:gd name="connsiteX35" fmla="*/ 230044 w 239518"/>
                <a:gd name="connsiteY35" fmla="*/ 300919 h 503947"/>
                <a:gd name="connsiteX36" fmla="*/ 198695 w 239518"/>
                <a:gd name="connsiteY36" fmla="*/ 248837 h 503947"/>
                <a:gd name="connsiteX37" fmla="*/ 145120 w 239518"/>
                <a:gd name="connsiteY37" fmla="*/ 203720 h 503947"/>
                <a:gd name="connsiteX38" fmla="*/ 130357 w 239518"/>
                <a:gd name="connsiteY38" fmla="*/ 178176 h 503947"/>
                <a:gd name="connsiteX39" fmla="*/ 122064 w 239518"/>
                <a:gd name="connsiteY39" fmla="*/ 132895 h 503947"/>
                <a:gd name="connsiteX40" fmla="*/ 145617 w 239518"/>
                <a:gd name="connsiteY40" fmla="*/ 104033 h 503947"/>
                <a:gd name="connsiteX41" fmla="*/ 158389 w 239518"/>
                <a:gd name="connsiteY41" fmla="*/ 84295 h 503947"/>
                <a:gd name="connsiteX42" fmla="*/ 184431 w 239518"/>
                <a:gd name="connsiteY42" fmla="*/ 67708 h 503947"/>
                <a:gd name="connsiteX43" fmla="*/ 187250 w 239518"/>
                <a:gd name="connsiteY43" fmla="*/ 65386 h 503947"/>
                <a:gd name="connsiteX44" fmla="*/ 181279 w 239518"/>
                <a:gd name="connsiteY44" fmla="*/ 59747 h 50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39518" h="503947">
                  <a:moveTo>
                    <a:pt x="181279" y="59747"/>
                  </a:moveTo>
                  <a:cubicBezTo>
                    <a:pt x="172156" y="58420"/>
                    <a:pt x="148105" y="41335"/>
                    <a:pt x="148105" y="34866"/>
                  </a:cubicBezTo>
                  <a:cubicBezTo>
                    <a:pt x="148105" y="28397"/>
                    <a:pt x="159882" y="18280"/>
                    <a:pt x="138817" y="15128"/>
                  </a:cubicBezTo>
                  <a:cubicBezTo>
                    <a:pt x="127819" y="15178"/>
                    <a:pt x="117503" y="9771"/>
                    <a:pt x="111283" y="698"/>
                  </a:cubicBezTo>
                  <a:cubicBezTo>
                    <a:pt x="107467" y="-3284"/>
                    <a:pt x="90383" y="8493"/>
                    <a:pt x="85076" y="17284"/>
                  </a:cubicBezTo>
                  <a:cubicBezTo>
                    <a:pt x="79768" y="26075"/>
                    <a:pt x="74626" y="14631"/>
                    <a:pt x="62849" y="21265"/>
                  </a:cubicBezTo>
                  <a:cubicBezTo>
                    <a:pt x="51073" y="27900"/>
                    <a:pt x="39130" y="11977"/>
                    <a:pt x="33988" y="21265"/>
                  </a:cubicBezTo>
                  <a:cubicBezTo>
                    <a:pt x="28846" y="30554"/>
                    <a:pt x="15577" y="15957"/>
                    <a:pt x="8942" y="23753"/>
                  </a:cubicBezTo>
                  <a:cubicBezTo>
                    <a:pt x="6470" y="26722"/>
                    <a:pt x="3418" y="29144"/>
                    <a:pt x="-15" y="30885"/>
                  </a:cubicBezTo>
                  <a:cubicBezTo>
                    <a:pt x="5624" y="37354"/>
                    <a:pt x="11927" y="43491"/>
                    <a:pt x="11927" y="48468"/>
                  </a:cubicBezTo>
                  <a:cubicBezTo>
                    <a:pt x="11927" y="56761"/>
                    <a:pt x="28514" y="63064"/>
                    <a:pt x="28514" y="73680"/>
                  </a:cubicBezTo>
                  <a:cubicBezTo>
                    <a:pt x="28514" y="84295"/>
                    <a:pt x="49579" y="92588"/>
                    <a:pt x="56049" y="88442"/>
                  </a:cubicBezTo>
                  <a:cubicBezTo>
                    <a:pt x="62518" y="84295"/>
                    <a:pt x="77114" y="79983"/>
                    <a:pt x="79105" y="94745"/>
                  </a:cubicBezTo>
                  <a:cubicBezTo>
                    <a:pt x="81095" y="109507"/>
                    <a:pt x="89719" y="109507"/>
                    <a:pt x="89719" y="119957"/>
                  </a:cubicBezTo>
                  <a:cubicBezTo>
                    <a:pt x="89719" y="130406"/>
                    <a:pt x="68655" y="124269"/>
                    <a:pt x="64342" y="134719"/>
                  </a:cubicBezTo>
                  <a:cubicBezTo>
                    <a:pt x="60029" y="145169"/>
                    <a:pt x="100169" y="157775"/>
                    <a:pt x="100169" y="166234"/>
                  </a:cubicBezTo>
                  <a:cubicBezTo>
                    <a:pt x="100169" y="174693"/>
                    <a:pt x="112775" y="185143"/>
                    <a:pt x="116756" y="195758"/>
                  </a:cubicBezTo>
                  <a:cubicBezTo>
                    <a:pt x="120737" y="206374"/>
                    <a:pt x="139978" y="218980"/>
                    <a:pt x="144291" y="231586"/>
                  </a:cubicBezTo>
                  <a:cubicBezTo>
                    <a:pt x="148603" y="244192"/>
                    <a:pt x="165355" y="250495"/>
                    <a:pt x="171658" y="256798"/>
                  </a:cubicBezTo>
                  <a:cubicBezTo>
                    <a:pt x="178161" y="266551"/>
                    <a:pt x="180433" y="278510"/>
                    <a:pt x="177961" y="289972"/>
                  </a:cubicBezTo>
                  <a:cubicBezTo>
                    <a:pt x="174694" y="308881"/>
                    <a:pt x="178410" y="328337"/>
                    <a:pt x="188411" y="344708"/>
                  </a:cubicBezTo>
                  <a:cubicBezTo>
                    <a:pt x="201017" y="363618"/>
                    <a:pt x="173649" y="372077"/>
                    <a:pt x="165355" y="382526"/>
                  </a:cubicBezTo>
                  <a:cubicBezTo>
                    <a:pt x="157062" y="392976"/>
                    <a:pt x="161044" y="407904"/>
                    <a:pt x="135831" y="401436"/>
                  </a:cubicBezTo>
                  <a:cubicBezTo>
                    <a:pt x="110619" y="394966"/>
                    <a:pt x="139978" y="422501"/>
                    <a:pt x="135831" y="430960"/>
                  </a:cubicBezTo>
                  <a:cubicBezTo>
                    <a:pt x="131685" y="439419"/>
                    <a:pt x="97848" y="422501"/>
                    <a:pt x="97848" y="430960"/>
                  </a:cubicBezTo>
                  <a:cubicBezTo>
                    <a:pt x="97848" y="436102"/>
                    <a:pt x="86568" y="442571"/>
                    <a:pt x="77445" y="447547"/>
                  </a:cubicBezTo>
                  <a:cubicBezTo>
                    <a:pt x="81625" y="452141"/>
                    <a:pt x="86635" y="455907"/>
                    <a:pt x="92208" y="458660"/>
                  </a:cubicBezTo>
                  <a:cubicBezTo>
                    <a:pt x="100003" y="463636"/>
                    <a:pt x="82421" y="471930"/>
                    <a:pt x="82753" y="487687"/>
                  </a:cubicBezTo>
                  <a:cubicBezTo>
                    <a:pt x="83085" y="503444"/>
                    <a:pt x="95193" y="507259"/>
                    <a:pt x="99340" y="500957"/>
                  </a:cubicBezTo>
                  <a:cubicBezTo>
                    <a:pt x="107716" y="491369"/>
                    <a:pt x="117934" y="483523"/>
                    <a:pt x="129362" y="477901"/>
                  </a:cubicBezTo>
                  <a:cubicBezTo>
                    <a:pt x="136660" y="475413"/>
                    <a:pt x="129362" y="464631"/>
                    <a:pt x="137158" y="465129"/>
                  </a:cubicBezTo>
                  <a:cubicBezTo>
                    <a:pt x="144954" y="465627"/>
                    <a:pt x="142631" y="453850"/>
                    <a:pt x="146115" y="447381"/>
                  </a:cubicBezTo>
                  <a:cubicBezTo>
                    <a:pt x="149599" y="440912"/>
                    <a:pt x="154905" y="443400"/>
                    <a:pt x="166682" y="443898"/>
                  </a:cubicBezTo>
                  <a:cubicBezTo>
                    <a:pt x="183319" y="440514"/>
                    <a:pt x="198861" y="433116"/>
                    <a:pt x="211964" y="422335"/>
                  </a:cubicBezTo>
                  <a:cubicBezTo>
                    <a:pt x="228551" y="411553"/>
                    <a:pt x="231538" y="409065"/>
                    <a:pt x="237840" y="378048"/>
                  </a:cubicBezTo>
                  <a:cubicBezTo>
                    <a:pt x="244143" y="347031"/>
                    <a:pt x="230542" y="310374"/>
                    <a:pt x="230044" y="300919"/>
                  </a:cubicBezTo>
                  <a:cubicBezTo>
                    <a:pt x="229546" y="291465"/>
                    <a:pt x="206988" y="248505"/>
                    <a:pt x="198695" y="248837"/>
                  </a:cubicBezTo>
                  <a:cubicBezTo>
                    <a:pt x="190402" y="249168"/>
                    <a:pt x="151920" y="210023"/>
                    <a:pt x="145120" y="203720"/>
                  </a:cubicBezTo>
                  <a:cubicBezTo>
                    <a:pt x="138319" y="197417"/>
                    <a:pt x="140144" y="187133"/>
                    <a:pt x="130357" y="178176"/>
                  </a:cubicBezTo>
                  <a:cubicBezTo>
                    <a:pt x="120572" y="169220"/>
                    <a:pt x="119576" y="148154"/>
                    <a:pt x="122064" y="132895"/>
                  </a:cubicBezTo>
                  <a:cubicBezTo>
                    <a:pt x="124552" y="117635"/>
                    <a:pt x="146115" y="114317"/>
                    <a:pt x="145617" y="104033"/>
                  </a:cubicBezTo>
                  <a:cubicBezTo>
                    <a:pt x="145120" y="93750"/>
                    <a:pt x="147442" y="84793"/>
                    <a:pt x="158389" y="84295"/>
                  </a:cubicBezTo>
                  <a:cubicBezTo>
                    <a:pt x="169104" y="82919"/>
                    <a:pt x="178642" y="76831"/>
                    <a:pt x="184431" y="67708"/>
                  </a:cubicBezTo>
                  <a:cubicBezTo>
                    <a:pt x="185127" y="66680"/>
                    <a:pt x="186106" y="65867"/>
                    <a:pt x="187250" y="65386"/>
                  </a:cubicBezTo>
                  <a:cubicBezTo>
                    <a:pt x="185758" y="63031"/>
                    <a:pt x="183717" y="61090"/>
                    <a:pt x="181279" y="59747"/>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3" name="Freeform: Shape 552">
              <a:extLst>
                <a:ext uri="{FF2B5EF4-FFF2-40B4-BE49-F238E27FC236}">
                  <a16:creationId xmlns:a16="http://schemas.microsoft.com/office/drawing/2014/main" id="{B8AEA97E-F583-462E-A48A-F54F1BFF50C6}"/>
                </a:ext>
              </a:extLst>
            </p:cNvPr>
            <p:cNvSpPr/>
            <p:nvPr/>
          </p:nvSpPr>
          <p:spPr>
            <a:xfrm>
              <a:off x="8210645" y="4281448"/>
              <a:ext cx="158327" cy="120474"/>
            </a:xfrm>
            <a:custGeom>
              <a:avLst/>
              <a:gdLst>
                <a:gd name="connsiteX0" fmla="*/ 91294 w 185152"/>
                <a:gd name="connsiteY0" fmla="*/ 127453 h 143642"/>
                <a:gd name="connsiteX1" fmla="*/ 129278 w 185152"/>
                <a:gd name="connsiteY1" fmla="*/ 127453 h 143642"/>
                <a:gd name="connsiteX2" fmla="*/ 129278 w 185152"/>
                <a:gd name="connsiteY2" fmla="*/ 97929 h 143642"/>
                <a:gd name="connsiteX3" fmla="*/ 158803 w 185152"/>
                <a:gd name="connsiteY3" fmla="*/ 79019 h 143642"/>
                <a:gd name="connsiteX4" fmla="*/ 181858 w 185152"/>
                <a:gd name="connsiteY4" fmla="*/ 41202 h 143642"/>
                <a:gd name="connsiteX5" fmla="*/ 170413 w 185152"/>
                <a:gd name="connsiteY5" fmla="*/ -100 h 143642"/>
                <a:gd name="connsiteX6" fmla="*/ 146860 w 185152"/>
                <a:gd name="connsiteY6" fmla="*/ 4545 h 143642"/>
                <a:gd name="connsiteX7" fmla="*/ 124136 w 185152"/>
                <a:gd name="connsiteY7" fmla="*/ 11677 h 143642"/>
                <a:gd name="connsiteX8" fmla="*/ 114184 w 185152"/>
                <a:gd name="connsiteY8" fmla="*/ 20136 h 143642"/>
                <a:gd name="connsiteX9" fmla="*/ 95772 w 185152"/>
                <a:gd name="connsiteY9" fmla="*/ 7364 h 143642"/>
                <a:gd name="connsiteX10" fmla="*/ 50324 w 185152"/>
                <a:gd name="connsiteY10" fmla="*/ 6038 h 143642"/>
                <a:gd name="connsiteX11" fmla="*/ 5043 w 185152"/>
                <a:gd name="connsiteY11" fmla="*/ 28595 h 143642"/>
                <a:gd name="connsiteX12" fmla="*/ 6370 w 185152"/>
                <a:gd name="connsiteY12" fmla="*/ 58452 h 143642"/>
                <a:gd name="connsiteX13" fmla="*/ 10682 w 185152"/>
                <a:gd name="connsiteY13" fmla="*/ 83996 h 143642"/>
                <a:gd name="connsiteX14" fmla="*/ 10682 w 185152"/>
                <a:gd name="connsiteY14" fmla="*/ 84991 h 143642"/>
                <a:gd name="connsiteX15" fmla="*/ 19639 w 185152"/>
                <a:gd name="connsiteY15" fmla="*/ 114847 h 143642"/>
                <a:gd name="connsiteX16" fmla="*/ 40207 w 185152"/>
                <a:gd name="connsiteY16" fmla="*/ 118330 h 143642"/>
                <a:gd name="connsiteX17" fmla="*/ 41700 w 185152"/>
                <a:gd name="connsiteY17" fmla="*/ 136078 h 143642"/>
                <a:gd name="connsiteX18" fmla="*/ 68238 w 185152"/>
                <a:gd name="connsiteY18" fmla="*/ 138401 h 143642"/>
                <a:gd name="connsiteX19" fmla="*/ 71224 w 185152"/>
                <a:gd name="connsiteY19" fmla="*/ 143543 h 143642"/>
                <a:gd name="connsiteX20" fmla="*/ 91294 w 185152"/>
                <a:gd name="connsiteY20" fmla="*/ 127453 h 14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5152" h="143642">
                  <a:moveTo>
                    <a:pt x="91294" y="127453"/>
                  </a:moveTo>
                  <a:cubicBezTo>
                    <a:pt x="91294" y="118994"/>
                    <a:pt x="124468" y="135912"/>
                    <a:pt x="129278" y="127453"/>
                  </a:cubicBezTo>
                  <a:cubicBezTo>
                    <a:pt x="134088" y="118994"/>
                    <a:pt x="103900" y="91626"/>
                    <a:pt x="129278" y="97929"/>
                  </a:cubicBezTo>
                  <a:cubicBezTo>
                    <a:pt x="154656" y="104231"/>
                    <a:pt x="150343" y="89635"/>
                    <a:pt x="158803" y="79019"/>
                  </a:cubicBezTo>
                  <a:cubicBezTo>
                    <a:pt x="167261" y="68404"/>
                    <a:pt x="194464" y="60111"/>
                    <a:pt x="181858" y="41202"/>
                  </a:cubicBezTo>
                  <a:cubicBezTo>
                    <a:pt x="174079" y="28861"/>
                    <a:pt x="170098" y="14497"/>
                    <a:pt x="170413" y="-100"/>
                  </a:cubicBezTo>
                  <a:cubicBezTo>
                    <a:pt x="163812" y="5241"/>
                    <a:pt x="154987" y="6983"/>
                    <a:pt x="146860" y="4545"/>
                  </a:cubicBezTo>
                  <a:cubicBezTo>
                    <a:pt x="139728" y="1725"/>
                    <a:pt x="124136" y="398"/>
                    <a:pt x="124136" y="11677"/>
                  </a:cubicBezTo>
                  <a:cubicBezTo>
                    <a:pt x="124136" y="22956"/>
                    <a:pt x="112691" y="25776"/>
                    <a:pt x="114184" y="20136"/>
                  </a:cubicBezTo>
                  <a:cubicBezTo>
                    <a:pt x="115676" y="14497"/>
                    <a:pt x="102739" y="15824"/>
                    <a:pt x="95772" y="7364"/>
                  </a:cubicBezTo>
                  <a:cubicBezTo>
                    <a:pt x="88806" y="-1095"/>
                    <a:pt x="62598" y="10184"/>
                    <a:pt x="50324" y="6038"/>
                  </a:cubicBezTo>
                  <a:cubicBezTo>
                    <a:pt x="38050" y="1891"/>
                    <a:pt x="17151" y="13004"/>
                    <a:pt x="5043" y="28595"/>
                  </a:cubicBezTo>
                  <a:cubicBezTo>
                    <a:pt x="-7065" y="44187"/>
                    <a:pt x="6370" y="44187"/>
                    <a:pt x="6370" y="58452"/>
                  </a:cubicBezTo>
                  <a:cubicBezTo>
                    <a:pt x="6370" y="72716"/>
                    <a:pt x="14828" y="72716"/>
                    <a:pt x="10682" y="83996"/>
                  </a:cubicBezTo>
                  <a:cubicBezTo>
                    <a:pt x="10582" y="84327"/>
                    <a:pt x="10582" y="84659"/>
                    <a:pt x="10682" y="84991"/>
                  </a:cubicBezTo>
                  <a:cubicBezTo>
                    <a:pt x="23122" y="90464"/>
                    <a:pt x="18312" y="106056"/>
                    <a:pt x="19639" y="114847"/>
                  </a:cubicBezTo>
                  <a:cubicBezTo>
                    <a:pt x="20966" y="123638"/>
                    <a:pt x="33406" y="118828"/>
                    <a:pt x="40207" y="118330"/>
                  </a:cubicBezTo>
                  <a:cubicBezTo>
                    <a:pt x="47007" y="117833"/>
                    <a:pt x="35894" y="129112"/>
                    <a:pt x="41700" y="136078"/>
                  </a:cubicBezTo>
                  <a:cubicBezTo>
                    <a:pt x="47505" y="143045"/>
                    <a:pt x="64755" y="130107"/>
                    <a:pt x="68238" y="138401"/>
                  </a:cubicBezTo>
                  <a:cubicBezTo>
                    <a:pt x="69002" y="140242"/>
                    <a:pt x="69997" y="141967"/>
                    <a:pt x="71224" y="143543"/>
                  </a:cubicBezTo>
                  <a:cubicBezTo>
                    <a:pt x="80015" y="139064"/>
                    <a:pt x="91294" y="132595"/>
                    <a:pt x="91294" y="127453"/>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4" name="Freeform: Shape 553">
              <a:extLst>
                <a:ext uri="{FF2B5EF4-FFF2-40B4-BE49-F238E27FC236}">
                  <a16:creationId xmlns:a16="http://schemas.microsoft.com/office/drawing/2014/main" id="{18E6C606-087D-4677-9259-F694AABFAF80}"/>
                </a:ext>
              </a:extLst>
            </p:cNvPr>
            <p:cNvSpPr/>
            <p:nvPr/>
          </p:nvSpPr>
          <p:spPr>
            <a:xfrm>
              <a:off x="8150150" y="4052463"/>
              <a:ext cx="209334" cy="247672"/>
            </a:xfrm>
            <a:custGeom>
              <a:avLst/>
              <a:gdLst>
                <a:gd name="connsiteX0" fmla="*/ 164858 w 244801"/>
                <a:gd name="connsiteY0" fmla="*/ 135249 h 295301"/>
                <a:gd name="connsiteX1" fmla="*/ 129031 w 244801"/>
                <a:gd name="connsiteY1" fmla="*/ 103734 h 295301"/>
                <a:gd name="connsiteX2" fmla="*/ 154408 w 244801"/>
                <a:gd name="connsiteY2" fmla="*/ 88972 h 295301"/>
                <a:gd name="connsiteX3" fmla="*/ 143793 w 244801"/>
                <a:gd name="connsiteY3" fmla="*/ 63760 h 295301"/>
                <a:gd name="connsiteX4" fmla="*/ 120738 w 244801"/>
                <a:gd name="connsiteY4" fmla="*/ 57457 h 295301"/>
                <a:gd name="connsiteX5" fmla="*/ 93203 w 244801"/>
                <a:gd name="connsiteY5" fmla="*/ 42695 h 295301"/>
                <a:gd name="connsiteX6" fmla="*/ 76616 w 244801"/>
                <a:gd name="connsiteY6" fmla="*/ 17483 h 295301"/>
                <a:gd name="connsiteX7" fmla="*/ 64674 w 244801"/>
                <a:gd name="connsiteY7" fmla="*/ -100 h 295301"/>
                <a:gd name="connsiteX8" fmla="*/ 51404 w 244801"/>
                <a:gd name="connsiteY8" fmla="*/ 730 h 295301"/>
                <a:gd name="connsiteX9" fmla="*/ 46097 w 244801"/>
                <a:gd name="connsiteY9" fmla="*/ 17317 h 295301"/>
                <a:gd name="connsiteX10" fmla="*/ 44770 w 244801"/>
                <a:gd name="connsiteY10" fmla="*/ 43690 h 295301"/>
                <a:gd name="connsiteX11" fmla="*/ 28183 w 244801"/>
                <a:gd name="connsiteY11" fmla="*/ 27932 h 295301"/>
                <a:gd name="connsiteX12" fmla="*/ 11596 w 244801"/>
                <a:gd name="connsiteY12" fmla="*/ 55466 h 295301"/>
                <a:gd name="connsiteX13" fmla="*/ -15 w 244801"/>
                <a:gd name="connsiteY13" fmla="*/ 65087 h 295301"/>
                <a:gd name="connsiteX14" fmla="*/ 6454 w 244801"/>
                <a:gd name="connsiteY14" fmla="*/ 71556 h 295301"/>
                <a:gd name="connsiteX15" fmla="*/ 9274 w 244801"/>
                <a:gd name="connsiteY15" fmla="*/ 97100 h 295301"/>
                <a:gd name="connsiteX16" fmla="*/ 31997 w 244801"/>
                <a:gd name="connsiteY16" fmla="*/ 105725 h 295301"/>
                <a:gd name="connsiteX17" fmla="*/ 29178 w 244801"/>
                <a:gd name="connsiteY17" fmla="*/ 141055 h 295301"/>
                <a:gd name="connsiteX18" fmla="*/ 20553 w 244801"/>
                <a:gd name="connsiteY18" fmla="*/ 166598 h 295301"/>
                <a:gd name="connsiteX19" fmla="*/ 50409 w 244801"/>
                <a:gd name="connsiteY19" fmla="*/ 155320 h 295301"/>
                <a:gd name="connsiteX20" fmla="*/ 74460 w 244801"/>
                <a:gd name="connsiteY20" fmla="*/ 153827 h 295301"/>
                <a:gd name="connsiteX21" fmla="*/ 95857 w 244801"/>
                <a:gd name="connsiteY21" fmla="*/ 148187 h 295301"/>
                <a:gd name="connsiteX22" fmla="*/ 127040 w 244801"/>
                <a:gd name="connsiteY22" fmla="*/ 146694 h 295301"/>
                <a:gd name="connsiteX23" fmla="*/ 151091 w 244801"/>
                <a:gd name="connsiteY23" fmla="*/ 170911 h 295301"/>
                <a:gd name="connsiteX24" fmla="*/ 153911 w 244801"/>
                <a:gd name="connsiteY24" fmla="*/ 210553 h 295301"/>
                <a:gd name="connsiteX25" fmla="*/ 176635 w 244801"/>
                <a:gd name="connsiteY25" fmla="*/ 246050 h 295301"/>
                <a:gd name="connsiteX26" fmla="*/ 172322 w 244801"/>
                <a:gd name="connsiteY26" fmla="*/ 283701 h 295301"/>
                <a:gd name="connsiteX27" fmla="*/ 186587 w 244801"/>
                <a:gd name="connsiteY27" fmla="*/ 292824 h 295301"/>
                <a:gd name="connsiteX28" fmla="*/ 196539 w 244801"/>
                <a:gd name="connsiteY28" fmla="*/ 284365 h 295301"/>
                <a:gd name="connsiteX29" fmla="*/ 219263 w 244801"/>
                <a:gd name="connsiteY29" fmla="*/ 277232 h 295301"/>
                <a:gd name="connsiteX30" fmla="*/ 242816 w 244801"/>
                <a:gd name="connsiteY30" fmla="*/ 272588 h 295301"/>
                <a:gd name="connsiteX31" fmla="*/ 243812 w 244801"/>
                <a:gd name="connsiteY31" fmla="*/ 259153 h 295301"/>
                <a:gd name="connsiteX32" fmla="*/ 237509 w 244801"/>
                <a:gd name="connsiteY32" fmla="*/ 225979 h 295301"/>
                <a:gd name="connsiteX33" fmla="*/ 210140 w 244801"/>
                <a:gd name="connsiteY33" fmla="*/ 200767 h 295301"/>
                <a:gd name="connsiteX34" fmla="*/ 182606 w 244801"/>
                <a:gd name="connsiteY34" fmla="*/ 164940 h 295301"/>
                <a:gd name="connsiteX35" fmla="*/ 164858 w 244801"/>
                <a:gd name="connsiteY35" fmla="*/ 135249 h 29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4801" h="295301">
                  <a:moveTo>
                    <a:pt x="164858" y="135249"/>
                  </a:moveTo>
                  <a:cubicBezTo>
                    <a:pt x="164858" y="126790"/>
                    <a:pt x="124884" y="114184"/>
                    <a:pt x="129031" y="103734"/>
                  </a:cubicBezTo>
                  <a:cubicBezTo>
                    <a:pt x="133178" y="93284"/>
                    <a:pt x="154408" y="99588"/>
                    <a:pt x="154408" y="88972"/>
                  </a:cubicBezTo>
                  <a:cubicBezTo>
                    <a:pt x="154408" y="78356"/>
                    <a:pt x="145949" y="78522"/>
                    <a:pt x="143793" y="63760"/>
                  </a:cubicBezTo>
                  <a:cubicBezTo>
                    <a:pt x="141636" y="48998"/>
                    <a:pt x="127206" y="53145"/>
                    <a:pt x="120738" y="57457"/>
                  </a:cubicBezTo>
                  <a:cubicBezTo>
                    <a:pt x="114269" y="61770"/>
                    <a:pt x="93203" y="53145"/>
                    <a:pt x="93203" y="42695"/>
                  </a:cubicBezTo>
                  <a:cubicBezTo>
                    <a:pt x="93203" y="32245"/>
                    <a:pt x="76616" y="26108"/>
                    <a:pt x="76616" y="17483"/>
                  </a:cubicBezTo>
                  <a:cubicBezTo>
                    <a:pt x="76616" y="12507"/>
                    <a:pt x="70313" y="6370"/>
                    <a:pt x="64674" y="-100"/>
                  </a:cubicBezTo>
                  <a:cubicBezTo>
                    <a:pt x="59200" y="2554"/>
                    <a:pt x="53892" y="3218"/>
                    <a:pt x="51404" y="730"/>
                  </a:cubicBezTo>
                  <a:cubicBezTo>
                    <a:pt x="48916" y="-1758"/>
                    <a:pt x="42115" y="13834"/>
                    <a:pt x="46097" y="17317"/>
                  </a:cubicBezTo>
                  <a:cubicBezTo>
                    <a:pt x="50078" y="20800"/>
                    <a:pt x="55385" y="46344"/>
                    <a:pt x="44770" y="43690"/>
                  </a:cubicBezTo>
                  <a:cubicBezTo>
                    <a:pt x="34154" y="41036"/>
                    <a:pt x="34320" y="27103"/>
                    <a:pt x="28183" y="27932"/>
                  </a:cubicBezTo>
                  <a:cubicBezTo>
                    <a:pt x="28183" y="27932"/>
                    <a:pt x="11596" y="47671"/>
                    <a:pt x="11596" y="55466"/>
                  </a:cubicBezTo>
                  <a:cubicBezTo>
                    <a:pt x="11596" y="60774"/>
                    <a:pt x="4961" y="62599"/>
                    <a:pt x="-15" y="65087"/>
                  </a:cubicBezTo>
                  <a:cubicBezTo>
                    <a:pt x="2357" y="67028"/>
                    <a:pt x="4513" y="69184"/>
                    <a:pt x="6454" y="71556"/>
                  </a:cubicBezTo>
                  <a:cubicBezTo>
                    <a:pt x="9274" y="75868"/>
                    <a:pt x="4961" y="87147"/>
                    <a:pt x="9274" y="97100"/>
                  </a:cubicBezTo>
                  <a:cubicBezTo>
                    <a:pt x="13586" y="107052"/>
                    <a:pt x="27685" y="91460"/>
                    <a:pt x="31997" y="105725"/>
                  </a:cubicBezTo>
                  <a:cubicBezTo>
                    <a:pt x="36310" y="119989"/>
                    <a:pt x="29178" y="126956"/>
                    <a:pt x="29178" y="141055"/>
                  </a:cubicBezTo>
                  <a:cubicBezTo>
                    <a:pt x="29178" y="155153"/>
                    <a:pt x="17733" y="153827"/>
                    <a:pt x="20553" y="166598"/>
                  </a:cubicBezTo>
                  <a:cubicBezTo>
                    <a:pt x="23372" y="179370"/>
                    <a:pt x="39130" y="163778"/>
                    <a:pt x="50409" y="155320"/>
                  </a:cubicBezTo>
                  <a:cubicBezTo>
                    <a:pt x="61689" y="146860"/>
                    <a:pt x="70313" y="148187"/>
                    <a:pt x="74460" y="153827"/>
                  </a:cubicBezTo>
                  <a:cubicBezTo>
                    <a:pt x="78606" y="159466"/>
                    <a:pt x="92871" y="155320"/>
                    <a:pt x="95857" y="148187"/>
                  </a:cubicBezTo>
                  <a:cubicBezTo>
                    <a:pt x="98843" y="141055"/>
                    <a:pt x="119907" y="138235"/>
                    <a:pt x="127040" y="146694"/>
                  </a:cubicBezTo>
                  <a:cubicBezTo>
                    <a:pt x="133542" y="156149"/>
                    <a:pt x="141687" y="164342"/>
                    <a:pt x="151091" y="170911"/>
                  </a:cubicBezTo>
                  <a:cubicBezTo>
                    <a:pt x="161044" y="176551"/>
                    <a:pt x="143959" y="207734"/>
                    <a:pt x="153911" y="210553"/>
                  </a:cubicBezTo>
                  <a:cubicBezTo>
                    <a:pt x="168076" y="216575"/>
                    <a:pt x="177099" y="230657"/>
                    <a:pt x="176635" y="246050"/>
                  </a:cubicBezTo>
                  <a:cubicBezTo>
                    <a:pt x="175474" y="260645"/>
                    <a:pt x="183601" y="271095"/>
                    <a:pt x="172322" y="283701"/>
                  </a:cubicBezTo>
                  <a:cubicBezTo>
                    <a:pt x="179289" y="288180"/>
                    <a:pt x="187748" y="288180"/>
                    <a:pt x="186587" y="292824"/>
                  </a:cubicBezTo>
                  <a:cubicBezTo>
                    <a:pt x="185426" y="297468"/>
                    <a:pt x="196539" y="295644"/>
                    <a:pt x="196539" y="284365"/>
                  </a:cubicBezTo>
                  <a:cubicBezTo>
                    <a:pt x="196539" y="273086"/>
                    <a:pt x="212130" y="274413"/>
                    <a:pt x="219263" y="277232"/>
                  </a:cubicBezTo>
                  <a:cubicBezTo>
                    <a:pt x="227407" y="279671"/>
                    <a:pt x="236215" y="277929"/>
                    <a:pt x="242816" y="272588"/>
                  </a:cubicBezTo>
                  <a:cubicBezTo>
                    <a:pt x="242767" y="268093"/>
                    <a:pt x="243098" y="263598"/>
                    <a:pt x="243812" y="259153"/>
                  </a:cubicBezTo>
                  <a:cubicBezTo>
                    <a:pt x="246283" y="247692"/>
                    <a:pt x="244010" y="235732"/>
                    <a:pt x="237509" y="225979"/>
                  </a:cubicBezTo>
                  <a:cubicBezTo>
                    <a:pt x="231205" y="219676"/>
                    <a:pt x="214287" y="213373"/>
                    <a:pt x="210140" y="200767"/>
                  </a:cubicBezTo>
                  <a:cubicBezTo>
                    <a:pt x="205993" y="188161"/>
                    <a:pt x="186919" y="175389"/>
                    <a:pt x="182606" y="164940"/>
                  </a:cubicBezTo>
                  <a:cubicBezTo>
                    <a:pt x="178293" y="154490"/>
                    <a:pt x="164858" y="143709"/>
                    <a:pt x="164858" y="135249"/>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5" name="Freeform: Shape 554">
              <a:extLst>
                <a:ext uri="{FF2B5EF4-FFF2-40B4-BE49-F238E27FC236}">
                  <a16:creationId xmlns:a16="http://schemas.microsoft.com/office/drawing/2014/main" id="{69D7E119-763F-4BBA-9626-01ACAD2B2B07}"/>
                </a:ext>
              </a:extLst>
            </p:cNvPr>
            <p:cNvSpPr/>
            <p:nvPr/>
          </p:nvSpPr>
          <p:spPr>
            <a:xfrm>
              <a:off x="8075544" y="4107414"/>
              <a:ext cx="225746" cy="421663"/>
            </a:xfrm>
            <a:custGeom>
              <a:avLst/>
              <a:gdLst>
                <a:gd name="connsiteX0" fmla="*/ 164361 w 263993"/>
                <a:gd name="connsiteY0" fmla="*/ 265953 h 502752"/>
                <a:gd name="connsiteX1" fmla="*/ 163034 w 263993"/>
                <a:gd name="connsiteY1" fmla="*/ 236097 h 502752"/>
                <a:gd name="connsiteX2" fmla="*/ 208316 w 263993"/>
                <a:gd name="connsiteY2" fmla="*/ 213539 h 502752"/>
                <a:gd name="connsiteX3" fmla="*/ 253763 w 263993"/>
                <a:gd name="connsiteY3" fmla="*/ 214866 h 502752"/>
                <a:gd name="connsiteX4" fmla="*/ 257910 w 263993"/>
                <a:gd name="connsiteY4" fmla="*/ 218515 h 502752"/>
                <a:gd name="connsiteX5" fmla="*/ 262223 w 263993"/>
                <a:gd name="connsiteY5" fmla="*/ 180863 h 502752"/>
                <a:gd name="connsiteX6" fmla="*/ 239499 w 263993"/>
                <a:gd name="connsiteY6" fmla="*/ 145367 h 502752"/>
                <a:gd name="connsiteX7" fmla="*/ 236679 w 263993"/>
                <a:gd name="connsiteY7" fmla="*/ 105725 h 502752"/>
                <a:gd name="connsiteX8" fmla="*/ 212628 w 263993"/>
                <a:gd name="connsiteY8" fmla="*/ 81508 h 502752"/>
                <a:gd name="connsiteX9" fmla="*/ 181445 w 263993"/>
                <a:gd name="connsiteY9" fmla="*/ 83001 h 502752"/>
                <a:gd name="connsiteX10" fmla="*/ 160048 w 263993"/>
                <a:gd name="connsiteY10" fmla="*/ 88640 h 502752"/>
                <a:gd name="connsiteX11" fmla="*/ 135997 w 263993"/>
                <a:gd name="connsiteY11" fmla="*/ 90133 h 502752"/>
                <a:gd name="connsiteX12" fmla="*/ 106141 w 263993"/>
                <a:gd name="connsiteY12" fmla="*/ 101412 h 502752"/>
                <a:gd name="connsiteX13" fmla="*/ 114766 w 263993"/>
                <a:gd name="connsiteY13" fmla="*/ 75868 h 502752"/>
                <a:gd name="connsiteX14" fmla="*/ 117586 w 263993"/>
                <a:gd name="connsiteY14" fmla="*/ 40538 h 502752"/>
                <a:gd name="connsiteX15" fmla="*/ 94862 w 263993"/>
                <a:gd name="connsiteY15" fmla="*/ 31913 h 502752"/>
                <a:gd name="connsiteX16" fmla="*/ 92042 w 263993"/>
                <a:gd name="connsiteY16" fmla="*/ 6370 h 502752"/>
                <a:gd name="connsiteX17" fmla="*/ 85574 w 263993"/>
                <a:gd name="connsiteY17" fmla="*/ -100 h 502752"/>
                <a:gd name="connsiteX18" fmla="*/ 80100 w 263993"/>
                <a:gd name="connsiteY18" fmla="*/ 4711 h 502752"/>
                <a:gd name="connsiteX19" fmla="*/ 49912 w 263993"/>
                <a:gd name="connsiteY19" fmla="*/ 21298 h 502752"/>
                <a:gd name="connsiteX20" fmla="*/ 25031 w 263993"/>
                <a:gd name="connsiteY20" fmla="*/ 29093 h 502752"/>
                <a:gd name="connsiteX21" fmla="*/ 6620 w 263993"/>
                <a:gd name="connsiteY21" fmla="*/ 39709 h 502752"/>
                <a:gd name="connsiteX22" fmla="*/ -15 w 263993"/>
                <a:gd name="connsiteY22" fmla="*/ 92123 h 502752"/>
                <a:gd name="connsiteX23" fmla="*/ 25031 w 263993"/>
                <a:gd name="connsiteY23" fmla="*/ 122311 h 502752"/>
                <a:gd name="connsiteX24" fmla="*/ 31500 w 263993"/>
                <a:gd name="connsiteY24" fmla="*/ 144538 h 502752"/>
                <a:gd name="connsiteX25" fmla="*/ 30173 w 263993"/>
                <a:gd name="connsiteY25" fmla="*/ 160295 h 502752"/>
                <a:gd name="connsiteX26" fmla="*/ 25031 w 263993"/>
                <a:gd name="connsiteY26" fmla="*/ 184014 h 502752"/>
                <a:gd name="connsiteX27" fmla="*/ 36808 w 263993"/>
                <a:gd name="connsiteY27" fmla="*/ 219344 h 502752"/>
                <a:gd name="connsiteX28" fmla="*/ 49912 w 263993"/>
                <a:gd name="connsiteY28" fmla="*/ 260148 h 502752"/>
                <a:gd name="connsiteX29" fmla="*/ 60361 w 263993"/>
                <a:gd name="connsiteY29" fmla="*/ 285028 h 502752"/>
                <a:gd name="connsiteX30" fmla="*/ 31831 w 263993"/>
                <a:gd name="connsiteY30" fmla="*/ 339765 h 502752"/>
                <a:gd name="connsiteX31" fmla="*/ 22543 w 263993"/>
                <a:gd name="connsiteY31" fmla="*/ 388696 h 502752"/>
                <a:gd name="connsiteX32" fmla="*/ 24534 w 263993"/>
                <a:gd name="connsiteY32" fmla="*/ 418220 h 502752"/>
                <a:gd name="connsiteX33" fmla="*/ 68157 w 263993"/>
                <a:gd name="connsiteY33" fmla="*/ 460849 h 502752"/>
                <a:gd name="connsiteX34" fmla="*/ 78109 w 263993"/>
                <a:gd name="connsiteY34" fmla="*/ 477436 h 502752"/>
                <a:gd name="connsiteX35" fmla="*/ 97350 w 263993"/>
                <a:gd name="connsiteY35" fmla="*/ 478597 h 502752"/>
                <a:gd name="connsiteX36" fmla="*/ 113936 w 263993"/>
                <a:gd name="connsiteY36" fmla="*/ 498335 h 502752"/>
                <a:gd name="connsiteX37" fmla="*/ 140144 w 263993"/>
                <a:gd name="connsiteY37" fmla="*/ 501486 h 502752"/>
                <a:gd name="connsiteX38" fmla="*/ 150262 w 263993"/>
                <a:gd name="connsiteY38" fmla="*/ 488217 h 502752"/>
                <a:gd name="connsiteX39" fmla="*/ 112112 w 263993"/>
                <a:gd name="connsiteY39" fmla="*/ 465825 h 502752"/>
                <a:gd name="connsiteX40" fmla="*/ 89056 w 263993"/>
                <a:gd name="connsiteY40" fmla="*/ 428007 h 502752"/>
                <a:gd name="connsiteX41" fmla="*/ 76782 w 263993"/>
                <a:gd name="connsiteY41" fmla="*/ 396989 h 502752"/>
                <a:gd name="connsiteX42" fmla="*/ 55552 w 263993"/>
                <a:gd name="connsiteY42" fmla="*/ 381398 h 502752"/>
                <a:gd name="connsiteX43" fmla="*/ 59532 w 263993"/>
                <a:gd name="connsiteY43" fmla="*/ 328320 h 502752"/>
                <a:gd name="connsiteX44" fmla="*/ 77777 w 263993"/>
                <a:gd name="connsiteY44" fmla="*/ 260479 h 502752"/>
                <a:gd name="connsiteX45" fmla="*/ 105643 w 263993"/>
                <a:gd name="connsiteY45" fmla="*/ 252186 h 502752"/>
                <a:gd name="connsiteX46" fmla="*/ 130689 w 263993"/>
                <a:gd name="connsiteY46" fmla="*/ 272256 h 502752"/>
                <a:gd name="connsiteX47" fmla="*/ 166185 w 263993"/>
                <a:gd name="connsiteY47" fmla="*/ 290999 h 502752"/>
                <a:gd name="connsiteX48" fmla="*/ 168508 w 263993"/>
                <a:gd name="connsiteY48" fmla="*/ 291995 h 502752"/>
                <a:gd name="connsiteX49" fmla="*/ 168508 w 263993"/>
                <a:gd name="connsiteY49" fmla="*/ 290999 h 502752"/>
                <a:gd name="connsiteX50" fmla="*/ 164361 w 263993"/>
                <a:gd name="connsiteY50" fmla="*/ 265953 h 50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63993" h="502752">
                  <a:moveTo>
                    <a:pt x="164361" y="265953"/>
                  </a:moveTo>
                  <a:cubicBezTo>
                    <a:pt x="164361" y="251688"/>
                    <a:pt x="150096" y="251688"/>
                    <a:pt x="163034" y="236097"/>
                  </a:cubicBezTo>
                  <a:cubicBezTo>
                    <a:pt x="175971" y="220505"/>
                    <a:pt x="196208" y="209226"/>
                    <a:pt x="208316" y="213539"/>
                  </a:cubicBezTo>
                  <a:cubicBezTo>
                    <a:pt x="220425" y="217852"/>
                    <a:pt x="246631" y="206407"/>
                    <a:pt x="253763" y="214866"/>
                  </a:cubicBezTo>
                  <a:cubicBezTo>
                    <a:pt x="254925" y="216309"/>
                    <a:pt x="256335" y="217536"/>
                    <a:pt x="257910" y="218515"/>
                  </a:cubicBezTo>
                  <a:cubicBezTo>
                    <a:pt x="269190" y="205909"/>
                    <a:pt x="261062" y="195459"/>
                    <a:pt x="262223" y="180863"/>
                  </a:cubicBezTo>
                  <a:cubicBezTo>
                    <a:pt x="262687" y="165470"/>
                    <a:pt x="253664" y="151388"/>
                    <a:pt x="239499" y="145367"/>
                  </a:cubicBezTo>
                  <a:cubicBezTo>
                    <a:pt x="229547" y="142547"/>
                    <a:pt x="246631" y="111364"/>
                    <a:pt x="236679" y="105725"/>
                  </a:cubicBezTo>
                  <a:cubicBezTo>
                    <a:pt x="227274" y="99156"/>
                    <a:pt x="219131" y="90962"/>
                    <a:pt x="212628" y="81508"/>
                  </a:cubicBezTo>
                  <a:cubicBezTo>
                    <a:pt x="205496" y="73048"/>
                    <a:pt x="184264" y="75868"/>
                    <a:pt x="181445" y="83001"/>
                  </a:cubicBezTo>
                  <a:cubicBezTo>
                    <a:pt x="178626" y="90133"/>
                    <a:pt x="164858" y="94280"/>
                    <a:pt x="160048" y="88640"/>
                  </a:cubicBezTo>
                  <a:cubicBezTo>
                    <a:pt x="155238" y="83001"/>
                    <a:pt x="147276" y="81508"/>
                    <a:pt x="135997" y="90133"/>
                  </a:cubicBezTo>
                  <a:cubicBezTo>
                    <a:pt x="124718" y="98758"/>
                    <a:pt x="108961" y="114184"/>
                    <a:pt x="106141" y="101412"/>
                  </a:cubicBezTo>
                  <a:cubicBezTo>
                    <a:pt x="103322" y="88640"/>
                    <a:pt x="114766" y="90133"/>
                    <a:pt x="114766" y="75868"/>
                  </a:cubicBezTo>
                  <a:cubicBezTo>
                    <a:pt x="114766" y="61604"/>
                    <a:pt x="121899" y="54637"/>
                    <a:pt x="117586" y="40538"/>
                  </a:cubicBezTo>
                  <a:cubicBezTo>
                    <a:pt x="113273" y="26440"/>
                    <a:pt x="99175" y="41865"/>
                    <a:pt x="94862" y="31913"/>
                  </a:cubicBezTo>
                  <a:cubicBezTo>
                    <a:pt x="90549" y="21961"/>
                    <a:pt x="94862" y="10682"/>
                    <a:pt x="92042" y="6370"/>
                  </a:cubicBezTo>
                  <a:cubicBezTo>
                    <a:pt x="90101" y="3998"/>
                    <a:pt x="87946" y="1841"/>
                    <a:pt x="85574" y="-100"/>
                  </a:cubicBezTo>
                  <a:cubicBezTo>
                    <a:pt x="83234" y="813"/>
                    <a:pt x="81294" y="2505"/>
                    <a:pt x="80100" y="4711"/>
                  </a:cubicBezTo>
                  <a:cubicBezTo>
                    <a:pt x="77445" y="11345"/>
                    <a:pt x="55219" y="12507"/>
                    <a:pt x="49912" y="21298"/>
                  </a:cubicBezTo>
                  <a:cubicBezTo>
                    <a:pt x="44604" y="30089"/>
                    <a:pt x="28846" y="29093"/>
                    <a:pt x="25031" y="29093"/>
                  </a:cubicBezTo>
                  <a:cubicBezTo>
                    <a:pt x="21217" y="29093"/>
                    <a:pt x="8444" y="30420"/>
                    <a:pt x="6620" y="39709"/>
                  </a:cubicBezTo>
                  <a:cubicBezTo>
                    <a:pt x="4796" y="48997"/>
                    <a:pt x="-15" y="85655"/>
                    <a:pt x="-15" y="92123"/>
                  </a:cubicBezTo>
                  <a:cubicBezTo>
                    <a:pt x="5210" y="104414"/>
                    <a:pt x="13918" y="114897"/>
                    <a:pt x="25031" y="122311"/>
                  </a:cubicBezTo>
                  <a:cubicBezTo>
                    <a:pt x="31500" y="124965"/>
                    <a:pt x="23704" y="140723"/>
                    <a:pt x="31500" y="144538"/>
                  </a:cubicBezTo>
                  <a:cubicBezTo>
                    <a:pt x="39296" y="148353"/>
                    <a:pt x="34154" y="161125"/>
                    <a:pt x="30173" y="160295"/>
                  </a:cubicBezTo>
                  <a:cubicBezTo>
                    <a:pt x="26193" y="159466"/>
                    <a:pt x="32828" y="176882"/>
                    <a:pt x="25031" y="184014"/>
                  </a:cubicBezTo>
                  <a:cubicBezTo>
                    <a:pt x="17236" y="191147"/>
                    <a:pt x="23704" y="207567"/>
                    <a:pt x="36808" y="219344"/>
                  </a:cubicBezTo>
                  <a:cubicBezTo>
                    <a:pt x="46776" y="230474"/>
                    <a:pt x="51537" y="245303"/>
                    <a:pt x="49912" y="260148"/>
                  </a:cubicBezTo>
                  <a:cubicBezTo>
                    <a:pt x="49912" y="270598"/>
                    <a:pt x="60361" y="271924"/>
                    <a:pt x="60361" y="285028"/>
                  </a:cubicBezTo>
                  <a:cubicBezTo>
                    <a:pt x="60361" y="285028"/>
                    <a:pt x="44770" y="342253"/>
                    <a:pt x="31831" y="339765"/>
                  </a:cubicBezTo>
                  <a:cubicBezTo>
                    <a:pt x="29178" y="354029"/>
                    <a:pt x="25694" y="376587"/>
                    <a:pt x="22543" y="388696"/>
                  </a:cubicBezTo>
                  <a:cubicBezTo>
                    <a:pt x="18562" y="403956"/>
                    <a:pt x="15577" y="417225"/>
                    <a:pt x="24534" y="418220"/>
                  </a:cubicBezTo>
                  <a:cubicBezTo>
                    <a:pt x="33491" y="419216"/>
                    <a:pt x="51073" y="439285"/>
                    <a:pt x="68157" y="460849"/>
                  </a:cubicBezTo>
                  <a:cubicBezTo>
                    <a:pt x="72204" y="465908"/>
                    <a:pt x="75555" y="471481"/>
                    <a:pt x="78109" y="477436"/>
                  </a:cubicBezTo>
                  <a:cubicBezTo>
                    <a:pt x="84545" y="477103"/>
                    <a:pt x="90997" y="477485"/>
                    <a:pt x="97350" y="478597"/>
                  </a:cubicBezTo>
                  <a:cubicBezTo>
                    <a:pt x="107087" y="480023"/>
                    <a:pt x="114202" y="488499"/>
                    <a:pt x="113936" y="498335"/>
                  </a:cubicBezTo>
                  <a:cubicBezTo>
                    <a:pt x="113936" y="504804"/>
                    <a:pt x="135997" y="502316"/>
                    <a:pt x="140144" y="501486"/>
                  </a:cubicBezTo>
                  <a:cubicBezTo>
                    <a:pt x="144291" y="500657"/>
                    <a:pt x="139149" y="491700"/>
                    <a:pt x="150262" y="488217"/>
                  </a:cubicBezTo>
                  <a:cubicBezTo>
                    <a:pt x="140775" y="476258"/>
                    <a:pt x="127173" y="468280"/>
                    <a:pt x="112112" y="465825"/>
                  </a:cubicBezTo>
                  <a:cubicBezTo>
                    <a:pt x="95525" y="464332"/>
                    <a:pt x="87564" y="439285"/>
                    <a:pt x="89056" y="428007"/>
                  </a:cubicBezTo>
                  <a:cubicBezTo>
                    <a:pt x="90549" y="416728"/>
                    <a:pt x="76782" y="406941"/>
                    <a:pt x="76782" y="396989"/>
                  </a:cubicBezTo>
                  <a:cubicBezTo>
                    <a:pt x="76782" y="387037"/>
                    <a:pt x="66830" y="386706"/>
                    <a:pt x="55552" y="381398"/>
                  </a:cubicBezTo>
                  <a:cubicBezTo>
                    <a:pt x="44272" y="376090"/>
                    <a:pt x="58039" y="342584"/>
                    <a:pt x="59532" y="328320"/>
                  </a:cubicBezTo>
                  <a:cubicBezTo>
                    <a:pt x="61024" y="314055"/>
                    <a:pt x="84578" y="273252"/>
                    <a:pt x="77777" y="260479"/>
                  </a:cubicBezTo>
                  <a:cubicBezTo>
                    <a:pt x="70977" y="247708"/>
                    <a:pt x="101828" y="237922"/>
                    <a:pt x="105643" y="252186"/>
                  </a:cubicBezTo>
                  <a:cubicBezTo>
                    <a:pt x="109459" y="266451"/>
                    <a:pt x="111117" y="273252"/>
                    <a:pt x="130689" y="272256"/>
                  </a:cubicBezTo>
                  <a:cubicBezTo>
                    <a:pt x="150262" y="271261"/>
                    <a:pt x="150428" y="286521"/>
                    <a:pt x="166185" y="290999"/>
                  </a:cubicBezTo>
                  <a:cubicBezTo>
                    <a:pt x="166981" y="291265"/>
                    <a:pt x="167761" y="291596"/>
                    <a:pt x="168508" y="291995"/>
                  </a:cubicBezTo>
                  <a:cubicBezTo>
                    <a:pt x="168408" y="291663"/>
                    <a:pt x="168408" y="291331"/>
                    <a:pt x="168508" y="290999"/>
                  </a:cubicBezTo>
                  <a:cubicBezTo>
                    <a:pt x="172820" y="280218"/>
                    <a:pt x="164361" y="280218"/>
                    <a:pt x="164361" y="265953"/>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6" name="Freeform: Shape 555">
              <a:extLst>
                <a:ext uri="{FF2B5EF4-FFF2-40B4-BE49-F238E27FC236}">
                  <a16:creationId xmlns:a16="http://schemas.microsoft.com/office/drawing/2014/main" id="{95554023-AD16-43F7-A257-1C19336207DC}"/>
                </a:ext>
              </a:extLst>
            </p:cNvPr>
            <p:cNvSpPr/>
            <p:nvPr/>
          </p:nvSpPr>
          <p:spPr>
            <a:xfrm>
              <a:off x="5741647" y="2967249"/>
              <a:ext cx="270250" cy="215605"/>
            </a:xfrm>
            <a:custGeom>
              <a:avLst/>
              <a:gdLst>
                <a:gd name="connsiteX0" fmla="*/ 2928 w 316038"/>
                <a:gd name="connsiteY0" fmla="*/ 50462 h 257068"/>
                <a:gd name="connsiteX1" fmla="*/ 2928 w 316038"/>
                <a:gd name="connsiteY1" fmla="*/ 85129 h 257068"/>
                <a:gd name="connsiteX2" fmla="*/ 5085 w 316038"/>
                <a:gd name="connsiteY2" fmla="*/ 98398 h 257068"/>
                <a:gd name="connsiteX3" fmla="*/ 12549 w 316038"/>
                <a:gd name="connsiteY3" fmla="*/ 114985 h 257068"/>
                <a:gd name="connsiteX4" fmla="*/ 16861 w 316038"/>
                <a:gd name="connsiteY4" fmla="*/ 132733 h 257068"/>
                <a:gd name="connsiteX5" fmla="*/ 24989 w 316038"/>
                <a:gd name="connsiteY5" fmla="*/ 159272 h 257068"/>
                <a:gd name="connsiteX6" fmla="*/ 25984 w 316038"/>
                <a:gd name="connsiteY6" fmla="*/ 174200 h 257068"/>
                <a:gd name="connsiteX7" fmla="*/ 45225 w 316038"/>
                <a:gd name="connsiteY7" fmla="*/ 185313 h 257068"/>
                <a:gd name="connsiteX8" fmla="*/ 67119 w 316038"/>
                <a:gd name="connsiteY8" fmla="*/ 200739 h 257068"/>
                <a:gd name="connsiteX9" fmla="*/ 84867 w 316038"/>
                <a:gd name="connsiteY9" fmla="*/ 208369 h 257068"/>
                <a:gd name="connsiteX10" fmla="*/ 103444 w 316038"/>
                <a:gd name="connsiteY10" fmla="*/ 205052 h 257068"/>
                <a:gd name="connsiteX11" fmla="*/ 112235 w 316038"/>
                <a:gd name="connsiteY11" fmla="*/ 217160 h 257068"/>
                <a:gd name="connsiteX12" fmla="*/ 134130 w 316038"/>
                <a:gd name="connsiteY12" fmla="*/ 222634 h 257068"/>
                <a:gd name="connsiteX13" fmla="*/ 149556 w 316038"/>
                <a:gd name="connsiteY13" fmla="*/ 242372 h 257068"/>
                <a:gd name="connsiteX14" fmla="*/ 169294 w 316038"/>
                <a:gd name="connsiteY14" fmla="*/ 240216 h 257068"/>
                <a:gd name="connsiteX15" fmla="*/ 197823 w 316038"/>
                <a:gd name="connsiteY15" fmla="*/ 243533 h 257068"/>
                <a:gd name="connsiteX16" fmla="*/ 223036 w 316038"/>
                <a:gd name="connsiteY16" fmla="*/ 245689 h 257068"/>
                <a:gd name="connsiteX17" fmla="*/ 251565 w 316038"/>
                <a:gd name="connsiteY17" fmla="*/ 252324 h 257068"/>
                <a:gd name="connsiteX18" fmla="*/ 271137 w 316038"/>
                <a:gd name="connsiteY18" fmla="*/ 256969 h 257068"/>
                <a:gd name="connsiteX19" fmla="*/ 269645 w 316038"/>
                <a:gd name="connsiteY19" fmla="*/ 235240 h 257068"/>
                <a:gd name="connsiteX20" fmla="*/ 300662 w 316038"/>
                <a:gd name="connsiteY20" fmla="*/ 203393 h 257068"/>
                <a:gd name="connsiteX21" fmla="*/ 315424 w 316038"/>
                <a:gd name="connsiteY21" fmla="*/ 191617 h 257068"/>
                <a:gd name="connsiteX22" fmla="*/ 302155 w 316038"/>
                <a:gd name="connsiteY22" fmla="*/ 159272 h 257068"/>
                <a:gd name="connsiteX23" fmla="*/ 299832 w 316038"/>
                <a:gd name="connsiteY23" fmla="*/ 129747 h 257068"/>
                <a:gd name="connsiteX24" fmla="*/ 288885 w 316038"/>
                <a:gd name="connsiteY24" fmla="*/ 113161 h 257068"/>
                <a:gd name="connsiteX25" fmla="*/ 307960 w 316038"/>
                <a:gd name="connsiteY25" fmla="*/ 96574 h 257068"/>
                <a:gd name="connsiteX26" fmla="*/ 306467 w 316038"/>
                <a:gd name="connsiteY26" fmla="*/ 67713 h 257068"/>
                <a:gd name="connsiteX27" fmla="*/ 301326 w 316038"/>
                <a:gd name="connsiteY27" fmla="*/ 42667 h 257068"/>
                <a:gd name="connsiteX28" fmla="*/ 275616 w 316038"/>
                <a:gd name="connsiteY28" fmla="*/ 24255 h 257068"/>
                <a:gd name="connsiteX29" fmla="*/ 274289 w 316038"/>
                <a:gd name="connsiteY29" fmla="*/ 22762 h 257068"/>
                <a:gd name="connsiteX30" fmla="*/ 187871 w 316038"/>
                <a:gd name="connsiteY30" fmla="*/ 19113 h 257068"/>
                <a:gd name="connsiteX31" fmla="*/ 171284 w 316038"/>
                <a:gd name="connsiteY31" fmla="*/ 12976 h 257068"/>
                <a:gd name="connsiteX32" fmla="*/ 153205 w 316038"/>
                <a:gd name="connsiteY32" fmla="*/ 22431 h 257068"/>
                <a:gd name="connsiteX33" fmla="*/ 137448 w 316038"/>
                <a:gd name="connsiteY33" fmla="*/ 1697 h 257068"/>
                <a:gd name="connsiteX34" fmla="*/ 64631 w 316038"/>
                <a:gd name="connsiteY34" fmla="*/ 22431 h 257068"/>
                <a:gd name="connsiteX35" fmla="*/ 13212 w 316038"/>
                <a:gd name="connsiteY35" fmla="*/ 40013 h 257068"/>
                <a:gd name="connsiteX36" fmla="*/ 3592 w 316038"/>
                <a:gd name="connsiteY36" fmla="*/ 47477 h 257068"/>
                <a:gd name="connsiteX37" fmla="*/ 2928 w 316038"/>
                <a:gd name="connsiteY37" fmla="*/ 50462 h 25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16038" h="257068">
                  <a:moveTo>
                    <a:pt x="2928" y="50462"/>
                  </a:moveTo>
                  <a:cubicBezTo>
                    <a:pt x="6644" y="61725"/>
                    <a:pt x="6644" y="73867"/>
                    <a:pt x="2928" y="85129"/>
                  </a:cubicBezTo>
                  <a:cubicBezTo>
                    <a:pt x="-2214" y="93091"/>
                    <a:pt x="-57" y="95413"/>
                    <a:pt x="5085" y="98398"/>
                  </a:cubicBezTo>
                  <a:cubicBezTo>
                    <a:pt x="10276" y="102263"/>
                    <a:pt x="13096" y="108533"/>
                    <a:pt x="12549" y="114985"/>
                  </a:cubicBezTo>
                  <a:cubicBezTo>
                    <a:pt x="12549" y="120956"/>
                    <a:pt x="16198" y="120127"/>
                    <a:pt x="16861" y="132733"/>
                  </a:cubicBezTo>
                  <a:cubicBezTo>
                    <a:pt x="16828" y="142204"/>
                    <a:pt x="19664" y="151460"/>
                    <a:pt x="24989" y="159272"/>
                  </a:cubicBezTo>
                  <a:cubicBezTo>
                    <a:pt x="27974" y="163717"/>
                    <a:pt x="28356" y="169407"/>
                    <a:pt x="25984" y="174200"/>
                  </a:cubicBezTo>
                  <a:cubicBezTo>
                    <a:pt x="31889" y="178728"/>
                    <a:pt x="38358" y="182461"/>
                    <a:pt x="45225" y="185313"/>
                  </a:cubicBezTo>
                  <a:cubicBezTo>
                    <a:pt x="60650" y="190787"/>
                    <a:pt x="66124" y="195100"/>
                    <a:pt x="67119" y="200739"/>
                  </a:cubicBezTo>
                  <a:cubicBezTo>
                    <a:pt x="68114" y="206379"/>
                    <a:pt x="81550" y="215999"/>
                    <a:pt x="84867" y="208369"/>
                  </a:cubicBezTo>
                  <a:cubicBezTo>
                    <a:pt x="88185" y="200739"/>
                    <a:pt x="96810" y="205052"/>
                    <a:pt x="103444" y="205052"/>
                  </a:cubicBezTo>
                  <a:cubicBezTo>
                    <a:pt x="110079" y="205052"/>
                    <a:pt x="111075" y="212682"/>
                    <a:pt x="112235" y="217160"/>
                  </a:cubicBezTo>
                  <a:cubicBezTo>
                    <a:pt x="113396" y="221639"/>
                    <a:pt x="128822" y="219316"/>
                    <a:pt x="134130" y="222634"/>
                  </a:cubicBezTo>
                  <a:cubicBezTo>
                    <a:pt x="139438" y="225951"/>
                    <a:pt x="141926" y="238060"/>
                    <a:pt x="149556" y="242372"/>
                  </a:cubicBezTo>
                  <a:cubicBezTo>
                    <a:pt x="157186" y="246685"/>
                    <a:pt x="163821" y="236898"/>
                    <a:pt x="169294" y="240216"/>
                  </a:cubicBezTo>
                  <a:cubicBezTo>
                    <a:pt x="178102" y="244678"/>
                    <a:pt x="188220" y="245855"/>
                    <a:pt x="197823" y="243533"/>
                  </a:cubicBezTo>
                  <a:cubicBezTo>
                    <a:pt x="206614" y="240216"/>
                    <a:pt x="212088" y="246685"/>
                    <a:pt x="223036" y="245689"/>
                  </a:cubicBezTo>
                  <a:cubicBezTo>
                    <a:pt x="233004" y="244794"/>
                    <a:pt x="243006" y="247133"/>
                    <a:pt x="251565" y="252324"/>
                  </a:cubicBezTo>
                  <a:cubicBezTo>
                    <a:pt x="257835" y="254812"/>
                    <a:pt x="264420" y="256388"/>
                    <a:pt x="271137" y="256969"/>
                  </a:cubicBezTo>
                  <a:cubicBezTo>
                    <a:pt x="273294" y="252490"/>
                    <a:pt x="268981" y="238557"/>
                    <a:pt x="269645" y="235240"/>
                  </a:cubicBezTo>
                  <a:cubicBezTo>
                    <a:pt x="279365" y="224044"/>
                    <a:pt x="289731" y="213412"/>
                    <a:pt x="300662" y="203393"/>
                  </a:cubicBezTo>
                  <a:cubicBezTo>
                    <a:pt x="304975" y="198251"/>
                    <a:pt x="311775" y="198251"/>
                    <a:pt x="315424" y="191617"/>
                  </a:cubicBezTo>
                  <a:cubicBezTo>
                    <a:pt x="319073" y="184982"/>
                    <a:pt x="304975" y="163751"/>
                    <a:pt x="302155" y="159272"/>
                  </a:cubicBezTo>
                  <a:cubicBezTo>
                    <a:pt x="298721" y="149818"/>
                    <a:pt x="297908" y="139617"/>
                    <a:pt x="299832" y="129747"/>
                  </a:cubicBezTo>
                  <a:cubicBezTo>
                    <a:pt x="302155" y="122449"/>
                    <a:pt x="288885" y="117971"/>
                    <a:pt x="288885" y="113161"/>
                  </a:cubicBezTo>
                  <a:cubicBezTo>
                    <a:pt x="288885" y="108351"/>
                    <a:pt x="301326" y="99228"/>
                    <a:pt x="307960" y="96574"/>
                  </a:cubicBezTo>
                  <a:cubicBezTo>
                    <a:pt x="314595" y="93920"/>
                    <a:pt x="312438" y="73021"/>
                    <a:pt x="306467" y="67713"/>
                  </a:cubicBezTo>
                  <a:cubicBezTo>
                    <a:pt x="299816" y="61194"/>
                    <a:pt x="297776" y="51292"/>
                    <a:pt x="301326" y="42667"/>
                  </a:cubicBezTo>
                  <a:cubicBezTo>
                    <a:pt x="304975" y="32383"/>
                    <a:pt x="279265" y="24255"/>
                    <a:pt x="275616" y="24255"/>
                  </a:cubicBezTo>
                  <a:cubicBezTo>
                    <a:pt x="275616" y="24255"/>
                    <a:pt x="274621" y="24255"/>
                    <a:pt x="274289" y="22762"/>
                  </a:cubicBezTo>
                  <a:cubicBezTo>
                    <a:pt x="245444" y="25085"/>
                    <a:pt x="216417" y="23857"/>
                    <a:pt x="187871" y="19113"/>
                  </a:cubicBezTo>
                  <a:lnTo>
                    <a:pt x="171284" y="12976"/>
                  </a:lnTo>
                  <a:cubicBezTo>
                    <a:pt x="167436" y="19180"/>
                    <a:pt x="160503" y="22812"/>
                    <a:pt x="153205" y="22431"/>
                  </a:cubicBezTo>
                  <a:cubicBezTo>
                    <a:pt x="138940" y="22431"/>
                    <a:pt x="137945" y="8166"/>
                    <a:pt x="137448" y="1697"/>
                  </a:cubicBezTo>
                  <a:cubicBezTo>
                    <a:pt x="136950" y="-4772"/>
                    <a:pt x="79891" y="7171"/>
                    <a:pt x="64631" y="22431"/>
                  </a:cubicBezTo>
                  <a:cubicBezTo>
                    <a:pt x="49372" y="37691"/>
                    <a:pt x="14042" y="31719"/>
                    <a:pt x="13212" y="40013"/>
                  </a:cubicBezTo>
                  <a:cubicBezTo>
                    <a:pt x="12383" y="48306"/>
                    <a:pt x="7075" y="49301"/>
                    <a:pt x="3592" y="47477"/>
                  </a:cubicBezTo>
                  <a:cubicBezTo>
                    <a:pt x="3244" y="48439"/>
                    <a:pt x="3011" y="49434"/>
                    <a:pt x="2928" y="50462"/>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7" name="Freeform: Shape 556">
              <a:extLst>
                <a:ext uri="{FF2B5EF4-FFF2-40B4-BE49-F238E27FC236}">
                  <a16:creationId xmlns:a16="http://schemas.microsoft.com/office/drawing/2014/main" id="{D85DD511-08DE-4620-AFAA-6F478449902F}"/>
                </a:ext>
              </a:extLst>
            </p:cNvPr>
            <p:cNvSpPr/>
            <p:nvPr/>
          </p:nvSpPr>
          <p:spPr>
            <a:xfrm>
              <a:off x="5780261" y="3321616"/>
              <a:ext cx="100975" cy="94395"/>
            </a:xfrm>
            <a:custGeom>
              <a:avLst/>
              <a:gdLst>
                <a:gd name="connsiteX0" fmla="*/ 87978 w 118083"/>
                <a:gd name="connsiteY0" fmla="*/ 101999 h 112548"/>
                <a:gd name="connsiteX1" fmla="*/ 113189 w 118083"/>
                <a:gd name="connsiteY1" fmla="*/ 65011 h 112548"/>
                <a:gd name="connsiteX2" fmla="*/ 117336 w 118083"/>
                <a:gd name="connsiteY2" fmla="*/ 20724 h 112548"/>
                <a:gd name="connsiteX3" fmla="*/ 87314 w 118083"/>
                <a:gd name="connsiteY3" fmla="*/ 5464 h 112548"/>
                <a:gd name="connsiteX4" fmla="*/ 35895 w 118083"/>
                <a:gd name="connsiteY4" fmla="*/ 322 h 112548"/>
                <a:gd name="connsiteX5" fmla="*/ 14664 w 118083"/>
                <a:gd name="connsiteY5" fmla="*/ 4800 h 112548"/>
                <a:gd name="connsiteX6" fmla="*/ 1710 w 118083"/>
                <a:gd name="connsiteY6" fmla="*/ 6973 h 112548"/>
                <a:gd name="connsiteX7" fmla="*/ 68 w 118083"/>
                <a:gd name="connsiteY7" fmla="*/ 13591 h 112548"/>
                <a:gd name="connsiteX8" fmla="*/ 15493 w 118083"/>
                <a:gd name="connsiteY8" fmla="*/ 36315 h 112548"/>
                <a:gd name="connsiteX9" fmla="*/ 42530 w 118083"/>
                <a:gd name="connsiteY9" fmla="*/ 69489 h 112548"/>
                <a:gd name="connsiteX10" fmla="*/ 69566 w 118083"/>
                <a:gd name="connsiteY10" fmla="*/ 99843 h 112548"/>
                <a:gd name="connsiteX11" fmla="*/ 86153 w 118083"/>
                <a:gd name="connsiteY11" fmla="*/ 112449 h 112548"/>
                <a:gd name="connsiteX12" fmla="*/ 87978 w 118083"/>
                <a:gd name="connsiteY12" fmla="*/ 101999 h 11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083" h="112548">
                  <a:moveTo>
                    <a:pt x="87978" y="101999"/>
                  </a:moveTo>
                  <a:cubicBezTo>
                    <a:pt x="92373" y="87370"/>
                    <a:pt x="101180" y="74449"/>
                    <a:pt x="113189" y="65011"/>
                  </a:cubicBezTo>
                  <a:cubicBezTo>
                    <a:pt x="117502" y="65011"/>
                    <a:pt x="119161" y="35818"/>
                    <a:pt x="117336" y="20724"/>
                  </a:cubicBezTo>
                  <a:cubicBezTo>
                    <a:pt x="108114" y="14222"/>
                    <a:pt x="97996" y="9080"/>
                    <a:pt x="87314" y="5464"/>
                  </a:cubicBezTo>
                  <a:cubicBezTo>
                    <a:pt x="70080" y="4867"/>
                    <a:pt x="52897" y="3158"/>
                    <a:pt x="35895" y="322"/>
                  </a:cubicBezTo>
                  <a:cubicBezTo>
                    <a:pt x="28597" y="-2498"/>
                    <a:pt x="21299" y="9942"/>
                    <a:pt x="14664" y="4800"/>
                  </a:cubicBezTo>
                  <a:cubicBezTo>
                    <a:pt x="10484" y="1831"/>
                    <a:pt x="4678" y="2793"/>
                    <a:pt x="1710" y="6973"/>
                  </a:cubicBezTo>
                  <a:cubicBezTo>
                    <a:pt x="349" y="8897"/>
                    <a:pt x="-248" y="11253"/>
                    <a:pt x="68" y="13591"/>
                  </a:cubicBezTo>
                  <a:cubicBezTo>
                    <a:pt x="1560" y="20890"/>
                    <a:pt x="15493" y="25368"/>
                    <a:pt x="15493" y="36315"/>
                  </a:cubicBezTo>
                  <a:cubicBezTo>
                    <a:pt x="15493" y="47263"/>
                    <a:pt x="43359" y="63518"/>
                    <a:pt x="42530" y="69489"/>
                  </a:cubicBezTo>
                  <a:cubicBezTo>
                    <a:pt x="41700" y="75460"/>
                    <a:pt x="59117" y="84915"/>
                    <a:pt x="69566" y="99843"/>
                  </a:cubicBezTo>
                  <a:cubicBezTo>
                    <a:pt x="75040" y="103326"/>
                    <a:pt x="80845" y="107970"/>
                    <a:pt x="86153" y="112449"/>
                  </a:cubicBezTo>
                  <a:cubicBezTo>
                    <a:pt x="87347" y="109099"/>
                    <a:pt x="87961" y="105566"/>
                    <a:pt x="87978" y="101999"/>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8" name="Freeform: Shape 557">
              <a:extLst>
                <a:ext uri="{FF2B5EF4-FFF2-40B4-BE49-F238E27FC236}">
                  <a16:creationId xmlns:a16="http://schemas.microsoft.com/office/drawing/2014/main" id="{A3DE1EF0-3E77-4139-8826-B19E348DE979}"/>
                </a:ext>
              </a:extLst>
            </p:cNvPr>
            <p:cNvSpPr/>
            <p:nvPr/>
          </p:nvSpPr>
          <p:spPr>
            <a:xfrm>
              <a:off x="5728561" y="3275227"/>
              <a:ext cx="152049" cy="130907"/>
            </a:xfrm>
            <a:custGeom>
              <a:avLst/>
              <a:gdLst>
                <a:gd name="connsiteX0" fmla="*/ 102990 w 177810"/>
                <a:gd name="connsiteY0" fmla="*/ 124633 h 156081"/>
                <a:gd name="connsiteX1" fmla="*/ 75953 w 177810"/>
                <a:gd name="connsiteY1" fmla="*/ 91460 h 156081"/>
                <a:gd name="connsiteX2" fmla="*/ 60527 w 177810"/>
                <a:gd name="connsiteY2" fmla="*/ 68736 h 156081"/>
                <a:gd name="connsiteX3" fmla="*/ 68505 w 177810"/>
                <a:gd name="connsiteY3" fmla="*/ 58303 h 156081"/>
                <a:gd name="connsiteX4" fmla="*/ 75123 w 177810"/>
                <a:gd name="connsiteY4" fmla="*/ 59945 h 156081"/>
                <a:gd name="connsiteX5" fmla="*/ 96355 w 177810"/>
                <a:gd name="connsiteY5" fmla="*/ 55466 h 156081"/>
                <a:gd name="connsiteX6" fmla="*/ 147774 w 177810"/>
                <a:gd name="connsiteY6" fmla="*/ 60608 h 156081"/>
                <a:gd name="connsiteX7" fmla="*/ 177796 w 177810"/>
                <a:gd name="connsiteY7" fmla="*/ 75868 h 156081"/>
                <a:gd name="connsiteX8" fmla="*/ 176138 w 177810"/>
                <a:gd name="connsiteY8" fmla="*/ 68736 h 156081"/>
                <a:gd name="connsiteX9" fmla="*/ 165688 w 177810"/>
                <a:gd name="connsiteY9" fmla="*/ 45017 h 156081"/>
                <a:gd name="connsiteX10" fmla="*/ 157062 w 177810"/>
                <a:gd name="connsiteY10" fmla="*/ 24781 h 156081"/>
                <a:gd name="connsiteX11" fmla="*/ 145452 w 177810"/>
                <a:gd name="connsiteY11" fmla="*/ 28098 h 156081"/>
                <a:gd name="connsiteX12" fmla="*/ 111449 w 177810"/>
                <a:gd name="connsiteY12" fmla="*/ 20468 h 156081"/>
                <a:gd name="connsiteX13" fmla="*/ 83915 w 177810"/>
                <a:gd name="connsiteY13" fmla="*/ -100 h 156081"/>
                <a:gd name="connsiteX14" fmla="*/ 64010 w 177810"/>
                <a:gd name="connsiteY14" fmla="*/ 13170 h 156081"/>
                <a:gd name="connsiteX15" fmla="*/ 55883 w 177810"/>
                <a:gd name="connsiteY15" fmla="*/ 29757 h 156081"/>
                <a:gd name="connsiteX16" fmla="*/ 44106 w 177810"/>
                <a:gd name="connsiteY16" fmla="*/ 44519 h 156081"/>
                <a:gd name="connsiteX17" fmla="*/ 23539 w 177810"/>
                <a:gd name="connsiteY17" fmla="*/ 44519 h 156081"/>
                <a:gd name="connsiteX18" fmla="*/ -15 w 177810"/>
                <a:gd name="connsiteY18" fmla="*/ 49163 h 156081"/>
                <a:gd name="connsiteX19" fmla="*/ 5957 w 177810"/>
                <a:gd name="connsiteY19" fmla="*/ 63262 h 156081"/>
                <a:gd name="connsiteX20" fmla="*/ 31500 w 177810"/>
                <a:gd name="connsiteY20" fmla="*/ 74044 h 156081"/>
                <a:gd name="connsiteX21" fmla="*/ 61025 w 177810"/>
                <a:gd name="connsiteY21" fmla="*/ 120653 h 156081"/>
                <a:gd name="connsiteX22" fmla="*/ 87563 w 177810"/>
                <a:gd name="connsiteY22" fmla="*/ 135083 h 156081"/>
                <a:gd name="connsiteX23" fmla="*/ 116093 w 177810"/>
                <a:gd name="connsiteY23" fmla="*/ 150177 h 156081"/>
                <a:gd name="connsiteX24" fmla="*/ 130026 w 177810"/>
                <a:gd name="connsiteY24" fmla="*/ 155982 h 156081"/>
                <a:gd name="connsiteX25" fmla="*/ 102990 w 177810"/>
                <a:gd name="connsiteY25" fmla="*/ 124633 h 15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7810" h="156081">
                  <a:moveTo>
                    <a:pt x="102990" y="124633"/>
                  </a:moveTo>
                  <a:cubicBezTo>
                    <a:pt x="102990" y="118828"/>
                    <a:pt x="75953" y="102739"/>
                    <a:pt x="75953" y="91460"/>
                  </a:cubicBezTo>
                  <a:cubicBezTo>
                    <a:pt x="75953" y="80181"/>
                    <a:pt x="62020" y="76034"/>
                    <a:pt x="60527" y="68736"/>
                  </a:cubicBezTo>
                  <a:cubicBezTo>
                    <a:pt x="59847" y="63643"/>
                    <a:pt x="63430" y="58983"/>
                    <a:pt x="68505" y="58303"/>
                  </a:cubicBezTo>
                  <a:cubicBezTo>
                    <a:pt x="70844" y="57988"/>
                    <a:pt x="73199" y="58585"/>
                    <a:pt x="75123" y="59945"/>
                  </a:cubicBezTo>
                  <a:cubicBezTo>
                    <a:pt x="81758" y="65087"/>
                    <a:pt x="89057" y="52646"/>
                    <a:pt x="96355" y="55466"/>
                  </a:cubicBezTo>
                  <a:cubicBezTo>
                    <a:pt x="113356" y="58303"/>
                    <a:pt x="130540" y="60011"/>
                    <a:pt x="147774" y="60608"/>
                  </a:cubicBezTo>
                  <a:cubicBezTo>
                    <a:pt x="158456" y="64224"/>
                    <a:pt x="168574" y="69366"/>
                    <a:pt x="177796" y="75868"/>
                  </a:cubicBezTo>
                  <a:cubicBezTo>
                    <a:pt x="177680" y="73413"/>
                    <a:pt x="177116" y="70992"/>
                    <a:pt x="176138" y="68736"/>
                  </a:cubicBezTo>
                  <a:cubicBezTo>
                    <a:pt x="172322" y="59447"/>
                    <a:pt x="176138" y="48832"/>
                    <a:pt x="165688" y="45017"/>
                  </a:cubicBezTo>
                  <a:cubicBezTo>
                    <a:pt x="160214" y="42860"/>
                    <a:pt x="157892" y="33406"/>
                    <a:pt x="157062" y="24781"/>
                  </a:cubicBezTo>
                  <a:lnTo>
                    <a:pt x="145452" y="28098"/>
                  </a:lnTo>
                  <a:cubicBezTo>
                    <a:pt x="133559" y="31233"/>
                    <a:pt x="120870" y="28396"/>
                    <a:pt x="111449" y="20468"/>
                  </a:cubicBezTo>
                  <a:cubicBezTo>
                    <a:pt x="103272" y="12374"/>
                    <a:pt x="93999" y="5440"/>
                    <a:pt x="83915" y="-100"/>
                  </a:cubicBezTo>
                  <a:cubicBezTo>
                    <a:pt x="78093" y="5440"/>
                    <a:pt x="71358" y="9935"/>
                    <a:pt x="64010" y="13170"/>
                  </a:cubicBezTo>
                  <a:cubicBezTo>
                    <a:pt x="58039" y="13170"/>
                    <a:pt x="61688" y="29757"/>
                    <a:pt x="55883" y="29757"/>
                  </a:cubicBezTo>
                  <a:cubicBezTo>
                    <a:pt x="50078" y="29757"/>
                    <a:pt x="45599" y="40041"/>
                    <a:pt x="44106" y="44519"/>
                  </a:cubicBezTo>
                  <a:cubicBezTo>
                    <a:pt x="42613" y="48997"/>
                    <a:pt x="29344" y="41533"/>
                    <a:pt x="23539" y="44519"/>
                  </a:cubicBezTo>
                  <a:cubicBezTo>
                    <a:pt x="15809" y="46626"/>
                    <a:pt x="7930" y="48168"/>
                    <a:pt x="-15" y="49163"/>
                  </a:cubicBezTo>
                  <a:cubicBezTo>
                    <a:pt x="981" y="55798"/>
                    <a:pt x="-15" y="63262"/>
                    <a:pt x="5957" y="63262"/>
                  </a:cubicBezTo>
                  <a:cubicBezTo>
                    <a:pt x="14914" y="63262"/>
                    <a:pt x="31003" y="62267"/>
                    <a:pt x="31500" y="74044"/>
                  </a:cubicBezTo>
                  <a:cubicBezTo>
                    <a:pt x="31998" y="85820"/>
                    <a:pt x="53229" y="111862"/>
                    <a:pt x="61025" y="120653"/>
                  </a:cubicBezTo>
                  <a:cubicBezTo>
                    <a:pt x="68821" y="129444"/>
                    <a:pt x="86568" y="127619"/>
                    <a:pt x="87563" y="135083"/>
                  </a:cubicBezTo>
                  <a:cubicBezTo>
                    <a:pt x="88559" y="142547"/>
                    <a:pt x="101331" y="149182"/>
                    <a:pt x="116093" y="150177"/>
                  </a:cubicBezTo>
                  <a:cubicBezTo>
                    <a:pt x="121102" y="151073"/>
                    <a:pt x="125863" y="153063"/>
                    <a:pt x="130026" y="155982"/>
                  </a:cubicBezTo>
                  <a:cubicBezTo>
                    <a:pt x="119742" y="140059"/>
                    <a:pt x="102492" y="128780"/>
                    <a:pt x="102990" y="124633"/>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59" name="Freeform: Shape 558">
              <a:extLst>
                <a:ext uri="{FF2B5EF4-FFF2-40B4-BE49-F238E27FC236}">
                  <a16:creationId xmlns:a16="http://schemas.microsoft.com/office/drawing/2014/main" id="{70EA76E1-E015-481B-B97D-FD0521146249}"/>
                </a:ext>
              </a:extLst>
            </p:cNvPr>
            <p:cNvSpPr/>
            <p:nvPr/>
          </p:nvSpPr>
          <p:spPr>
            <a:xfrm>
              <a:off x="5874796" y="3411699"/>
              <a:ext cx="52196" cy="102666"/>
            </a:xfrm>
            <a:custGeom>
              <a:avLst/>
              <a:gdLst>
                <a:gd name="connsiteX0" fmla="*/ 41120 w 61039"/>
                <a:gd name="connsiteY0" fmla="*/ 103402 h 122410"/>
                <a:gd name="connsiteX1" fmla="*/ 49247 w 61039"/>
                <a:gd name="connsiteY1" fmla="*/ 90962 h 122410"/>
                <a:gd name="connsiteX2" fmla="*/ 61024 w 61039"/>
                <a:gd name="connsiteY2" fmla="*/ 71721 h 122410"/>
                <a:gd name="connsiteX3" fmla="*/ 41784 w 61039"/>
                <a:gd name="connsiteY3" fmla="*/ 50988 h 122410"/>
                <a:gd name="connsiteX4" fmla="*/ 45433 w 61039"/>
                <a:gd name="connsiteY4" fmla="*/ 16487 h 122410"/>
                <a:gd name="connsiteX5" fmla="*/ 16572 w 61039"/>
                <a:gd name="connsiteY5" fmla="*/ -100 h 122410"/>
                <a:gd name="connsiteX6" fmla="*/ -15 w 61039"/>
                <a:gd name="connsiteY6" fmla="*/ 23620 h 122410"/>
                <a:gd name="connsiteX7" fmla="*/ 9108 w 61039"/>
                <a:gd name="connsiteY7" fmla="*/ 44353 h 122410"/>
                <a:gd name="connsiteX8" fmla="*/ 8112 w 61039"/>
                <a:gd name="connsiteY8" fmla="*/ 94114 h 122410"/>
                <a:gd name="connsiteX9" fmla="*/ 30173 w 61039"/>
                <a:gd name="connsiteY9" fmla="*/ 122311 h 122410"/>
                <a:gd name="connsiteX10" fmla="*/ 41120 w 61039"/>
                <a:gd name="connsiteY10" fmla="*/ 103402 h 12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039" h="122410">
                  <a:moveTo>
                    <a:pt x="41120" y="103402"/>
                  </a:moveTo>
                  <a:cubicBezTo>
                    <a:pt x="48418" y="101909"/>
                    <a:pt x="44106" y="96104"/>
                    <a:pt x="49247" y="90962"/>
                  </a:cubicBezTo>
                  <a:cubicBezTo>
                    <a:pt x="54390" y="85372"/>
                    <a:pt x="58387" y="78837"/>
                    <a:pt x="61024" y="71721"/>
                  </a:cubicBezTo>
                  <a:cubicBezTo>
                    <a:pt x="51072" y="64091"/>
                    <a:pt x="44438" y="58784"/>
                    <a:pt x="41784" y="50988"/>
                  </a:cubicBezTo>
                  <a:cubicBezTo>
                    <a:pt x="40357" y="39361"/>
                    <a:pt x="41601" y="27567"/>
                    <a:pt x="45433" y="16487"/>
                  </a:cubicBezTo>
                  <a:cubicBezTo>
                    <a:pt x="36725" y="9488"/>
                    <a:pt x="26988" y="3898"/>
                    <a:pt x="16572" y="-100"/>
                  </a:cubicBezTo>
                  <a:cubicBezTo>
                    <a:pt x="11098" y="-100"/>
                    <a:pt x="2805" y="12009"/>
                    <a:pt x="-15" y="23620"/>
                  </a:cubicBezTo>
                  <a:cubicBezTo>
                    <a:pt x="12923" y="30586"/>
                    <a:pt x="17899" y="35396"/>
                    <a:pt x="9108" y="44353"/>
                  </a:cubicBezTo>
                  <a:cubicBezTo>
                    <a:pt x="317" y="53310"/>
                    <a:pt x="-2171" y="85157"/>
                    <a:pt x="8112" y="94114"/>
                  </a:cubicBezTo>
                  <a:cubicBezTo>
                    <a:pt x="18396" y="103071"/>
                    <a:pt x="20719" y="117833"/>
                    <a:pt x="30173" y="122311"/>
                  </a:cubicBezTo>
                  <a:cubicBezTo>
                    <a:pt x="34154" y="113520"/>
                    <a:pt x="36144" y="104398"/>
                    <a:pt x="41120" y="103402"/>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0" name="Freeform: Shape 559">
              <a:extLst>
                <a:ext uri="{FF2B5EF4-FFF2-40B4-BE49-F238E27FC236}">
                  <a16:creationId xmlns:a16="http://schemas.microsoft.com/office/drawing/2014/main" id="{606D6F3F-17F3-49F5-AD1A-26400DEE36E9}"/>
                </a:ext>
              </a:extLst>
            </p:cNvPr>
            <p:cNvSpPr/>
            <p:nvPr/>
          </p:nvSpPr>
          <p:spPr>
            <a:xfrm>
              <a:off x="5794091" y="3198675"/>
              <a:ext cx="183509" cy="100833"/>
            </a:xfrm>
            <a:custGeom>
              <a:avLst/>
              <a:gdLst>
                <a:gd name="connsiteX0" fmla="*/ 208481 w 214600"/>
                <a:gd name="connsiteY0" fmla="*/ 22173 h 120224"/>
                <a:gd name="connsiteX1" fmla="*/ 200685 w 214600"/>
                <a:gd name="connsiteY1" fmla="*/ 17363 h 120224"/>
                <a:gd name="connsiteX2" fmla="*/ 179786 w 214600"/>
                <a:gd name="connsiteY2" fmla="*/ 9899 h 120224"/>
                <a:gd name="connsiteX3" fmla="*/ 148934 w 214600"/>
                <a:gd name="connsiteY3" fmla="*/ -53 h 120224"/>
                <a:gd name="connsiteX4" fmla="*/ 118249 w 214600"/>
                <a:gd name="connsiteY4" fmla="*/ 19685 h 120224"/>
                <a:gd name="connsiteX5" fmla="*/ 83085 w 214600"/>
                <a:gd name="connsiteY5" fmla="*/ 30633 h 120224"/>
                <a:gd name="connsiteX6" fmla="*/ 38135 w 214600"/>
                <a:gd name="connsiteY6" fmla="*/ 30633 h 120224"/>
                <a:gd name="connsiteX7" fmla="*/ 33656 w 214600"/>
                <a:gd name="connsiteY7" fmla="*/ 25491 h 120224"/>
                <a:gd name="connsiteX8" fmla="*/ 29178 w 214600"/>
                <a:gd name="connsiteY8" fmla="*/ 34282 h 120224"/>
                <a:gd name="connsiteX9" fmla="*/ 14581 w 214600"/>
                <a:gd name="connsiteY9" fmla="*/ 42741 h 120224"/>
                <a:gd name="connsiteX10" fmla="*/ 10766 w 214600"/>
                <a:gd name="connsiteY10" fmla="*/ 55845 h 120224"/>
                <a:gd name="connsiteX11" fmla="*/ 5292 w 214600"/>
                <a:gd name="connsiteY11" fmla="*/ 70441 h 120224"/>
                <a:gd name="connsiteX12" fmla="*/ -15 w 214600"/>
                <a:gd name="connsiteY12" fmla="*/ 78237 h 120224"/>
                <a:gd name="connsiteX13" fmla="*/ 7946 w 214600"/>
                <a:gd name="connsiteY13" fmla="*/ 90677 h 120224"/>
                <a:gd name="connsiteX14" fmla="*/ 7946 w 214600"/>
                <a:gd name="connsiteY14" fmla="*/ 90677 h 120224"/>
                <a:gd name="connsiteX15" fmla="*/ 35481 w 214600"/>
                <a:gd name="connsiteY15" fmla="*/ 111245 h 120224"/>
                <a:gd name="connsiteX16" fmla="*/ 69484 w 214600"/>
                <a:gd name="connsiteY16" fmla="*/ 118875 h 120224"/>
                <a:gd name="connsiteX17" fmla="*/ 115595 w 214600"/>
                <a:gd name="connsiteY17" fmla="*/ 104610 h 120224"/>
                <a:gd name="connsiteX18" fmla="*/ 129860 w 214600"/>
                <a:gd name="connsiteY18" fmla="*/ 109089 h 120224"/>
                <a:gd name="connsiteX19" fmla="*/ 139314 w 214600"/>
                <a:gd name="connsiteY19" fmla="*/ 110581 h 120224"/>
                <a:gd name="connsiteX20" fmla="*/ 159053 w 214600"/>
                <a:gd name="connsiteY20" fmla="*/ 96648 h 120224"/>
                <a:gd name="connsiteX21" fmla="*/ 189240 w 214600"/>
                <a:gd name="connsiteY21" fmla="*/ 46888 h 120224"/>
                <a:gd name="connsiteX22" fmla="*/ 211301 w 214600"/>
                <a:gd name="connsiteY22" fmla="*/ 32789 h 120224"/>
                <a:gd name="connsiteX23" fmla="*/ 208481 w 214600"/>
                <a:gd name="connsiteY23" fmla="*/ 22173 h 120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4600" h="120224">
                  <a:moveTo>
                    <a:pt x="208481" y="22173"/>
                  </a:moveTo>
                  <a:cubicBezTo>
                    <a:pt x="205595" y="21079"/>
                    <a:pt x="202958" y="19453"/>
                    <a:pt x="200685" y="17363"/>
                  </a:cubicBezTo>
                  <a:cubicBezTo>
                    <a:pt x="193305" y="16219"/>
                    <a:pt x="186222" y="13698"/>
                    <a:pt x="179786" y="9899"/>
                  </a:cubicBezTo>
                  <a:cubicBezTo>
                    <a:pt x="170099" y="4956"/>
                    <a:pt x="159683" y="1589"/>
                    <a:pt x="148934" y="-53"/>
                  </a:cubicBezTo>
                  <a:cubicBezTo>
                    <a:pt x="145783" y="-1214"/>
                    <a:pt x="124884" y="19685"/>
                    <a:pt x="118249" y="19685"/>
                  </a:cubicBezTo>
                  <a:cubicBezTo>
                    <a:pt x="111614" y="19685"/>
                    <a:pt x="83085" y="23003"/>
                    <a:pt x="83085" y="30633"/>
                  </a:cubicBezTo>
                  <a:cubicBezTo>
                    <a:pt x="83085" y="38263"/>
                    <a:pt x="48087" y="39424"/>
                    <a:pt x="38135" y="30633"/>
                  </a:cubicBezTo>
                  <a:cubicBezTo>
                    <a:pt x="36476" y="29074"/>
                    <a:pt x="34983" y="27348"/>
                    <a:pt x="33656" y="25491"/>
                  </a:cubicBezTo>
                  <a:cubicBezTo>
                    <a:pt x="31002" y="27664"/>
                    <a:pt x="29376" y="30848"/>
                    <a:pt x="29178" y="34282"/>
                  </a:cubicBezTo>
                  <a:cubicBezTo>
                    <a:pt x="29178" y="44234"/>
                    <a:pt x="21548" y="43570"/>
                    <a:pt x="14581" y="42741"/>
                  </a:cubicBezTo>
                  <a:cubicBezTo>
                    <a:pt x="7615" y="41912"/>
                    <a:pt x="14581" y="51200"/>
                    <a:pt x="10766" y="55845"/>
                  </a:cubicBezTo>
                  <a:cubicBezTo>
                    <a:pt x="6951" y="60489"/>
                    <a:pt x="10766" y="69612"/>
                    <a:pt x="5292" y="70441"/>
                  </a:cubicBezTo>
                  <a:cubicBezTo>
                    <a:pt x="2473" y="70441"/>
                    <a:pt x="980" y="74090"/>
                    <a:pt x="-15" y="78237"/>
                  </a:cubicBezTo>
                  <a:cubicBezTo>
                    <a:pt x="3186" y="82002"/>
                    <a:pt x="5873" y="86182"/>
                    <a:pt x="7946" y="90677"/>
                  </a:cubicBezTo>
                  <a:lnTo>
                    <a:pt x="7946" y="90677"/>
                  </a:lnTo>
                  <a:cubicBezTo>
                    <a:pt x="18031" y="96217"/>
                    <a:pt x="27303" y="103150"/>
                    <a:pt x="35481" y="111245"/>
                  </a:cubicBezTo>
                  <a:cubicBezTo>
                    <a:pt x="44902" y="119173"/>
                    <a:pt x="57591" y="122010"/>
                    <a:pt x="69484" y="118875"/>
                  </a:cubicBezTo>
                  <a:cubicBezTo>
                    <a:pt x="78275" y="116718"/>
                    <a:pt x="115595" y="104610"/>
                    <a:pt x="115595" y="104610"/>
                  </a:cubicBezTo>
                  <a:cubicBezTo>
                    <a:pt x="120256" y="106385"/>
                    <a:pt x="125016" y="107877"/>
                    <a:pt x="129860" y="109089"/>
                  </a:cubicBezTo>
                  <a:lnTo>
                    <a:pt x="139314" y="110581"/>
                  </a:lnTo>
                  <a:cubicBezTo>
                    <a:pt x="146297" y="106534"/>
                    <a:pt x="152899" y="101873"/>
                    <a:pt x="159053" y="96648"/>
                  </a:cubicBezTo>
                  <a:cubicBezTo>
                    <a:pt x="169336" y="86364"/>
                    <a:pt x="184762" y="49376"/>
                    <a:pt x="189240" y="46888"/>
                  </a:cubicBezTo>
                  <a:cubicBezTo>
                    <a:pt x="193719" y="44400"/>
                    <a:pt x="205827" y="37268"/>
                    <a:pt x="211301" y="32789"/>
                  </a:cubicBezTo>
                  <a:cubicBezTo>
                    <a:pt x="216775" y="28310"/>
                    <a:pt x="215116" y="24330"/>
                    <a:pt x="208481" y="22173"/>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1" name="Freeform: Shape 560">
              <a:extLst>
                <a:ext uri="{FF2B5EF4-FFF2-40B4-BE49-F238E27FC236}">
                  <a16:creationId xmlns:a16="http://schemas.microsoft.com/office/drawing/2014/main" id="{DE6B08B9-51C4-42B3-A7C5-B21B493D13CF}"/>
                </a:ext>
              </a:extLst>
            </p:cNvPr>
            <p:cNvSpPr/>
            <p:nvPr/>
          </p:nvSpPr>
          <p:spPr>
            <a:xfrm>
              <a:off x="5689935" y="3113019"/>
              <a:ext cx="175782" cy="88894"/>
            </a:xfrm>
            <a:custGeom>
              <a:avLst/>
              <a:gdLst>
                <a:gd name="connsiteX0" fmla="*/ 193939 w 205564"/>
                <a:gd name="connsiteY0" fmla="*/ 48334 h 105989"/>
                <a:gd name="connsiteX1" fmla="*/ 172045 w 205564"/>
                <a:gd name="connsiteY1" fmla="*/ 42860 h 105989"/>
                <a:gd name="connsiteX2" fmla="*/ 163254 w 205564"/>
                <a:gd name="connsiteY2" fmla="*/ 30752 h 105989"/>
                <a:gd name="connsiteX3" fmla="*/ 144676 w 205564"/>
                <a:gd name="connsiteY3" fmla="*/ 34069 h 105989"/>
                <a:gd name="connsiteX4" fmla="*/ 126928 w 205564"/>
                <a:gd name="connsiteY4" fmla="*/ 26439 h 105989"/>
                <a:gd name="connsiteX5" fmla="*/ 105034 w 205564"/>
                <a:gd name="connsiteY5" fmla="*/ 11014 h 105989"/>
                <a:gd name="connsiteX6" fmla="*/ 85793 w 205564"/>
                <a:gd name="connsiteY6" fmla="*/ -100 h 105989"/>
                <a:gd name="connsiteX7" fmla="*/ 84134 w 205564"/>
                <a:gd name="connsiteY7" fmla="*/ 3384 h 105989"/>
                <a:gd name="connsiteX8" fmla="*/ 66386 w 205564"/>
                <a:gd name="connsiteY8" fmla="*/ 3384 h 105989"/>
                <a:gd name="connsiteX9" fmla="*/ 39184 w 205564"/>
                <a:gd name="connsiteY9" fmla="*/ 15990 h 105989"/>
                <a:gd name="connsiteX10" fmla="*/ 4518 w 205564"/>
                <a:gd name="connsiteY10" fmla="*/ 29259 h 105989"/>
                <a:gd name="connsiteX11" fmla="*/ 6674 w 205564"/>
                <a:gd name="connsiteY11" fmla="*/ 47007 h 105989"/>
                <a:gd name="connsiteX12" fmla="*/ 17787 w 205564"/>
                <a:gd name="connsiteY12" fmla="*/ 74873 h 105989"/>
                <a:gd name="connsiteX13" fmla="*/ 52453 w 205564"/>
                <a:gd name="connsiteY13" fmla="*/ 100748 h 105989"/>
                <a:gd name="connsiteX14" fmla="*/ 52453 w 205564"/>
                <a:gd name="connsiteY14" fmla="*/ 103236 h 105989"/>
                <a:gd name="connsiteX15" fmla="*/ 81480 w 205564"/>
                <a:gd name="connsiteY15" fmla="*/ 101412 h 105989"/>
                <a:gd name="connsiteX16" fmla="*/ 86954 w 205564"/>
                <a:gd name="connsiteY16" fmla="*/ 86152 h 105989"/>
                <a:gd name="connsiteX17" fmla="*/ 117640 w 205564"/>
                <a:gd name="connsiteY17" fmla="*/ 95938 h 105989"/>
                <a:gd name="connsiteX18" fmla="*/ 142852 w 205564"/>
                <a:gd name="connsiteY18" fmla="*/ 99256 h 105989"/>
                <a:gd name="connsiteX19" fmla="*/ 145340 w 205564"/>
                <a:gd name="connsiteY19" fmla="*/ 105890 h 105989"/>
                <a:gd name="connsiteX20" fmla="*/ 154463 w 205564"/>
                <a:gd name="connsiteY20" fmla="*/ 95109 h 105989"/>
                <a:gd name="connsiteX21" fmla="*/ 186143 w 205564"/>
                <a:gd name="connsiteY21" fmla="*/ 78522 h 105989"/>
                <a:gd name="connsiteX22" fmla="*/ 205550 w 205564"/>
                <a:gd name="connsiteY22" fmla="*/ 64921 h 105989"/>
                <a:gd name="connsiteX23" fmla="*/ 193939 w 205564"/>
                <a:gd name="connsiteY23" fmla="*/ 48334 h 105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5564" h="105989">
                  <a:moveTo>
                    <a:pt x="193939" y="48334"/>
                  </a:moveTo>
                  <a:cubicBezTo>
                    <a:pt x="188465" y="45017"/>
                    <a:pt x="173040" y="47173"/>
                    <a:pt x="172045" y="42860"/>
                  </a:cubicBezTo>
                  <a:cubicBezTo>
                    <a:pt x="171050" y="38548"/>
                    <a:pt x="169888" y="30752"/>
                    <a:pt x="163254" y="30752"/>
                  </a:cubicBezTo>
                  <a:cubicBezTo>
                    <a:pt x="156619" y="30752"/>
                    <a:pt x="147828" y="26439"/>
                    <a:pt x="144676" y="34069"/>
                  </a:cubicBezTo>
                  <a:cubicBezTo>
                    <a:pt x="141525" y="41699"/>
                    <a:pt x="128089" y="31913"/>
                    <a:pt x="126928" y="26439"/>
                  </a:cubicBezTo>
                  <a:cubicBezTo>
                    <a:pt x="125767" y="20966"/>
                    <a:pt x="120459" y="16487"/>
                    <a:pt x="105034" y="11014"/>
                  </a:cubicBezTo>
                  <a:cubicBezTo>
                    <a:pt x="98167" y="8161"/>
                    <a:pt x="91698" y="4429"/>
                    <a:pt x="85793" y="-100"/>
                  </a:cubicBezTo>
                  <a:cubicBezTo>
                    <a:pt x="85378" y="1128"/>
                    <a:pt x="84815" y="2289"/>
                    <a:pt x="84134" y="3384"/>
                  </a:cubicBezTo>
                  <a:cubicBezTo>
                    <a:pt x="81149" y="7862"/>
                    <a:pt x="70865" y="-265"/>
                    <a:pt x="66386" y="3384"/>
                  </a:cubicBezTo>
                  <a:cubicBezTo>
                    <a:pt x="61908" y="7033"/>
                    <a:pt x="47311" y="8526"/>
                    <a:pt x="39184" y="15990"/>
                  </a:cubicBezTo>
                  <a:cubicBezTo>
                    <a:pt x="28718" y="22857"/>
                    <a:pt x="16891" y="27385"/>
                    <a:pt x="4518" y="29259"/>
                  </a:cubicBezTo>
                  <a:cubicBezTo>
                    <a:pt x="-5103" y="31415"/>
                    <a:pt x="3025" y="40372"/>
                    <a:pt x="6674" y="47007"/>
                  </a:cubicBezTo>
                  <a:cubicBezTo>
                    <a:pt x="10323" y="53642"/>
                    <a:pt x="10489" y="69731"/>
                    <a:pt x="17787" y="74873"/>
                  </a:cubicBezTo>
                  <a:cubicBezTo>
                    <a:pt x="30094" y="82437"/>
                    <a:pt x="41689" y="91111"/>
                    <a:pt x="52453" y="100748"/>
                  </a:cubicBezTo>
                  <a:cubicBezTo>
                    <a:pt x="52453" y="101578"/>
                    <a:pt x="52453" y="102407"/>
                    <a:pt x="52453" y="103236"/>
                  </a:cubicBezTo>
                  <a:cubicBezTo>
                    <a:pt x="62738" y="106056"/>
                    <a:pt x="78661" y="106056"/>
                    <a:pt x="81480" y="101412"/>
                  </a:cubicBezTo>
                  <a:cubicBezTo>
                    <a:pt x="83952" y="96585"/>
                    <a:pt x="85793" y="91460"/>
                    <a:pt x="86954" y="86152"/>
                  </a:cubicBezTo>
                  <a:cubicBezTo>
                    <a:pt x="97985" y="85920"/>
                    <a:pt x="108782" y="89370"/>
                    <a:pt x="117640" y="95938"/>
                  </a:cubicBezTo>
                  <a:cubicBezTo>
                    <a:pt x="126431" y="105890"/>
                    <a:pt x="142852" y="99256"/>
                    <a:pt x="142852" y="99256"/>
                  </a:cubicBezTo>
                  <a:lnTo>
                    <a:pt x="145340" y="105890"/>
                  </a:lnTo>
                  <a:cubicBezTo>
                    <a:pt x="147662" y="100582"/>
                    <a:pt x="150814" y="95772"/>
                    <a:pt x="154463" y="95109"/>
                  </a:cubicBezTo>
                  <a:cubicBezTo>
                    <a:pt x="167052" y="94893"/>
                    <a:pt x="178795" y="88756"/>
                    <a:pt x="186143" y="78522"/>
                  </a:cubicBezTo>
                  <a:cubicBezTo>
                    <a:pt x="191584" y="72667"/>
                    <a:pt x="198185" y="68039"/>
                    <a:pt x="205550" y="64921"/>
                  </a:cubicBezTo>
                  <a:cubicBezTo>
                    <a:pt x="200574" y="58784"/>
                    <a:pt x="198252" y="50822"/>
                    <a:pt x="193939" y="48334"/>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2" name="Freeform: Shape 561">
              <a:extLst>
                <a:ext uri="{FF2B5EF4-FFF2-40B4-BE49-F238E27FC236}">
                  <a16:creationId xmlns:a16="http://schemas.microsoft.com/office/drawing/2014/main" id="{88989E1A-088D-412B-A1CE-007F652626EB}"/>
                </a:ext>
              </a:extLst>
            </p:cNvPr>
            <p:cNvSpPr/>
            <p:nvPr/>
          </p:nvSpPr>
          <p:spPr>
            <a:xfrm>
              <a:off x="5814231" y="3167552"/>
              <a:ext cx="158574" cy="63371"/>
            </a:xfrm>
            <a:custGeom>
              <a:avLst/>
              <a:gdLst>
                <a:gd name="connsiteX0" fmla="*/ 137490 w 185440"/>
                <a:gd name="connsiteY0" fmla="*/ 6369 h 75558"/>
                <a:gd name="connsiteX1" fmla="*/ 112278 w 185440"/>
                <a:gd name="connsiteY1" fmla="*/ 4213 h 75558"/>
                <a:gd name="connsiteX2" fmla="*/ 83749 w 185440"/>
                <a:gd name="connsiteY2" fmla="*/ 896 h 75558"/>
                <a:gd name="connsiteX3" fmla="*/ 64010 w 185440"/>
                <a:gd name="connsiteY3" fmla="*/ 3052 h 75558"/>
                <a:gd name="connsiteX4" fmla="*/ 60195 w 185440"/>
                <a:gd name="connsiteY4" fmla="*/ -100 h 75558"/>
                <a:gd name="connsiteX5" fmla="*/ 40788 w 185440"/>
                <a:gd name="connsiteY5" fmla="*/ 15658 h 75558"/>
                <a:gd name="connsiteX6" fmla="*/ 9108 w 185440"/>
                <a:gd name="connsiteY6" fmla="*/ 32245 h 75558"/>
                <a:gd name="connsiteX7" fmla="*/ -15 w 185440"/>
                <a:gd name="connsiteY7" fmla="*/ 43026 h 75558"/>
                <a:gd name="connsiteX8" fmla="*/ 15079 w 185440"/>
                <a:gd name="connsiteY8" fmla="*/ 69233 h 75558"/>
                <a:gd name="connsiteX9" fmla="*/ 60029 w 185440"/>
                <a:gd name="connsiteY9" fmla="*/ 69233 h 75558"/>
                <a:gd name="connsiteX10" fmla="*/ 95193 w 185440"/>
                <a:gd name="connsiteY10" fmla="*/ 58286 h 75558"/>
                <a:gd name="connsiteX11" fmla="*/ 125879 w 185440"/>
                <a:gd name="connsiteY11" fmla="*/ 38548 h 75558"/>
                <a:gd name="connsiteX12" fmla="*/ 156731 w 185440"/>
                <a:gd name="connsiteY12" fmla="*/ 48500 h 75558"/>
                <a:gd name="connsiteX13" fmla="*/ 177630 w 185440"/>
                <a:gd name="connsiteY13" fmla="*/ 55964 h 75558"/>
                <a:gd name="connsiteX14" fmla="*/ 170664 w 185440"/>
                <a:gd name="connsiteY14" fmla="*/ 44519 h 75558"/>
                <a:gd name="connsiteX15" fmla="*/ 185426 w 185440"/>
                <a:gd name="connsiteY15" fmla="*/ 20136 h 75558"/>
                <a:gd name="connsiteX16" fmla="*/ 185426 w 185440"/>
                <a:gd name="connsiteY16" fmla="*/ 19141 h 75558"/>
                <a:gd name="connsiteX17" fmla="*/ 165853 w 185440"/>
                <a:gd name="connsiteY17" fmla="*/ 14497 h 75558"/>
                <a:gd name="connsiteX18" fmla="*/ 137490 w 185440"/>
                <a:gd name="connsiteY18" fmla="*/ 6369 h 7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5440" h="75558">
                  <a:moveTo>
                    <a:pt x="137490" y="6369"/>
                  </a:moveTo>
                  <a:cubicBezTo>
                    <a:pt x="126543" y="7365"/>
                    <a:pt x="120903" y="896"/>
                    <a:pt x="112278" y="4213"/>
                  </a:cubicBezTo>
                  <a:cubicBezTo>
                    <a:pt x="102674" y="6535"/>
                    <a:pt x="92556" y="5357"/>
                    <a:pt x="83749" y="896"/>
                  </a:cubicBezTo>
                  <a:cubicBezTo>
                    <a:pt x="78275" y="-2422"/>
                    <a:pt x="71640" y="7365"/>
                    <a:pt x="64010" y="3052"/>
                  </a:cubicBezTo>
                  <a:cubicBezTo>
                    <a:pt x="62584" y="2206"/>
                    <a:pt x="61306" y="1128"/>
                    <a:pt x="60195" y="-100"/>
                  </a:cubicBezTo>
                  <a:cubicBezTo>
                    <a:pt x="52632" y="3633"/>
                    <a:pt x="45997" y="9023"/>
                    <a:pt x="40788" y="15658"/>
                  </a:cubicBezTo>
                  <a:cubicBezTo>
                    <a:pt x="33441" y="25892"/>
                    <a:pt x="21697" y="32029"/>
                    <a:pt x="9108" y="32245"/>
                  </a:cubicBezTo>
                  <a:cubicBezTo>
                    <a:pt x="5459" y="32245"/>
                    <a:pt x="2307" y="37718"/>
                    <a:pt x="-15" y="43026"/>
                  </a:cubicBezTo>
                  <a:cubicBezTo>
                    <a:pt x="3170" y="52713"/>
                    <a:pt x="8295" y="61620"/>
                    <a:pt x="15079" y="69233"/>
                  </a:cubicBezTo>
                  <a:cubicBezTo>
                    <a:pt x="25031" y="78025"/>
                    <a:pt x="60029" y="77029"/>
                    <a:pt x="60029" y="69233"/>
                  </a:cubicBezTo>
                  <a:cubicBezTo>
                    <a:pt x="60029" y="61438"/>
                    <a:pt x="88559" y="58286"/>
                    <a:pt x="95193" y="58286"/>
                  </a:cubicBezTo>
                  <a:cubicBezTo>
                    <a:pt x="101828" y="58286"/>
                    <a:pt x="122727" y="37387"/>
                    <a:pt x="125879" y="38548"/>
                  </a:cubicBezTo>
                  <a:cubicBezTo>
                    <a:pt x="136627" y="40190"/>
                    <a:pt x="147044" y="43557"/>
                    <a:pt x="156731" y="48500"/>
                  </a:cubicBezTo>
                  <a:cubicBezTo>
                    <a:pt x="163166" y="52298"/>
                    <a:pt x="170249" y="54820"/>
                    <a:pt x="177630" y="55964"/>
                  </a:cubicBezTo>
                  <a:cubicBezTo>
                    <a:pt x="173882" y="53211"/>
                    <a:pt x="171377" y="49097"/>
                    <a:pt x="170664" y="44519"/>
                  </a:cubicBezTo>
                  <a:cubicBezTo>
                    <a:pt x="173517" y="35313"/>
                    <a:pt x="178575" y="26937"/>
                    <a:pt x="185426" y="20136"/>
                  </a:cubicBezTo>
                  <a:cubicBezTo>
                    <a:pt x="185426" y="20136"/>
                    <a:pt x="185426" y="20136"/>
                    <a:pt x="185426" y="19141"/>
                  </a:cubicBezTo>
                  <a:cubicBezTo>
                    <a:pt x="178708" y="18561"/>
                    <a:pt x="172123" y="16985"/>
                    <a:pt x="165853" y="14497"/>
                  </a:cubicBezTo>
                  <a:cubicBezTo>
                    <a:pt x="157510" y="8808"/>
                    <a:pt x="147575" y="5955"/>
                    <a:pt x="137490" y="6369"/>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3" name="Freeform: Shape 562">
              <a:extLst>
                <a:ext uri="{FF2B5EF4-FFF2-40B4-BE49-F238E27FC236}">
                  <a16:creationId xmlns:a16="http://schemas.microsoft.com/office/drawing/2014/main" id="{AB478C67-AA34-41D4-9380-566A3829DA30}"/>
                </a:ext>
              </a:extLst>
            </p:cNvPr>
            <p:cNvSpPr/>
            <p:nvPr/>
          </p:nvSpPr>
          <p:spPr>
            <a:xfrm>
              <a:off x="5429284" y="3022038"/>
              <a:ext cx="116218" cy="98632"/>
            </a:xfrm>
            <a:custGeom>
              <a:avLst/>
              <a:gdLst>
                <a:gd name="connsiteX0" fmla="*/ 43442 w 135908"/>
                <a:gd name="connsiteY0" fmla="*/ 91626 h 117600"/>
                <a:gd name="connsiteX1" fmla="*/ 65835 w 135908"/>
                <a:gd name="connsiteY1" fmla="*/ 94611 h 117600"/>
                <a:gd name="connsiteX2" fmla="*/ 89885 w 135908"/>
                <a:gd name="connsiteY2" fmla="*/ 111198 h 117600"/>
                <a:gd name="connsiteX3" fmla="*/ 97184 w 135908"/>
                <a:gd name="connsiteY3" fmla="*/ 117501 h 117600"/>
                <a:gd name="connsiteX4" fmla="*/ 100999 w 135908"/>
                <a:gd name="connsiteY4" fmla="*/ 91957 h 117600"/>
                <a:gd name="connsiteX5" fmla="*/ 102989 w 135908"/>
                <a:gd name="connsiteY5" fmla="*/ 75371 h 117600"/>
                <a:gd name="connsiteX6" fmla="*/ 121566 w 135908"/>
                <a:gd name="connsiteY6" fmla="*/ 66580 h 117600"/>
                <a:gd name="connsiteX7" fmla="*/ 128533 w 135908"/>
                <a:gd name="connsiteY7" fmla="*/ 55798 h 117600"/>
                <a:gd name="connsiteX8" fmla="*/ 117751 w 135908"/>
                <a:gd name="connsiteY8" fmla="*/ 38050 h 117600"/>
                <a:gd name="connsiteX9" fmla="*/ 134338 w 135908"/>
                <a:gd name="connsiteY9" fmla="*/ 22293 h 117600"/>
                <a:gd name="connsiteX10" fmla="*/ 133343 w 135908"/>
                <a:gd name="connsiteY10" fmla="*/ -100 h 117600"/>
                <a:gd name="connsiteX11" fmla="*/ 124884 w 135908"/>
                <a:gd name="connsiteY11" fmla="*/ 3218 h 117600"/>
                <a:gd name="connsiteX12" fmla="*/ 91710 w 135908"/>
                <a:gd name="connsiteY12" fmla="*/ 4213 h 117600"/>
                <a:gd name="connsiteX13" fmla="*/ 77943 w 135908"/>
                <a:gd name="connsiteY13" fmla="*/ 27269 h 117600"/>
                <a:gd name="connsiteX14" fmla="*/ 62186 w 135908"/>
                <a:gd name="connsiteY14" fmla="*/ 28264 h 117600"/>
                <a:gd name="connsiteX15" fmla="*/ 46926 w 135908"/>
                <a:gd name="connsiteY15" fmla="*/ 36060 h 117600"/>
                <a:gd name="connsiteX16" fmla="*/ 31666 w 135908"/>
                <a:gd name="connsiteY16" fmla="*/ 63097 h 117600"/>
                <a:gd name="connsiteX17" fmla="*/ 5127 w 135908"/>
                <a:gd name="connsiteY17" fmla="*/ 94114 h 117600"/>
                <a:gd name="connsiteX18" fmla="*/ -15 w 135908"/>
                <a:gd name="connsiteY18" fmla="*/ 97099 h 117600"/>
                <a:gd name="connsiteX19" fmla="*/ 11928 w 135908"/>
                <a:gd name="connsiteY19" fmla="*/ 101246 h 117600"/>
                <a:gd name="connsiteX20" fmla="*/ 43442 w 135908"/>
                <a:gd name="connsiteY20" fmla="*/ 91626 h 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5908" h="117600">
                  <a:moveTo>
                    <a:pt x="43442" y="91626"/>
                  </a:moveTo>
                  <a:cubicBezTo>
                    <a:pt x="50542" y="86600"/>
                    <a:pt x="60311" y="87894"/>
                    <a:pt x="65835" y="94611"/>
                  </a:cubicBezTo>
                  <a:cubicBezTo>
                    <a:pt x="71972" y="100583"/>
                    <a:pt x="80928" y="102075"/>
                    <a:pt x="89885" y="111198"/>
                  </a:cubicBezTo>
                  <a:cubicBezTo>
                    <a:pt x="92191" y="113437"/>
                    <a:pt x="94629" y="115544"/>
                    <a:pt x="97184" y="117501"/>
                  </a:cubicBezTo>
                  <a:cubicBezTo>
                    <a:pt x="97482" y="108876"/>
                    <a:pt x="98759" y="100301"/>
                    <a:pt x="100999" y="91957"/>
                  </a:cubicBezTo>
                  <a:cubicBezTo>
                    <a:pt x="103984" y="85157"/>
                    <a:pt x="98013" y="75371"/>
                    <a:pt x="102989" y="75371"/>
                  </a:cubicBezTo>
                  <a:cubicBezTo>
                    <a:pt x="107965" y="75371"/>
                    <a:pt x="121566" y="75371"/>
                    <a:pt x="121566" y="66580"/>
                  </a:cubicBezTo>
                  <a:cubicBezTo>
                    <a:pt x="121566" y="57789"/>
                    <a:pt x="125547" y="60608"/>
                    <a:pt x="128533" y="55798"/>
                  </a:cubicBezTo>
                  <a:cubicBezTo>
                    <a:pt x="131518" y="50988"/>
                    <a:pt x="119742" y="41036"/>
                    <a:pt x="117751" y="38050"/>
                  </a:cubicBezTo>
                  <a:cubicBezTo>
                    <a:pt x="115761" y="35065"/>
                    <a:pt x="126542" y="34070"/>
                    <a:pt x="134338" y="22293"/>
                  </a:cubicBezTo>
                  <a:cubicBezTo>
                    <a:pt x="136710" y="14945"/>
                    <a:pt x="136362" y="7000"/>
                    <a:pt x="133343" y="-100"/>
                  </a:cubicBezTo>
                  <a:cubicBezTo>
                    <a:pt x="132016" y="3384"/>
                    <a:pt x="129362" y="5872"/>
                    <a:pt x="124884" y="3218"/>
                  </a:cubicBezTo>
                  <a:cubicBezTo>
                    <a:pt x="117586" y="-1260"/>
                    <a:pt x="106307" y="1227"/>
                    <a:pt x="91710" y="4213"/>
                  </a:cubicBezTo>
                  <a:cubicBezTo>
                    <a:pt x="77114" y="7199"/>
                    <a:pt x="72469" y="20800"/>
                    <a:pt x="77943" y="27269"/>
                  </a:cubicBezTo>
                  <a:cubicBezTo>
                    <a:pt x="83417" y="33738"/>
                    <a:pt x="63678" y="36060"/>
                    <a:pt x="62186" y="28264"/>
                  </a:cubicBezTo>
                  <a:cubicBezTo>
                    <a:pt x="60693" y="20468"/>
                    <a:pt x="45599" y="25776"/>
                    <a:pt x="46926" y="36060"/>
                  </a:cubicBezTo>
                  <a:cubicBezTo>
                    <a:pt x="48253" y="46344"/>
                    <a:pt x="30339" y="50325"/>
                    <a:pt x="31666" y="63097"/>
                  </a:cubicBezTo>
                  <a:cubicBezTo>
                    <a:pt x="32993" y="75868"/>
                    <a:pt x="16074" y="87645"/>
                    <a:pt x="5127" y="94114"/>
                  </a:cubicBezTo>
                  <a:lnTo>
                    <a:pt x="-15" y="97099"/>
                  </a:lnTo>
                  <a:cubicBezTo>
                    <a:pt x="3717" y="99106"/>
                    <a:pt x="7747" y="100500"/>
                    <a:pt x="11928" y="101246"/>
                  </a:cubicBezTo>
                  <a:cubicBezTo>
                    <a:pt x="23157" y="101196"/>
                    <a:pt x="34104" y="97846"/>
                    <a:pt x="43442" y="91626"/>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4" name="Freeform: Shape 563">
              <a:extLst>
                <a:ext uri="{FF2B5EF4-FFF2-40B4-BE49-F238E27FC236}">
                  <a16:creationId xmlns:a16="http://schemas.microsoft.com/office/drawing/2014/main" id="{86E1F158-DDB5-4BA2-8AFA-17185B2C42AC}"/>
                </a:ext>
              </a:extLst>
            </p:cNvPr>
            <p:cNvSpPr/>
            <p:nvPr/>
          </p:nvSpPr>
          <p:spPr>
            <a:xfrm>
              <a:off x="5911782" y="3209286"/>
              <a:ext cx="255630" cy="163321"/>
            </a:xfrm>
            <a:custGeom>
              <a:avLst/>
              <a:gdLst>
                <a:gd name="connsiteX0" fmla="*/ 268731 w 298940"/>
                <a:gd name="connsiteY0" fmla="*/ 131102 h 194729"/>
                <a:gd name="connsiteX1" fmla="*/ 255959 w 298940"/>
                <a:gd name="connsiteY1" fmla="*/ 123141 h 194729"/>
                <a:gd name="connsiteX2" fmla="*/ 256954 w 298940"/>
                <a:gd name="connsiteY2" fmla="*/ 122145 h 194729"/>
                <a:gd name="connsiteX3" fmla="*/ 251149 w 298940"/>
                <a:gd name="connsiteY3" fmla="*/ 84659 h 194729"/>
                <a:gd name="connsiteX4" fmla="*/ 230083 w 298940"/>
                <a:gd name="connsiteY4" fmla="*/ 38050 h 194729"/>
                <a:gd name="connsiteX5" fmla="*/ 208189 w 298940"/>
                <a:gd name="connsiteY5" fmla="*/ -100 h 194729"/>
                <a:gd name="connsiteX6" fmla="*/ 191602 w 298940"/>
                <a:gd name="connsiteY6" fmla="*/ 7531 h 194729"/>
                <a:gd name="connsiteX7" fmla="*/ 173025 w 298940"/>
                <a:gd name="connsiteY7" fmla="*/ 17482 h 194729"/>
                <a:gd name="connsiteX8" fmla="*/ 156438 w 298940"/>
                <a:gd name="connsiteY8" fmla="*/ 19307 h 194729"/>
                <a:gd name="connsiteX9" fmla="*/ 141676 w 298940"/>
                <a:gd name="connsiteY9" fmla="*/ 23288 h 194729"/>
                <a:gd name="connsiteX10" fmla="*/ 122103 w 298940"/>
                <a:gd name="connsiteY10" fmla="*/ 17482 h 194729"/>
                <a:gd name="connsiteX11" fmla="*/ 88929 w 298940"/>
                <a:gd name="connsiteY11" fmla="*/ 11511 h 194729"/>
                <a:gd name="connsiteX12" fmla="*/ 76158 w 298940"/>
                <a:gd name="connsiteY12" fmla="*/ 12506 h 194729"/>
                <a:gd name="connsiteX13" fmla="*/ 73006 w 298940"/>
                <a:gd name="connsiteY13" fmla="*/ 19805 h 194729"/>
                <a:gd name="connsiteX14" fmla="*/ 50946 w 298940"/>
                <a:gd name="connsiteY14" fmla="*/ 33904 h 194729"/>
                <a:gd name="connsiteX15" fmla="*/ 20758 w 298940"/>
                <a:gd name="connsiteY15" fmla="*/ 83664 h 194729"/>
                <a:gd name="connsiteX16" fmla="*/ 24 w 298940"/>
                <a:gd name="connsiteY16" fmla="*/ 99090 h 194729"/>
                <a:gd name="connsiteX17" fmla="*/ 11801 w 298940"/>
                <a:gd name="connsiteY17" fmla="*/ 118330 h 194729"/>
                <a:gd name="connsiteX18" fmla="*/ 21172 w 298940"/>
                <a:gd name="connsiteY18" fmla="*/ 130057 h 194729"/>
                <a:gd name="connsiteX19" fmla="*/ 22914 w 298940"/>
                <a:gd name="connsiteY19" fmla="*/ 130107 h 194729"/>
                <a:gd name="connsiteX20" fmla="*/ 27227 w 298940"/>
                <a:gd name="connsiteY20" fmla="*/ 150675 h 194729"/>
                <a:gd name="connsiteX21" fmla="*/ 64215 w 298940"/>
                <a:gd name="connsiteY21" fmla="*/ 161788 h 194729"/>
                <a:gd name="connsiteX22" fmla="*/ 66206 w 298940"/>
                <a:gd name="connsiteY22" fmla="*/ 176219 h 194729"/>
                <a:gd name="connsiteX23" fmla="*/ 85115 w 298940"/>
                <a:gd name="connsiteY23" fmla="*/ 188990 h 194729"/>
                <a:gd name="connsiteX24" fmla="*/ 120445 w 298940"/>
                <a:gd name="connsiteY24" fmla="*/ 192971 h 194729"/>
                <a:gd name="connsiteX25" fmla="*/ 155775 w 298940"/>
                <a:gd name="connsiteY25" fmla="*/ 193966 h 194729"/>
                <a:gd name="connsiteX26" fmla="*/ 179328 w 298940"/>
                <a:gd name="connsiteY26" fmla="*/ 184180 h 194729"/>
                <a:gd name="connsiteX27" fmla="*/ 218639 w 298940"/>
                <a:gd name="connsiteY27" fmla="*/ 177214 h 194729"/>
                <a:gd name="connsiteX28" fmla="*/ 245178 w 298940"/>
                <a:gd name="connsiteY28" fmla="*/ 185175 h 194729"/>
                <a:gd name="connsiteX29" fmla="*/ 265413 w 298940"/>
                <a:gd name="connsiteY29" fmla="*/ 194630 h 194729"/>
                <a:gd name="connsiteX30" fmla="*/ 265413 w 298940"/>
                <a:gd name="connsiteY30" fmla="*/ 177214 h 194729"/>
                <a:gd name="connsiteX31" fmla="*/ 282000 w 298940"/>
                <a:gd name="connsiteY31" fmla="*/ 150177 h 194729"/>
                <a:gd name="connsiteX32" fmla="*/ 298587 w 298940"/>
                <a:gd name="connsiteY32" fmla="*/ 132098 h 194729"/>
                <a:gd name="connsiteX33" fmla="*/ 298587 w 298940"/>
                <a:gd name="connsiteY33" fmla="*/ 130439 h 194729"/>
                <a:gd name="connsiteX34" fmla="*/ 286811 w 298940"/>
                <a:gd name="connsiteY34" fmla="*/ 122145 h 194729"/>
                <a:gd name="connsiteX35" fmla="*/ 268731 w 298940"/>
                <a:gd name="connsiteY35" fmla="*/ 131102 h 194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8940" h="194729">
                  <a:moveTo>
                    <a:pt x="268731" y="131102"/>
                  </a:moveTo>
                  <a:cubicBezTo>
                    <a:pt x="261930" y="130107"/>
                    <a:pt x="253139" y="127121"/>
                    <a:pt x="255959" y="123141"/>
                  </a:cubicBezTo>
                  <a:lnTo>
                    <a:pt x="256954" y="122145"/>
                  </a:lnTo>
                  <a:cubicBezTo>
                    <a:pt x="247915" y="111828"/>
                    <a:pt x="245642" y="97215"/>
                    <a:pt x="251149" y="84659"/>
                  </a:cubicBezTo>
                  <a:cubicBezTo>
                    <a:pt x="258613" y="77195"/>
                    <a:pt x="239040" y="48666"/>
                    <a:pt x="230083" y="38050"/>
                  </a:cubicBezTo>
                  <a:cubicBezTo>
                    <a:pt x="221939" y="25842"/>
                    <a:pt x="214624" y="13087"/>
                    <a:pt x="208189" y="-100"/>
                  </a:cubicBezTo>
                  <a:cubicBezTo>
                    <a:pt x="202184" y="1227"/>
                    <a:pt x="196528" y="3832"/>
                    <a:pt x="191602" y="7531"/>
                  </a:cubicBezTo>
                  <a:cubicBezTo>
                    <a:pt x="187041" y="13253"/>
                    <a:pt x="180323" y="16852"/>
                    <a:pt x="173025" y="17482"/>
                  </a:cubicBezTo>
                  <a:cubicBezTo>
                    <a:pt x="167054" y="17482"/>
                    <a:pt x="161248" y="14497"/>
                    <a:pt x="156438" y="19307"/>
                  </a:cubicBezTo>
                  <a:cubicBezTo>
                    <a:pt x="151628" y="24117"/>
                    <a:pt x="144661" y="26273"/>
                    <a:pt x="141676" y="23288"/>
                  </a:cubicBezTo>
                  <a:cubicBezTo>
                    <a:pt x="135870" y="19456"/>
                    <a:pt x="129053" y="17433"/>
                    <a:pt x="122103" y="17482"/>
                  </a:cubicBezTo>
                  <a:cubicBezTo>
                    <a:pt x="115137" y="17482"/>
                    <a:pt x="93574" y="11511"/>
                    <a:pt x="88929" y="11511"/>
                  </a:cubicBezTo>
                  <a:cubicBezTo>
                    <a:pt x="84650" y="11594"/>
                    <a:pt x="80387" y="11926"/>
                    <a:pt x="76158" y="12506"/>
                  </a:cubicBezTo>
                  <a:cubicBezTo>
                    <a:pt x="77319" y="14663"/>
                    <a:pt x="76158" y="17317"/>
                    <a:pt x="73006" y="19805"/>
                  </a:cubicBezTo>
                  <a:cubicBezTo>
                    <a:pt x="69855" y="22293"/>
                    <a:pt x="55258" y="30918"/>
                    <a:pt x="50946" y="33904"/>
                  </a:cubicBezTo>
                  <a:cubicBezTo>
                    <a:pt x="46633" y="36889"/>
                    <a:pt x="31042" y="73712"/>
                    <a:pt x="20758" y="83664"/>
                  </a:cubicBezTo>
                  <a:cubicBezTo>
                    <a:pt x="10474" y="93616"/>
                    <a:pt x="853" y="95441"/>
                    <a:pt x="24" y="99090"/>
                  </a:cubicBezTo>
                  <a:cubicBezTo>
                    <a:pt x="-805" y="102739"/>
                    <a:pt x="11801" y="112359"/>
                    <a:pt x="11801" y="118330"/>
                  </a:cubicBezTo>
                  <a:cubicBezTo>
                    <a:pt x="11154" y="124152"/>
                    <a:pt x="15351" y="129410"/>
                    <a:pt x="21172" y="130057"/>
                  </a:cubicBezTo>
                  <a:cubicBezTo>
                    <a:pt x="21753" y="130124"/>
                    <a:pt x="22334" y="130140"/>
                    <a:pt x="22914" y="130107"/>
                  </a:cubicBezTo>
                  <a:cubicBezTo>
                    <a:pt x="31042" y="130107"/>
                    <a:pt x="22084" y="149182"/>
                    <a:pt x="27227" y="150675"/>
                  </a:cubicBezTo>
                  <a:cubicBezTo>
                    <a:pt x="32369" y="152167"/>
                    <a:pt x="64215" y="154324"/>
                    <a:pt x="64215" y="161788"/>
                  </a:cubicBezTo>
                  <a:cubicBezTo>
                    <a:pt x="64215" y="169252"/>
                    <a:pt x="67698" y="172238"/>
                    <a:pt x="66206" y="176219"/>
                  </a:cubicBezTo>
                  <a:cubicBezTo>
                    <a:pt x="74997" y="177711"/>
                    <a:pt x="81632" y="189820"/>
                    <a:pt x="85115" y="188990"/>
                  </a:cubicBezTo>
                  <a:cubicBezTo>
                    <a:pt x="88598" y="188161"/>
                    <a:pt x="115468" y="193966"/>
                    <a:pt x="120445" y="192971"/>
                  </a:cubicBezTo>
                  <a:cubicBezTo>
                    <a:pt x="132221" y="192341"/>
                    <a:pt x="144048" y="192673"/>
                    <a:pt x="155775" y="193966"/>
                  </a:cubicBezTo>
                  <a:cubicBezTo>
                    <a:pt x="164698" y="194398"/>
                    <a:pt x="173340" y="190798"/>
                    <a:pt x="179328" y="184180"/>
                  </a:cubicBezTo>
                  <a:cubicBezTo>
                    <a:pt x="191436" y="177977"/>
                    <a:pt x="205137" y="175555"/>
                    <a:pt x="218639" y="177214"/>
                  </a:cubicBezTo>
                  <a:cubicBezTo>
                    <a:pt x="226600" y="178209"/>
                    <a:pt x="242192" y="180199"/>
                    <a:pt x="245178" y="185175"/>
                  </a:cubicBezTo>
                  <a:cubicBezTo>
                    <a:pt x="251248" y="189604"/>
                    <a:pt x="258115" y="192805"/>
                    <a:pt x="265413" y="194630"/>
                  </a:cubicBezTo>
                  <a:cubicBezTo>
                    <a:pt x="265828" y="188824"/>
                    <a:pt x="265828" y="183019"/>
                    <a:pt x="265413" y="177214"/>
                  </a:cubicBezTo>
                  <a:cubicBezTo>
                    <a:pt x="265413" y="166930"/>
                    <a:pt x="271717" y="151172"/>
                    <a:pt x="282000" y="150177"/>
                  </a:cubicBezTo>
                  <a:cubicBezTo>
                    <a:pt x="292284" y="149182"/>
                    <a:pt x="300744" y="149182"/>
                    <a:pt x="298587" y="132098"/>
                  </a:cubicBezTo>
                  <a:lnTo>
                    <a:pt x="298587" y="130439"/>
                  </a:lnTo>
                  <a:cubicBezTo>
                    <a:pt x="295187" y="127005"/>
                    <a:pt x="291189" y="124186"/>
                    <a:pt x="286811" y="122145"/>
                  </a:cubicBezTo>
                  <a:cubicBezTo>
                    <a:pt x="283493" y="123141"/>
                    <a:pt x="271717" y="131434"/>
                    <a:pt x="268731" y="131102"/>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5" name="Freeform: Shape 564">
              <a:extLst>
                <a:ext uri="{FF2B5EF4-FFF2-40B4-BE49-F238E27FC236}">
                  <a16:creationId xmlns:a16="http://schemas.microsoft.com/office/drawing/2014/main" id="{68880621-468D-4502-BD30-1811E6E6C90B}"/>
                </a:ext>
              </a:extLst>
            </p:cNvPr>
            <p:cNvSpPr/>
            <p:nvPr/>
          </p:nvSpPr>
          <p:spPr>
            <a:xfrm>
              <a:off x="6089821" y="3204658"/>
              <a:ext cx="87939" cy="107156"/>
            </a:xfrm>
            <a:custGeom>
              <a:avLst/>
              <a:gdLst>
                <a:gd name="connsiteX0" fmla="*/ 74294 w 102838"/>
                <a:gd name="connsiteY0" fmla="*/ 32456 h 127763"/>
                <a:gd name="connsiteX1" fmla="*/ 50741 w 102838"/>
                <a:gd name="connsiteY1" fmla="*/ 14708 h 127763"/>
                <a:gd name="connsiteX2" fmla="*/ 24202 w 102838"/>
                <a:gd name="connsiteY2" fmla="*/ -54 h 127763"/>
                <a:gd name="connsiteX3" fmla="*/ -15 w 102838"/>
                <a:gd name="connsiteY3" fmla="*/ 6083 h 127763"/>
                <a:gd name="connsiteX4" fmla="*/ 21880 w 102838"/>
                <a:gd name="connsiteY4" fmla="*/ 43569 h 127763"/>
                <a:gd name="connsiteX5" fmla="*/ 42945 w 102838"/>
                <a:gd name="connsiteY5" fmla="*/ 90178 h 127763"/>
                <a:gd name="connsiteX6" fmla="*/ 48750 w 102838"/>
                <a:gd name="connsiteY6" fmla="*/ 127664 h 127763"/>
                <a:gd name="connsiteX7" fmla="*/ 67494 w 102838"/>
                <a:gd name="connsiteY7" fmla="*/ 98306 h 127763"/>
                <a:gd name="connsiteX8" fmla="*/ 80266 w 102838"/>
                <a:gd name="connsiteY8" fmla="*/ 83543 h 127763"/>
                <a:gd name="connsiteX9" fmla="*/ 102824 w 102838"/>
                <a:gd name="connsiteY9" fmla="*/ 87358 h 127763"/>
                <a:gd name="connsiteX10" fmla="*/ 95028 w 102838"/>
                <a:gd name="connsiteY10" fmla="*/ 65795 h 127763"/>
                <a:gd name="connsiteX11" fmla="*/ 74294 w 102838"/>
                <a:gd name="connsiteY11" fmla="*/ 32456 h 12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38" h="127763">
                  <a:moveTo>
                    <a:pt x="74294" y="32456"/>
                  </a:moveTo>
                  <a:cubicBezTo>
                    <a:pt x="70910" y="22205"/>
                    <a:pt x="61523" y="15139"/>
                    <a:pt x="50741" y="14708"/>
                  </a:cubicBezTo>
                  <a:cubicBezTo>
                    <a:pt x="43941" y="14708"/>
                    <a:pt x="32164" y="-1049"/>
                    <a:pt x="24202" y="-54"/>
                  </a:cubicBezTo>
                  <a:cubicBezTo>
                    <a:pt x="16008" y="1472"/>
                    <a:pt x="7914" y="3529"/>
                    <a:pt x="-15" y="6083"/>
                  </a:cubicBezTo>
                  <a:cubicBezTo>
                    <a:pt x="6454" y="19037"/>
                    <a:pt x="13769" y="31560"/>
                    <a:pt x="21880" y="43569"/>
                  </a:cubicBezTo>
                  <a:cubicBezTo>
                    <a:pt x="30837" y="54185"/>
                    <a:pt x="50409" y="82714"/>
                    <a:pt x="42945" y="90178"/>
                  </a:cubicBezTo>
                  <a:cubicBezTo>
                    <a:pt x="37439" y="102734"/>
                    <a:pt x="39711" y="117347"/>
                    <a:pt x="48750" y="127664"/>
                  </a:cubicBezTo>
                  <a:cubicBezTo>
                    <a:pt x="56397" y="118857"/>
                    <a:pt x="62717" y="108954"/>
                    <a:pt x="67494" y="98306"/>
                  </a:cubicBezTo>
                  <a:cubicBezTo>
                    <a:pt x="67494" y="92334"/>
                    <a:pt x="68489" y="80558"/>
                    <a:pt x="80266" y="83543"/>
                  </a:cubicBezTo>
                  <a:cubicBezTo>
                    <a:pt x="92042" y="86529"/>
                    <a:pt x="102824" y="91339"/>
                    <a:pt x="102824" y="87358"/>
                  </a:cubicBezTo>
                  <a:cubicBezTo>
                    <a:pt x="102226" y="79596"/>
                    <a:pt x="99539" y="72148"/>
                    <a:pt x="95028" y="65795"/>
                  </a:cubicBezTo>
                  <a:cubicBezTo>
                    <a:pt x="86004" y="56142"/>
                    <a:pt x="78972" y="44813"/>
                    <a:pt x="74294" y="32456"/>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6" name="Freeform: Shape 565">
              <a:extLst>
                <a:ext uri="{FF2B5EF4-FFF2-40B4-BE49-F238E27FC236}">
                  <a16:creationId xmlns:a16="http://schemas.microsoft.com/office/drawing/2014/main" id="{28B80D3E-34A2-414C-A1EA-767657DAC751}"/>
                </a:ext>
              </a:extLst>
            </p:cNvPr>
            <p:cNvSpPr/>
            <p:nvPr/>
          </p:nvSpPr>
          <p:spPr>
            <a:xfrm>
              <a:off x="5961507" y="3358001"/>
              <a:ext cx="177390" cy="95432"/>
            </a:xfrm>
            <a:custGeom>
              <a:avLst/>
              <a:gdLst>
                <a:gd name="connsiteX0" fmla="*/ 160489 w 207444"/>
                <a:gd name="connsiteY0" fmla="*/ 896 h 113785"/>
                <a:gd name="connsiteX1" fmla="*/ 121178 w 207444"/>
                <a:gd name="connsiteY1" fmla="*/ 7862 h 113785"/>
                <a:gd name="connsiteX2" fmla="*/ 97625 w 207444"/>
                <a:gd name="connsiteY2" fmla="*/ 17648 h 113785"/>
                <a:gd name="connsiteX3" fmla="*/ 62295 w 207444"/>
                <a:gd name="connsiteY3" fmla="*/ 16653 h 113785"/>
                <a:gd name="connsiteX4" fmla="*/ 26965 w 207444"/>
                <a:gd name="connsiteY4" fmla="*/ 12672 h 113785"/>
                <a:gd name="connsiteX5" fmla="*/ 8056 w 207444"/>
                <a:gd name="connsiteY5" fmla="*/ -100 h 113785"/>
                <a:gd name="connsiteX6" fmla="*/ 5236 w 207444"/>
                <a:gd name="connsiteY6" fmla="*/ 3052 h 113785"/>
                <a:gd name="connsiteX7" fmla="*/ 3627 w 207444"/>
                <a:gd name="connsiteY7" fmla="*/ 24333 h 113785"/>
                <a:gd name="connsiteX8" fmla="*/ 5236 w 207444"/>
                <a:gd name="connsiteY8" fmla="*/ 25942 h 113785"/>
                <a:gd name="connsiteX9" fmla="*/ 15520 w 207444"/>
                <a:gd name="connsiteY9" fmla="*/ 47339 h 113785"/>
                <a:gd name="connsiteX10" fmla="*/ 4573 w 207444"/>
                <a:gd name="connsiteY10" fmla="*/ 60608 h 113785"/>
                <a:gd name="connsiteX11" fmla="*/ 4573 w 207444"/>
                <a:gd name="connsiteY11" fmla="*/ 77195 h 113785"/>
                <a:gd name="connsiteX12" fmla="*/ 22984 w 207444"/>
                <a:gd name="connsiteY12" fmla="*/ 98426 h 113785"/>
                <a:gd name="connsiteX13" fmla="*/ 29453 w 207444"/>
                <a:gd name="connsiteY13" fmla="*/ 107881 h 113785"/>
                <a:gd name="connsiteX14" fmla="*/ 74072 w 207444"/>
                <a:gd name="connsiteY14" fmla="*/ 107881 h 113785"/>
                <a:gd name="connsiteX15" fmla="*/ 109402 w 207444"/>
                <a:gd name="connsiteY15" fmla="*/ 113686 h 113785"/>
                <a:gd name="connsiteX16" fmla="*/ 122173 w 207444"/>
                <a:gd name="connsiteY16" fmla="*/ 105890 h 113785"/>
                <a:gd name="connsiteX17" fmla="*/ 138760 w 207444"/>
                <a:gd name="connsiteY17" fmla="*/ 98260 h 113785"/>
                <a:gd name="connsiteX18" fmla="*/ 138760 w 207444"/>
                <a:gd name="connsiteY18" fmla="*/ 89138 h 113785"/>
                <a:gd name="connsiteX19" fmla="*/ 171934 w 207444"/>
                <a:gd name="connsiteY19" fmla="*/ 89138 h 113785"/>
                <a:gd name="connsiteX20" fmla="*/ 185369 w 207444"/>
                <a:gd name="connsiteY20" fmla="*/ 86650 h 113785"/>
                <a:gd name="connsiteX21" fmla="*/ 180891 w 207444"/>
                <a:gd name="connsiteY21" fmla="*/ 78854 h 113785"/>
                <a:gd name="connsiteX22" fmla="*/ 173924 w 207444"/>
                <a:gd name="connsiteY22" fmla="*/ 53808 h 113785"/>
                <a:gd name="connsiteX23" fmla="*/ 200463 w 207444"/>
                <a:gd name="connsiteY23" fmla="*/ 25278 h 113785"/>
                <a:gd name="connsiteX24" fmla="*/ 207430 w 207444"/>
                <a:gd name="connsiteY24" fmla="*/ 18146 h 113785"/>
                <a:gd name="connsiteX25" fmla="*/ 187194 w 207444"/>
                <a:gd name="connsiteY25" fmla="*/ 8691 h 113785"/>
                <a:gd name="connsiteX26" fmla="*/ 160489 w 207444"/>
                <a:gd name="connsiteY26" fmla="*/ 896 h 11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7444" h="113785">
                  <a:moveTo>
                    <a:pt x="160489" y="896"/>
                  </a:moveTo>
                  <a:cubicBezTo>
                    <a:pt x="146987" y="-763"/>
                    <a:pt x="133287" y="1659"/>
                    <a:pt x="121178" y="7862"/>
                  </a:cubicBezTo>
                  <a:cubicBezTo>
                    <a:pt x="115191" y="14480"/>
                    <a:pt x="106549" y="18080"/>
                    <a:pt x="97625" y="17648"/>
                  </a:cubicBezTo>
                  <a:cubicBezTo>
                    <a:pt x="85898" y="16355"/>
                    <a:pt x="74072" y="16023"/>
                    <a:pt x="62295" y="16653"/>
                  </a:cubicBezTo>
                  <a:cubicBezTo>
                    <a:pt x="57319" y="17648"/>
                    <a:pt x="30780" y="11677"/>
                    <a:pt x="26965" y="12672"/>
                  </a:cubicBezTo>
                  <a:cubicBezTo>
                    <a:pt x="23150" y="13668"/>
                    <a:pt x="16847" y="1393"/>
                    <a:pt x="8056" y="-100"/>
                  </a:cubicBezTo>
                  <a:cubicBezTo>
                    <a:pt x="7459" y="1211"/>
                    <a:pt x="6480" y="2306"/>
                    <a:pt x="5236" y="3052"/>
                  </a:cubicBezTo>
                  <a:cubicBezTo>
                    <a:pt x="-1083" y="8492"/>
                    <a:pt x="-1797" y="18013"/>
                    <a:pt x="3627" y="24333"/>
                  </a:cubicBezTo>
                  <a:cubicBezTo>
                    <a:pt x="4125" y="24913"/>
                    <a:pt x="4656" y="25444"/>
                    <a:pt x="5236" y="25942"/>
                  </a:cubicBezTo>
                  <a:cubicBezTo>
                    <a:pt x="12700" y="32577"/>
                    <a:pt x="21823" y="47339"/>
                    <a:pt x="15520" y="47339"/>
                  </a:cubicBezTo>
                  <a:cubicBezTo>
                    <a:pt x="9117" y="48483"/>
                    <a:pt x="4473" y="54106"/>
                    <a:pt x="4573" y="60608"/>
                  </a:cubicBezTo>
                  <a:cubicBezTo>
                    <a:pt x="4573" y="65087"/>
                    <a:pt x="2251" y="74541"/>
                    <a:pt x="4573" y="77195"/>
                  </a:cubicBezTo>
                  <a:cubicBezTo>
                    <a:pt x="11589" y="83448"/>
                    <a:pt x="17793" y="90581"/>
                    <a:pt x="22984" y="98426"/>
                  </a:cubicBezTo>
                  <a:cubicBezTo>
                    <a:pt x="22984" y="102407"/>
                    <a:pt x="29951" y="104398"/>
                    <a:pt x="29453" y="107881"/>
                  </a:cubicBezTo>
                  <a:cubicBezTo>
                    <a:pt x="44249" y="105824"/>
                    <a:pt x="59276" y="105824"/>
                    <a:pt x="74072" y="107881"/>
                  </a:cubicBezTo>
                  <a:cubicBezTo>
                    <a:pt x="85583" y="111165"/>
                    <a:pt x="97442" y="113106"/>
                    <a:pt x="109402" y="113686"/>
                  </a:cubicBezTo>
                  <a:cubicBezTo>
                    <a:pt x="117198" y="113686"/>
                    <a:pt x="124164" y="110866"/>
                    <a:pt x="122173" y="105890"/>
                  </a:cubicBezTo>
                  <a:cubicBezTo>
                    <a:pt x="120183" y="100914"/>
                    <a:pt x="130799" y="98924"/>
                    <a:pt x="138760" y="98260"/>
                  </a:cubicBezTo>
                  <a:cubicBezTo>
                    <a:pt x="137434" y="93782"/>
                    <a:pt x="136438" y="89967"/>
                    <a:pt x="138760" y="89138"/>
                  </a:cubicBezTo>
                  <a:cubicBezTo>
                    <a:pt x="149625" y="86235"/>
                    <a:pt x="161070" y="86235"/>
                    <a:pt x="171934" y="89138"/>
                  </a:cubicBezTo>
                  <a:cubicBezTo>
                    <a:pt x="176529" y="90863"/>
                    <a:pt x="181687" y="89901"/>
                    <a:pt x="185369" y="86650"/>
                  </a:cubicBezTo>
                  <a:cubicBezTo>
                    <a:pt x="184208" y="82503"/>
                    <a:pt x="183047" y="79351"/>
                    <a:pt x="180891" y="78854"/>
                  </a:cubicBezTo>
                  <a:cubicBezTo>
                    <a:pt x="175417" y="77859"/>
                    <a:pt x="167124" y="55300"/>
                    <a:pt x="173924" y="53808"/>
                  </a:cubicBezTo>
                  <a:cubicBezTo>
                    <a:pt x="180725" y="52315"/>
                    <a:pt x="189682" y="28761"/>
                    <a:pt x="200463" y="25278"/>
                  </a:cubicBezTo>
                  <a:cubicBezTo>
                    <a:pt x="203946" y="24416"/>
                    <a:pt x="206650" y="21662"/>
                    <a:pt x="207430" y="18146"/>
                  </a:cubicBezTo>
                  <a:cubicBezTo>
                    <a:pt x="200132" y="16321"/>
                    <a:pt x="193265" y="13120"/>
                    <a:pt x="187194" y="8691"/>
                  </a:cubicBezTo>
                  <a:cubicBezTo>
                    <a:pt x="184042" y="3881"/>
                    <a:pt x="168451" y="1891"/>
                    <a:pt x="160489" y="896"/>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7" name="Freeform: Shape 566">
              <a:extLst>
                <a:ext uri="{FF2B5EF4-FFF2-40B4-BE49-F238E27FC236}">
                  <a16:creationId xmlns:a16="http://schemas.microsoft.com/office/drawing/2014/main" id="{3B25FD1F-8DA3-4EDE-AC66-09A5EA440F29}"/>
                </a:ext>
              </a:extLst>
            </p:cNvPr>
            <p:cNvSpPr/>
            <p:nvPr/>
          </p:nvSpPr>
          <p:spPr>
            <a:xfrm>
              <a:off x="5910332" y="3419489"/>
              <a:ext cx="75649" cy="51751"/>
            </a:xfrm>
            <a:custGeom>
              <a:avLst/>
              <a:gdLst>
                <a:gd name="connsiteX0" fmla="*/ 20130 w 88466"/>
                <a:gd name="connsiteY0" fmla="*/ 61604 h 61703"/>
                <a:gd name="connsiteX1" fmla="*/ 20130 w 88466"/>
                <a:gd name="connsiteY1" fmla="*/ 61604 h 61703"/>
                <a:gd name="connsiteX2" fmla="*/ 21458 w 88466"/>
                <a:gd name="connsiteY2" fmla="*/ 61604 h 61703"/>
                <a:gd name="connsiteX3" fmla="*/ 21458 w 88466"/>
                <a:gd name="connsiteY3" fmla="*/ 61604 h 61703"/>
                <a:gd name="connsiteX4" fmla="*/ 23448 w 88466"/>
                <a:gd name="connsiteY4" fmla="*/ 61604 h 61703"/>
                <a:gd name="connsiteX5" fmla="*/ 23448 w 88466"/>
                <a:gd name="connsiteY5" fmla="*/ 61604 h 61703"/>
                <a:gd name="connsiteX6" fmla="*/ 34064 w 88466"/>
                <a:gd name="connsiteY6" fmla="*/ 61604 h 61703"/>
                <a:gd name="connsiteX7" fmla="*/ 38542 w 88466"/>
                <a:gd name="connsiteY7" fmla="*/ 61604 h 61703"/>
                <a:gd name="connsiteX8" fmla="*/ 42025 w 88466"/>
                <a:gd name="connsiteY8" fmla="*/ 61604 h 61703"/>
                <a:gd name="connsiteX9" fmla="*/ 57451 w 88466"/>
                <a:gd name="connsiteY9" fmla="*/ 51983 h 61703"/>
                <a:gd name="connsiteX10" fmla="*/ 88303 w 88466"/>
                <a:gd name="connsiteY10" fmla="*/ 37884 h 61703"/>
                <a:gd name="connsiteX11" fmla="*/ 88303 w 88466"/>
                <a:gd name="connsiteY11" fmla="*/ 36391 h 61703"/>
                <a:gd name="connsiteX12" fmla="*/ 81833 w 88466"/>
                <a:gd name="connsiteY12" fmla="*/ 26937 h 61703"/>
                <a:gd name="connsiteX13" fmla="*/ 63422 w 88466"/>
                <a:gd name="connsiteY13" fmla="*/ 5706 h 61703"/>
                <a:gd name="connsiteX14" fmla="*/ 63422 w 88466"/>
                <a:gd name="connsiteY14" fmla="*/ 3384 h 61703"/>
                <a:gd name="connsiteX15" fmla="*/ 63422 w 88466"/>
                <a:gd name="connsiteY15" fmla="*/ 3384 h 61703"/>
                <a:gd name="connsiteX16" fmla="*/ 63422 w 88466"/>
                <a:gd name="connsiteY16" fmla="*/ -100 h 61703"/>
                <a:gd name="connsiteX17" fmla="*/ 6198 w 88466"/>
                <a:gd name="connsiteY17" fmla="*/ 10350 h 61703"/>
                <a:gd name="connsiteX18" fmla="*/ 4207 w 88466"/>
                <a:gd name="connsiteY18" fmla="*/ 8857 h 61703"/>
                <a:gd name="connsiteX19" fmla="*/ 558 w 88466"/>
                <a:gd name="connsiteY19" fmla="*/ 43358 h 61703"/>
                <a:gd name="connsiteX20" fmla="*/ 20130 w 88466"/>
                <a:gd name="connsiteY20" fmla="*/ 61604 h 6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466" h="61703">
                  <a:moveTo>
                    <a:pt x="20130" y="61604"/>
                  </a:moveTo>
                  <a:lnTo>
                    <a:pt x="20130" y="61604"/>
                  </a:lnTo>
                  <a:cubicBezTo>
                    <a:pt x="20562" y="61521"/>
                    <a:pt x="21026" y="61521"/>
                    <a:pt x="21458" y="61604"/>
                  </a:cubicBezTo>
                  <a:lnTo>
                    <a:pt x="21458" y="61604"/>
                  </a:lnTo>
                  <a:lnTo>
                    <a:pt x="23448" y="61604"/>
                  </a:lnTo>
                  <a:lnTo>
                    <a:pt x="23448" y="61604"/>
                  </a:lnTo>
                  <a:cubicBezTo>
                    <a:pt x="26433" y="61604"/>
                    <a:pt x="30249" y="61604"/>
                    <a:pt x="34064" y="61604"/>
                  </a:cubicBezTo>
                  <a:lnTo>
                    <a:pt x="38542" y="61604"/>
                  </a:lnTo>
                  <a:lnTo>
                    <a:pt x="42025" y="61604"/>
                  </a:lnTo>
                  <a:cubicBezTo>
                    <a:pt x="50816" y="59447"/>
                    <a:pt x="52972" y="49827"/>
                    <a:pt x="57451" y="51983"/>
                  </a:cubicBezTo>
                  <a:cubicBezTo>
                    <a:pt x="61930" y="54139"/>
                    <a:pt x="85483" y="42197"/>
                    <a:pt x="88303" y="37884"/>
                  </a:cubicBezTo>
                  <a:cubicBezTo>
                    <a:pt x="88501" y="37403"/>
                    <a:pt x="88501" y="36873"/>
                    <a:pt x="88303" y="36391"/>
                  </a:cubicBezTo>
                  <a:cubicBezTo>
                    <a:pt x="88303" y="32908"/>
                    <a:pt x="82497" y="30918"/>
                    <a:pt x="81833" y="26937"/>
                  </a:cubicBezTo>
                  <a:cubicBezTo>
                    <a:pt x="76642" y="19091"/>
                    <a:pt x="70439" y="11959"/>
                    <a:pt x="63422" y="5706"/>
                  </a:cubicBezTo>
                  <a:cubicBezTo>
                    <a:pt x="63207" y="4943"/>
                    <a:pt x="63207" y="4147"/>
                    <a:pt x="63422" y="3384"/>
                  </a:cubicBezTo>
                  <a:lnTo>
                    <a:pt x="63422" y="3384"/>
                  </a:lnTo>
                  <a:cubicBezTo>
                    <a:pt x="63339" y="2223"/>
                    <a:pt x="63339" y="1061"/>
                    <a:pt x="63422" y="-100"/>
                  </a:cubicBezTo>
                  <a:cubicBezTo>
                    <a:pt x="40366" y="3218"/>
                    <a:pt x="6198" y="10350"/>
                    <a:pt x="6198" y="10350"/>
                  </a:cubicBezTo>
                  <a:lnTo>
                    <a:pt x="4207" y="8857"/>
                  </a:lnTo>
                  <a:cubicBezTo>
                    <a:pt x="376" y="19937"/>
                    <a:pt x="-868" y="31731"/>
                    <a:pt x="558" y="43358"/>
                  </a:cubicBezTo>
                  <a:cubicBezTo>
                    <a:pt x="3212" y="48666"/>
                    <a:pt x="10179" y="53973"/>
                    <a:pt x="20130" y="61604"/>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8" name="Freeform: Shape 567">
              <a:extLst>
                <a:ext uri="{FF2B5EF4-FFF2-40B4-BE49-F238E27FC236}">
                  <a16:creationId xmlns:a16="http://schemas.microsoft.com/office/drawing/2014/main" id="{E1F091DD-746C-438D-A556-09C30D8E86D7}"/>
                </a:ext>
              </a:extLst>
            </p:cNvPr>
            <p:cNvSpPr/>
            <p:nvPr/>
          </p:nvSpPr>
          <p:spPr>
            <a:xfrm>
              <a:off x="5959047" y="3061491"/>
              <a:ext cx="506811" cy="285784"/>
            </a:xfrm>
            <a:custGeom>
              <a:avLst/>
              <a:gdLst>
                <a:gd name="connsiteX0" fmla="*/ 527778 w 592678"/>
                <a:gd name="connsiteY0" fmla="*/ 213604 h 340743"/>
                <a:gd name="connsiteX1" fmla="*/ 553488 w 592678"/>
                <a:gd name="connsiteY1" fmla="*/ 196022 h 340743"/>
                <a:gd name="connsiteX2" fmla="*/ 580690 w 592678"/>
                <a:gd name="connsiteY2" fmla="*/ 196022 h 340743"/>
                <a:gd name="connsiteX3" fmla="*/ 586662 w 592678"/>
                <a:gd name="connsiteY3" fmla="*/ 176118 h 340743"/>
                <a:gd name="connsiteX4" fmla="*/ 579363 w 592678"/>
                <a:gd name="connsiteY4" fmla="*/ 163678 h 340743"/>
                <a:gd name="connsiteX5" fmla="*/ 591140 w 592678"/>
                <a:gd name="connsiteY5" fmla="*/ 155550 h 340743"/>
                <a:gd name="connsiteX6" fmla="*/ 583013 w 592678"/>
                <a:gd name="connsiteY6" fmla="*/ 145930 h 340743"/>
                <a:gd name="connsiteX7" fmla="*/ 592633 w 592678"/>
                <a:gd name="connsiteY7" fmla="*/ 131997 h 340743"/>
                <a:gd name="connsiteX8" fmla="*/ 573392 w 592678"/>
                <a:gd name="connsiteY8" fmla="*/ 120221 h 340743"/>
                <a:gd name="connsiteX9" fmla="*/ 545360 w 592678"/>
                <a:gd name="connsiteY9" fmla="*/ 112756 h 340743"/>
                <a:gd name="connsiteX10" fmla="*/ 518158 w 592678"/>
                <a:gd name="connsiteY10" fmla="*/ 108444 h 340743"/>
                <a:gd name="connsiteX11" fmla="*/ 503395 w 592678"/>
                <a:gd name="connsiteY11" fmla="*/ 90696 h 340743"/>
                <a:gd name="connsiteX12" fmla="*/ 484984 w 592678"/>
                <a:gd name="connsiteY12" fmla="*/ 92189 h 340743"/>
                <a:gd name="connsiteX13" fmla="*/ 468397 w 592678"/>
                <a:gd name="connsiteY13" fmla="*/ 93682 h 340743"/>
                <a:gd name="connsiteX14" fmla="*/ 451811 w 592678"/>
                <a:gd name="connsiteY14" fmla="*/ 86218 h 340743"/>
                <a:gd name="connsiteX15" fmla="*/ 439204 w 592678"/>
                <a:gd name="connsiteY15" fmla="*/ 79583 h 340743"/>
                <a:gd name="connsiteX16" fmla="*/ 424608 w 592678"/>
                <a:gd name="connsiteY16" fmla="*/ 53873 h 340743"/>
                <a:gd name="connsiteX17" fmla="*/ 400225 w 592678"/>
                <a:gd name="connsiteY17" fmla="*/ 47902 h 340743"/>
                <a:gd name="connsiteX18" fmla="*/ 392762 w 592678"/>
                <a:gd name="connsiteY18" fmla="*/ 29491 h 340743"/>
                <a:gd name="connsiteX19" fmla="*/ 388449 w 592678"/>
                <a:gd name="connsiteY19" fmla="*/ 4444 h 340743"/>
                <a:gd name="connsiteX20" fmla="*/ 361246 w 592678"/>
                <a:gd name="connsiteY20" fmla="*/ 1459 h 340743"/>
                <a:gd name="connsiteX21" fmla="*/ 339020 w 592678"/>
                <a:gd name="connsiteY21" fmla="*/ 2288 h 340743"/>
                <a:gd name="connsiteX22" fmla="*/ 323594 w 592678"/>
                <a:gd name="connsiteY22" fmla="*/ 10416 h 340743"/>
                <a:gd name="connsiteX23" fmla="*/ 314472 w 592678"/>
                <a:gd name="connsiteY23" fmla="*/ 6601 h 340743"/>
                <a:gd name="connsiteX24" fmla="*/ 293075 w 592678"/>
                <a:gd name="connsiteY24" fmla="*/ 10913 h 340743"/>
                <a:gd name="connsiteX25" fmla="*/ 273502 w 592678"/>
                <a:gd name="connsiteY25" fmla="*/ 32476 h 340743"/>
                <a:gd name="connsiteX26" fmla="*/ 267531 w 592678"/>
                <a:gd name="connsiteY26" fmla="*/ 43258 h 340743"/>
                <a:gd name="connsiteX27" fmla="*/ 237177 w 592678"/>
                <a:gd name="connsiteY27" fmla="*/ 41267 h 340743"/>
                <a:gd name="connsiteX28" fmla="*/ 215448 w 592678"/>
                <a:gd name="connsiteY28" fmla="*/ 34467 h 340743"/>
                <a:gd name="connsiteX29" fmla="*/ 193885 w 592678"/>
                <a:gd name="connsiteY29" fmla="*/ 32476 h 340743"/>
                <a:gd name="connsiteX30" fmla="*/ 171327 w 592678"/>
                <a:gd name="connsiteY30" fmla="*/ 29491 h 340743"/>
                <a:gd name="connsiteX31" fmla="*/ 140808 w 592678"/>
                <a:gd name="connsiteY31" fmla="*/ 24515 h 340743"/>
                <a:gd name="connsiteX32" fmla="*/ 83915 w 592678"/>
                <a:gd name="connsiteY32" fmla="*/ 17714 h 340743"/>
                <a:gd name="connsiteX33" fmla="*/ 62186 w 592678"/>
                <a:gd name="connsiteY33" fmla="*/ 30486 h 340743"/>
                <a:gd name="connsiteX34" fmla="*/ 44438 w 592678"/>
                <a:gd name="connsiteY34" fmla="*/ 34467 h 340743"/>
                <a:gd name="connsiteX35" fmla="*/ 47258 w 592678"/>
                <a:gd name="connsiteY35" fmla="*/ 45746 h 340743"/>
                <a:gd name="connsiteX36" fmla="*/ 60527 w 592678"/>
                <a:gd name="connsiteY36" fmla="*/ 78090 h 340743"/>
                <a:gd name="connsiteX37" fmla="*/ 45765 w 592678"/>
                <a:gd name="connsiteY37" fmla="*/ 89867 h 340743"/>
                <a:gd name="connsiteX38" fmla="*/ 14748 w 592678"/>
                <a:gd name="connsiteY38" fmla="*/ 121713 h 340743"/>
                <a:gd name="connsiteX39" fmla="*/ 14748 w 592678"/>
                <a:gd name="connsiteY39" fmla="*/ 144437 h 340743"/>
                <a:gd name="connsiteX40" fmla="*/ -15 w 592678"/>
                <a:gd name="connsiteY40" fmla="*/ 168820 h 340743"/>
                <a:gd name="connsiteX41" fmla="*/ 14748 w 592678"/>
                <a:gd name="connsiteY41" fmla="*/ 185407 h 340743"/>
                <a:gd name="connsiteX42" fmla="*/ 20055 w 592678"/>
                <a:gd name="connsiteY42" fmla="*/ 189056 h 340743"/>
                <a:gd name="connsiteX43" fmla="*/ 32827 w 592678"/>
                <a:gd name="connsiteY43" fmla="*/ 188061 h 340743"/>
                <a:gd name="connsiteX44" fmla="*/ 66001 w 592678"/>
                <a:gd name="connsiteY44" fmla="*/ 194032 h 340743"/>
                <a:gd name="connsiteX45" fmla="*/ 85573 w 592678"/>
                <a:gd name="connsiteY45" fmla="*/ 199837 h 340743"/>
                <a:gd name="connsiteX46" fmla="*/ 100336 w 592678"/>
                <a:gd name="connsiteY46" fmla="*/ 195857 h 340743"/>
                <a:gd name="connsiteX47" fmla="*/ 116922 w 592678"/>
                <a:gd name="connsiteY47" fmla="*/ 194032 h 340743"/>
                <a:gd name="connsiteX48" fmla="*/ 135500 w 592678"/>
                <a:gd name="connsiteY48" fmla="*/ 184080 h 340743"/>
                <a:gd name="connsiteX49" fmla="*/ 175806 w 592678"/>
                <a:gd name="connsiteY49" fmla="*/ 170313 h 340743"/>
                <a:gd name="connsiteX50" fmla="*/ 202345 w 592678"/>
                <a:gd name="connsiteY50" fmla="*/ 185075 h 340743"/>
                <a:gd name="connsiteX51" fmla="*/ 225898 w 592678"/>
                <a:gd name="connsiteY51" fmla="*/ 202823 h 340743"/>
                <a:gd name="connsiteX52" fmla="*/ 246632 w 592678"/>
                <a:gd name="connsiteY52" fmla="*/ 235997 h 340743"/>
                <a:gd name="connsiteX53" fmla="*/ 254427 w 592678"/>
                <a:gd name="connsiteY53" fmla="*/ 257560 h 340743"/>
                <a:gd name="connsiteX54" fmla="*/ 231869 w 592678"/>
                <a:gd name="connsiteY54" fmla="*/ 253744 h 340743"/>
                <a:gd name="connsiteX55" fmla="*/ 219097 w 592678"/>
                <a:gd name="connsiteY55" fmla="*/ 268507 h 340743"/>
                <a:gd name="connsiteX56" fmla="*/ 199359 w 592678"/>
                <a:gd name="connsiteY56" fmla="*/ 298861 h 340743"/>
                <a:gd name="connsiteX57" fmla="*/ 212131 w 592678"/>
                <a:gd name="connsiteY57" fmla="*/ 306823 h 340743"/>
                <a:gd name="connsiteX58" fmla="*/ 230874 w 592678"/>
                <a:gd name="connsiteY58" fmla="*/ 298861 h 340743"/>
                <a:gd name="connsiteX59" fmla="*/ 242650 w 592678"/>
                <a:gd name="connsiteY59" fmla="*/ 307154 h 340743"/>
                <a:gd name="connsiteX60" fmla="*/ 258408 w 592678"/>
                <a:gd name="connsiteY60" fmla="*/ 282274 h 340743"/>
                <a:gd name="connsiteX61" fmla="*/ 286938 w 592678"/>
                <a:gd name="connsiteY61" fmla="*/ 249100 h 340743"/>
                <a:gd name="connsiteX62" fmla="*/ 323760 w 592678"/>
                <a:gd name="connsiteY62" fmla="*/ 243793 h 340743"/>
                <a:gd name="connsiteX63" fmla="*/ 327077 w 592678"/>
                <a:gd name="connsiteY63" fmla="*/ 265355 h 340743"/>
                <a:gd name="connsiteX64" fmla="*/ 381151 w 592678"/>
                <a:gd name="connsiteY64" fmla="*/ 273151 h 340743"/>
                <a:gd name="connsiteX65" fmla="*/ 337030 w 592678"/>
                <a:gd name="connsiteY65" fmla="*/ 297700 h 340743"/>
                <a:gd name="connsiteX66" fmla="*/ 370203 w 592678"/>
                <a:gd name="connsiteY66" fmla="*/ 312960 h 340743"/>
                <a:gd name="connsiteX67" fmla="*/ 371696 w 592678"/>
                <a:gd name="connsiteY67" fmla="*/ 338503 h 340743"/>
                <a:gd name="connsiteX68" fmla="*/ 398733 w 592678"/>
                <a:gd name="connsiteY68" fmla="*/ 332200 h 340743"/>
                <a:gd name="connsiteX69" fmla="*/ 430745 w 592678"/>
                <a:gd name="connsiteY69" fmla="*/ 318433 h 340743"/>
                <a:gd name="connsiteX70" fmla="*/ 474866 w 592678"/>
                <a:gd name="connsiteY70" fmla="*/ 311964 h 340743"/>
                <a:gd name="connsiteX71" fmla="*/ 441692 w 592678"/>
                <a:gd name="connsiteY71" fmla="*/ 303173 h 340743"/>
                <a:gd name="connsiteX72" fmla="*/ 414656 w 592678"/>
                <a:gd name="connsiteY72" fmla="*/ 281395 h 340743"/>
                <a:gd name="connsiteX73" fmla="*/ 414656 w 592678"/>
                <a:gd name="connsiteY73" fmla="*/ 276137 h 340743"/>
                <a:gd name="connsiteX74" fmla="*/ 456289 w 592678"/>
                <a:gd name="connsiteY74" fmla="*/ 249598 h 340743"/>
                <a:gd name="connsiteX75" fmla="*/ 498586 w 592678"/>
                <a:gd name="connsiteY75" fmla="*/ 236826 h 340743"/>
                <a:gd name="connsiteX76" fmla="*/ 525622 w 592678"/>
                <a:gd name="connsiteY76" fmla="*/ 229196 h 340743"/>
                <a:gd name="connsiteX77" fmla="*/ 527778 w 592678"/>
                <a:gd name="connsiteY77" fmla="*/ 213604 h 34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92678" h="340743">
                  <a:moveTo>
                    <a:pt x="527778" y="213604"/>
                  </a:moveTo>
                  <a:cubicBezTo>
                    <a:pt x="532920" y="213604"/>
                    <a:pt x="548346" y="196022"/>
                    <a:pt x="553488" y="196022"/>
                  </a:cubicBezTo>
                  <a:cubicBezTo>
                    <a:pt x="558630" y="196022"/>
                    <a:pt x="580690" y="200335"/>
                    <a:pt x="580690" y="196022"/>
                  </a:cubicBezTo>
                  <a:cubicBezTo>
                    <a:pt x="580690" y="191710"/>
                    <a:pt x="588154" y="179436"/>
                    <a:pt x="586662" y="176118"/>
                  </a:cubicBezTo>
                  <a:cubicBezTo>
                    <a:pt x="585168" y="172801"/>
                    <a:pt x="577871" y="167327"/>
                    <a:pt x="579363" y="163678"/>
                  </a:cubicBezTo>
                  <a:cubicBezTo>
                    <a:pt x="580856" y="160029"/>
                    <a:pt x="591140" y="160029"/>
                    <a:pt x="591140" y="155550"/>
                  </a:cubicBezTo>
                  <a:cubicBezTo>
                    <a:pt x="591140" y="151072"/>
                    <a:pt x="583013" y="148916"/>
                    <a:pt x="583013" y="145930"/>
                  </a:cubicBezTo>
                  <a:cubicBezTo>
                    <a:pt x="583013" y="142945"/>
                    <a:pt x="593296" y="137803"/>
                    <a:pt x="592633" y="131997"/>
                  </a:cubicBezTo>
                  <a:cubicBezTo>
                    <a:pt x="591969" y="126192"/>
                    <a:pt x="583013" y="125363"/>
                    <a:pt x="573392" y="120221"/>
                  </a:cubicBezTo>
                  <a:cubicBezTo>
                    <a:pt x="563772" y="115079"/>
                    <a:pt x="554151" y="117235"/>
                    <a:pt x="545360" y="112756"/>
                  </a:cubicBezTo>
                  <a:cubicBezTo>
                    <a:pt x="536569" y="108278"/>
                    <a:pt x="518158" y="111264"/>
                    <a:pt x="518158" y="108444"/>
                  </a:cubicBezTo>
                  <a:cubicBezTo>
                    <a:pt x="518158" y="105624"/>
                    <a:pt x="506381" y="95838"/>
                    <a:pt x="503395" y="90696"/>
                  </a:cubicBezTo>
                  <a:cubicBezTo>
                    <a:pt x="500410" y="85554"/>
                    <a:pt x="490790" y="88540"/>
                    <a:pt x="484984" y="92189"/>
                  </a:cubicBezTo>
                  <a:cubicBezTo>
                    <a:pt x="480307" y="96103"/>
                    <a:pt x="473689" y="96701"/>
                    <a:pt x="468397" y="93682"/>
                  </a:cubicBezTo>
                  <a:cubicBezTo>
                    <a:pt x="462426" y="89867"/>
                    <a:pt x="457284" y="84061"/>
                    <a:pt x="451811" y="86218"/>
                  </a:cubicBezTo>
                  <a:cubicBezTo>
                    <a:pt x="446337" y="88374"/>
                    <a:pt x="437048" y="86218"/>
                    <a:pt x="439204" y="79583"/>
                  </a:cubicBezTo>
                  <a:cubicBezTo>
                    <a:pt x="441361" y="72948"/>
                    <a:pt x="429750" y="56029"/>
                    <a:pt x="424608" y="53873"/>
                  </a:cubicBezTo>
                  <a:cubicBezTo>
                    <a:pt x="419466" y="51717"/>
                    <a:pt x="403874" y="55366"/>
                    <a:pt x="400225" y="47902"/>
                  </a:cubicBezTo>
                  <a:cubicBezTo>
                    <a:pt x="396576" y="40438"/>
                    <a:pt x="389942" y="34633"/>
                    <a:pt x="392762" y="29491"/>
                  </a:cubicBezTo>
                  <a:cubicBezTo>
                    <a:pt x="394553" y="20899"/>
                    <a:pt x="393010" y="11942"/>
                    <a:pt x="388449" y="4444"/>
                  </a:cubicBezTo>
                  <a:cubicBezTo>
                    <a:pt x="384800" y="-1361"/>
                    <a:pt x="366389" y="-697"/>
                    <a:pt x="361246" y="1459"/>
                  </a:cubicBezTo>
                  <a:cubicBezTo>
                    <a:pt x="356104" y="3615"/>
                    <a:pt x="344659" y="-697"/>
                    <a:pt x="339020" y="2288"/>
                  </a:cubicBezTo>
                  <a:cubicBezTo>
                    <a:pt x="333380" y="5274"/>
                    <a:pt x="330892" y="10416"/>
                    <a:pt x="323594" y="10416"/>
                  </a:cubicBezTo>
                  <a:cubicBezTo>
                    <a:pt x="320078" y="10930"/>
                    <a:pt x="316578" y="9454"/>
                    <a:pt x="314472" y="6601"/>
                  </a:cubicBezTo>
                  <a:cubicBezTo>
                    <a:pt x="307571" y="9022"/>
                    <a:pt x="300373" y="10466"/>
                    <a:pt x="293075" y="10913"/>
                  </a:cubicBezTo>
                  <a:cubicBezTo>
                    <a:pt x="293075" y="10913"/>
                    <a:pt x="273502" y="26505"/>
                    <a:pt x="273502" y="32476"/>
                  </a:cubicBezTo>
                  <a:cubicBezTo>
                    <a:pt x="273502" y="38447"/>
                    <a:pt x="272507" y="49063"/>
                    <a:pt x="267531" y="43258"/>
                  </a:cubicBezTo>
                  <a:cubicBezTo>
                    <a:pt x="258043" y="38746"/>
                    <a:pt x="247179" y="38033"/>
                    <a:pt x="237177" y="41267"/>
                  </a:cubicBezTo>
                  <a:cubicBezTo>
                    <a:pt x="232201" y="44253"/>
                    <a:pt x="224405" y="29491"/>
                    <a:pt x="215448" y="34467"/>
                  </a:cubicBezTo>
                  <a:cubicBezTo>
                    <a:pt x="206491" y="39443"/>
                    <a:pt x="194880" y="27500"/>
                    <a:pt x="193885" y="32476"/>
                  </a:cubicBezTo>
                  <a:cubicBezTo>
                    <a:pt x="192890" y="37452"/>
                    <a:pt x="180118" y="33471"/>
                    <a:pt x="171327" y="29491"/>
                  </a:cubicBezTo>
                  <a:cubicBezTo>
                    <a:pt x="162536" y="25510"/>
                    <a:pt x="146613" y="31481"/>
                    <a:pt x="140808" y="24515"/>
                  </a:cubicBezTo>
                  <a:cubicBezTo>
                    <a:pt x="135002" y="17548"/>
                    <a:pt x="96521" y="17714"/>
                    <a:pt x="83915" y="17714"/>
                  </a:cubicBezTo>
                  <a:cubicBezTo>
                    <a:pt x="71309" y="17714"/>
                    <a:pt x="68157" y="24515"/>
                    <a:pt x="62186" y="30486"/>
                  </a:cubicBezTo>
                  <a:cubicBezTo>
                    <a:pt x="57227" y="34516"/>
                    <a:pt x="50658" y="35993"/>
                    <a:pt x="44438" y="34467"/>
                  </a:cubicBezTo>
                  <a:cubicBezTo>
                    <a:pt x="44604" y="38381"/>
                    <a:pt x="45566" y="42213"/>
                    <a:pt x="47258" y="45746"/>
                  </a:cubicBezTo>
                  <a:cubicBezTo>
                    <a:pt x="50078" y="50224"/>
                    <a:pt x="63844" y="71455"/>
                    <a:pt x="60527" y="78090"/>
                  </a:cubicBezTo>
                  <a:cubicBezTo>
                    <a:pt x="57210" y="84725"/>
                    <a:pt x="50078" y="84725"/>
                    <a:pt x="45765" y="89867"/>
                  </a:cubicBezTo>
                  <a:cubicBezTo>
                    <a:pt x="34834" y="99885"/>
                    <a:pt x="24467" y="110517"/>
                    <a:pt x="14748" y="121713"/>
                  </a:cubicBezTo>
                  <a:cubicBezTo>
                    <a:pt x="14748" y="125363"/>
                    <a:pt x="19226" y="141452"/>
                    <a:pt x="14748" y="144437"/>
                  </a:cubicBezTo>
                  <a:cubicBezTo>
                    <a:pt x="7897" y="151238"/>
                    <a:pt x="2838" y="159614"/>
                    <a:pt x="-15" y="168820"/>
                  </a:cubicBezTo>
                  <a:cubicBezTo>
                    <a:pt x="-15" y="174625"/>
                    <a:pt x="8113" y="182753"/>
                    <a:pt x="14748" y="185407"/>
                  </a:cubicBezTo>
                  <a:cubicBezTo>
                    <a:pt x="16904" y="185921"/>
                    <a:pt x="18795" y="187231"/>
                    <a:pt x="20055" y="189056"/>
                  </a:cubicBezTo>
                  <a:cubicBezTo>
                    <a:pt x="24285" y="188475"/>
                    <a:pt x="28548" y="188144"/>
                    <a:pt x="32827" y="188061"/>
                  </a:cubicBezTo>
                  <a:cubicBezTo>
                    <a:pt x="37803" y="188061"/>
                    <a:pt x="59366" y="194032"/>
                    <a:pt x="66001" y="194032"/>
                  </a:cubicBezTo>
                  <a:cubicBezTo>
                    <a:pt x="72951" y="193982"/>
                    <a:pt x="79768" y="196006"/>
                    <a:pt x="85573" y="199837"/>
                  </a:cubicBezTo>
                  <a:cubicBezTo>
                    <a:pt x="88559" y="202823"/>
                    <a:pt x="95359" y="200833"/>
                    <a:pt x="100336" y="195857"/>
                  </a:cubicBezTo>
                  <a:cubicBezTo>
                    <a:pt x="105312" y="190880"/>
                    <a:pt x="111117" y="194032"/>
                    <a:pt x="116922" y="194032"/>
                  </a:cubicBezTo>
                  <a:cubicBezTo>
                    <a:pt x="124221" y="193402"/>
                    <a:pt x="130938" y="189802"/>
                    <a:pt x="135500" y="184080"/>
                  </a:cubicBezTo>
                  <a:cubicBezTo>
                    <a:pt x="147989" y="177080"/>
                    <a:pt x="161640" y="172403"/>
                    <a:pt x="175806" y="170313"/>
                  </a:cubicBezTo>
                  <a:cubicBezTo>
                    <a:pt x="183767" y="169318"/>
                    <a:pt x="195544" y="185075"/>
                    <a:pt x="202345" y="185075"/>
                  </a:cubicBezTo>
                  <a:cubicBezTo>
                    <a:pt x="213126" y="185506"/>
                    <a:pt x="222514" y="192572"/>
                    <a:pt x="225898" y="202823"/>
                  </a:cubicBezTo>
                  <a:cubicBezTo>
                    <a:pt x="230592" y="215131"/>
                    <a:pt x="237625" y="226393"/>
                    <a:pt x="246632" y="235997"/>
                  </a:cubicBezTo>
                  <a:cubicBezTo>
                    <a:pt x="251143" y="242349"/>
                    <a:pt x="253830" y="249797"/>
                    <a:pt x="254427" y="257560"/>
                  </a:cubicBezTo>
                  <a:cubicBezTo>
                    <a:pt x="254427" y="261540"/>
                    <a:pt x="243646" y="256730"/>
                    <a:pt x="231869" y="253744"/>
                  </a:cubicBezTo>
                  <a:cubicBezTo>
                    <a:pt x="220093" y="250759"/>
                    <a:pt x="219097" y="262536"/>
                    <a:pt x="219097" y="268507"/>
                  </a:cubicBezTo>
                  <a:cubicBezTo>
                    <a:pt x="214055" y="279554"/>
                    <a:pt x="207403" y="289771"/>
                    <a:pt x="199359" y="298861"/>
                  </a:cubicBezTo>
                  <a:cubicBezTo>
                    <a:pt x="196539" y="302842"/>
                    <a:pt x="205330" y="305827"/>
                    <a:pt x="212131" y="306823"/>
                  </a:cubicBezTo>
                  <a:cubicBezTo>
                    <a:pt x="215116" y="306823"/>
                    <a:pt x="226893" y="298861"/>
                    <a:pt x="230874" y="298861"/>
                  </a:cubicBezTo>
                  <a:cubicBezTo>
                    <a:pt x="235253" y="300901"/>
                    <a:pt x="239250" y="303721"/>
                    <a:pt x="242650" y="307154"/>
                  </a:cubicBezTo>
                  <a:cubicBezTo>
                    <a:pt x="241490" y="291728"/>
                    <a:pt x="244641" y="292724"/>
                    <a:pt x="258408" y="282274"/>
                  </a:cubicBezTo>
                  <a:cubicBezTo>
                    <a:pt x="272175" y="271824"/>
                    <a:pt x="274000" y="251257"/>
                    <a:pt x="286938" y="249100"/>
                  </a:cubicBezTo>
                  <a:cubicBezTo>
                    <a:pt x="298565" y="244224"/>
                    <a:pt x="311237" y="242399"/>
                    <a:pt x="323760" y="243793"/>
                  </a:cubicBezTo>
                  <a:cubicBezTo>
                    <a:pt x="342337" y="246612"/>
                    <a:pt x="314472" y="258389"/>
                    <a:pt x="327077" y="265355"/>
                  </a:cubicBezTo>
                  <a:cubicBezTo>
                    <a:pt x="339683" y="272322"/>
                    <a:pt x="379160" y="263365"/>
                    <a:pt x="381151" y="273151"/>
                  </a:cubicBezTo>
                  <a:cubicBezTo>
                    <a:pt x="383141" y="282937"/>
                    <a:pt x="336034" y="292889"/>
                    <a:pt x="337030" y="297700"/>
                  </a:cubicBezTo>
                  <a:cubicBezTo>
                    <a:pt x="338025" y="302510"/>
                    <a:pt x="362076" y="307652"/>
                    <a:pt x="370203" y="312960"/>
                  </a:cubicBezTo>
                  <a:cubicBezTo>
                    <a:pt x="378331" y="318267"/>
                    <a:pt x="367715" y="333693"/>
                    <a:pt x="371696" y="338503"/>
                  </a:cubicBezTo>
                  <a:cubicBezTo>
                    <a:pt x="375677" y="343314"/>
                    <a:pt x="388283" y="339499"/>
                    <a:pt x="398733" y="332200"/>
                  </a:cubicBezTo>
                  <a:cubicBezTo>
                    <a:pt x="409182" y="324902"/>
                    <a:pt x="417310" y="327224"/>
                    <a:pt x="430745" y="318433"/>
                  </a:cubicBezTo>
                  <a:cubicBezTo>
                    <a:pt x="444180" y="309642"/>
                    <a:pt x="471383" y="317438"/>
                    <a:pt x="474866" y="311964"/>
                  </a:cubicBezTo>
                  <a:cubicBezTo>
                    <a:pt x="478350" y="306491"/>
                    <a:pt x="467070" y="301183"/>
                    <a:pt x="441692" y="303173"/>
                  </a:cubicBezTo>
                  <a:cubicBezTo>
                    <a:pt x="428208" y="304633"/>
                    <a:pt x="416116" y="294880"/>
                    <a:pt x="414656" y="281395"/>
                  </a:cubicBezTo>
                  <a:cubicBezTo>
                    <a:pt x="414474" y="279653"/>
                    <a:pt x="414474" y="277878"/>
                    <a:pt x="414656" y="276137"/>
                  </a:cubicBezTo>
                  <a:cubicBezTo>
                    <a:pt x="425073" y="262768"/>
                    <a:pt x="439768" y="253396"/>
                    <a:pt x="456289" y="249598"/>
                  </a:cubicBezTo>
                  <a:cubicBezTo>
                    <a:pt x="471051" y="247956"/>
                    <a:pt x="485382" y="243627"/>
                    <a:pt x="498586" y="236826"/>
                  </a:cubicBezTo>
                  <a:cubicBezTo>
                    <a:pt x="507343" y="233442"/>
                    <a:pt x="516383" y="230888"/>
                    <a:pt x="525622" y="229196"/>
                  </a:cubicBezTo>
                  <a:cubicBezTo>
                    <a:pt x="525290" y="222395"/>
                    <a:pt x="523300" y="214268"/>
                    <a:pt x="527778" y="213604"/>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69" name="Freeform: Shape 568">
              <a:extLst>
                <a:ext uri="{FF2B5EF4-FFF2-40B4-BE49-F238E27FC236}">
                  <a16:creationId xmlns:a16="http://schemas.microsoft.com/office/drawing/2014/main" id="{CE802FB0-CECA-403A-BA9D-3540474AA21F}"/>
                </a:ext>
              </a:extLst>
            </p:cNvPr>
            <p:cNvSpPr/>
            <p:nvPr/>
          </p:nvSpPr>
          <p:spPr>
            <a:xfrm>
              <a:off x="5989117" y="2913666"/>
              <a:ext cx="266138" cy="186016"/>
            </a:xfrm>
            <a:custGeom>
              <a:avLst/>
              <a:gdLst>
                <a:gd name="connsiteX0" fmla="*/ 291415 w 311229"/>
                <a:gd name="connsiteY0" fmla="*/ 109871 h 221789"/>
                <a:gd name="connsiteX1" fmla="*/ 272174 w 311229"/>
                <a:gd name="connsiteY1" fmla="*/ 91460 h 221789"/>
                <a:gd name="connsiteX2" fmla="*/ 256749 w 311229"/>
                <a:gd name="connsiteY2" fmla="*/ 70892 h 221789"/>
                <a:gd name="connsiteX3" fmla="*/ 253100 w 311229"/>
                <a:gd name="connsiteY3" fmla="*/ 47173 h 221789"/>
                <a:gd name="connsiteX4" fmla="*/ 250114 w 311229"/>
                <a:gd name="connsiteY4" fmla="*/ 24449 h 221789"/>
                <a:gd name="connsiteX5" fmla="*/ 219097 w 311229"/>
                <a:gd name="connsiteY5" fmla="*/ 15492 h 221789"/>
                <a:gd name="connsiteX6" fmla="*/ 201515 w 311229"/>
                <a:gd name="connsiteY6" fmla="*/ 15492 h 221789"/>
                <a:gd name="connsiteX7" fmla="*/ 184928 w 311229"/>
                <a:gd name="connsiteY7" fmla="*/ 7531 h 221789"/>
                <a:gd name="connsiteX8" fmla="*/ 167346 w 311229"/>
                <a:gd name="connsiteY8" fmla="*/ 2223 h 221789"/>
                <a:gd name="connsiteX9" fmla="*/ 165687 w 311229"/>
                <a:gd name="connsiteY9" fmla="*/ -100 h 221789"/>
                <a:gd name="connsiteX10" fmla="*/ 155238 w 311229"/>
                <a:gd name="connsiteY10" fmla="*/ 4047 h 221789"/>
                <a:gd name="connsiteX11" fmla="*/ 142466 w 311229"/>
                <a:gd name="connsiteY11" fmla="*/ 15824 h 221789"/>
                <a:gd name="connsiteX12" fmla="*/ 119907 w 311229"/>
                <a:gd name="connsiteY12" fmla="*/ 18809 h 221789"/>
                <a:gd name="connsiteX13" fmla="*/ 111116 w 311229"/>
                <a:gd name="connsiteY13" fmla="*/ 36391 h 221789"/>
                <a:gd name="connsiteX14" fmla="*/ 107136 w 311229"/>
                <a:gd name="connsiteY14" fmla="*/ 49163 h 221789"/>
                <a:gd name="connsiteX15" fmla="*/ 96354 w 311229"/>
                <a:gd name="connsiteY15" fmla="*/ 58120 h 221789"/>
                <a:gd name="connsiteX16" fmla="*/ 79768 w 311229"/>
                <a:gd name="connsiteY16" fmla="*/ 73712 h 221789"/>
                <a:gd name="connsiteX17" fmla="*/ 74791 w 311229"/>
                <a:gd name="connsiteY17" fmla="*/ 90299 h 221789"/>
                <a:gd name="connsiteX18" fmla="*/ 53229 w 311229"/>
                <a:gd name="connsiteY18" fmla="*/ 97265 h 221789"/>
                <a:gd name="connsiteX19" fmla="*/ 36642 w 311229"/>
                <a:gd name="connsiteY19" fmla="*/ 105061 h 221789"/>
                <a:gd name="connsiteX20" fmla="*/ 12425 w 311229"/>
                <a:gd name="connsiteY20" fmla="*/ 103402 h 221789"/>
                <a:gd name="connsiteX21" fmla="*/ 12425 w 311229"/>
                <a:gd name="connsiteY21" fmla="*/ 106222 h 221789"/>
                <a:gd name="connsiteX22" fmla="*/ 17567 w 311229"/>
                <a:gd name="connsiteY22" fmla="*/ 131268 h 221789"/>
                <a:gd name="connsiteX23" fmla="*/ 19060 w 311229"/>
                <a:gd name="connsiteY23" fmla="*/ 160129 h 221789"/>
                <a:gd name="connsiteX24" fmla="*/ -15 w 311229"/>
                <a:gd name="connsiteY24" fmla="*/ 176716 h 221789"/>
                <a:gd name="connsiteX25" fmla="*/ 10932 w 311229"/>
                <a:gd name="connsiteY25" fmla="*/ 193303 h 221789"/>
                <a:gd name="connsiteX26" fmla="*/ 10932 w 311229"/>
                <a:gd name="connsiteY26" fmla="*/ 211548 h 221789"/>
                <a:gd name="connsiteX27" fmla="*/ 28680 w 311229"/>
                <a:gd name="connsiteY27" fmla="*/ 207568 h 221789"/>
                <a:gd name="connsiteX28" fmla="*/ 50409 w 311229"/>
                <a:gd name="connsiteY28" fmla="*/ 194796 h 221789"/>
                <a:gd name="connsiteX29" fmla="*/ 107302 w 311229"/>
                <a:gd name="connsiteY29" fmla="*/ 201596 h 221789"/>
                <a:gd name="connsiteX30" fmla="*/ 137822 w 311229"/>
                <a:gd name="connsiteY30" fmla="*/ 206573 h 221789"/>
                <a:gd name="connsiteX31" fmla="*/ 160379 w 311229"/>
                <a:gd name="connsiteY31" fmla="*/ 209558 h 221789"/>
                <a:gd name="connsiteX32" fmla="*/ 181943 w 311229"/>
                <a:gd name="connsiteY32" fmla="*/ 211548 h 221789"/>
                <a:gd name="connsiteX33" fmla="*/ 203671 w 311229"/>
                <a:gd name="connsiteY33" fmla="*/ 218349 h 221789"/>
                <a:gd name="connsiteX34" fmla="*/ 234025 w 311229"/>
                <a:gd name="connsiteY34" fmla="*/ 220339 h 221789"/>
                <a:gd name="connsiteX35" fmla="*/ 239996 w 311229"/>
                <a:gd name="connsiteY35" fmla="*/ 209558 h 221789"/>
                <a:gd name="connsiteX36" fmla="*/ 259569 w 311229"/>
                <a:gd name="connsiteY36" fmla="*/ 187995 h 221789"/>
                <a:gd name="connsiteX37" fmla="*/ 280966 w 311229"/>
                <a:gd name="connsiteY37" fmla="*/ 183683 h 221789"/>
                <a:gd name="connsiteX38" fmla="*/ 275990 w 311229"/>
                <a:gd name="connsiteY38" fmla="*/ 169750 h 221789"/>
                <a:gd name="connsiteX39" fmla="*/ 270848 w 311229"/>
                <a:gd name="connsiteY39" fmla="*/ 138732 h 221789"/>
                <a:gd name="connsiteX40" fmla="*/ 294401 w 311229"/>
                <a:gd name="connsiteY40" fmla="*/ 142381 h 221789"/>
                <a:gd name="connsiteX41" fmla="*/ 310988 w 311229"/>
                <a:gd name="connsiteY41" fmla="*/ 126956 h 221789"/>
                <a:gd name="connsiteX42" fmla="*/ 291415 w 311229"/>
                <a:gd name="connsiteY42" fmla="*/ 109871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1229" h="221789">
                  <a:moveTo>
                    <a:pt x="291415" y="109871"/>
                  </a:moveTo>
                  <a:cubicBezTo>
                    <a:pt x="285444" y="108378"/>
                    <a:pt x="281795" y="95109"/>
                    <a:pt x="272174" y="91460"/>
                  </a:cubicBezTo>
                  <a:cubicBezTo>
                    <a:pt x="262554" y="87811"/>
                    <a:pt x="264877" y="76034"/>
                    <a:pt x="256749" y="70892"/>
                  </a:cubicBezTo>
                  <a:cubicBezTo>
                    <a:pt x="248621" y="65750"/>
                    <a:pt x="253763" y="55300"/>
                    <a:pt x="253100" y="47173"/>
                  </a:cubicBezTo>
                  <a:cubicBezTo>
                    <a:pt x="252437" y="39045"/>
                    <a:pt x="254592" y="26605"/>
                    <a:pt x="250114" y="24449"/>
                  </a:cubicBezTo>
                  <a:cubicBezTo>
                    <a:pt x="245636" y="22293"/>
                    <a:pt x="227224" y="11843"/>
                    <a:pt x="219097" y="15492"/>
                  </a:cubicBezTo>
                  <a:cubicBezTo>
                    <a:pt x="210970" y="19141"/>
                    <a:pt x="205164" y="22127"/>
                    <a:pt x="201515" y="15492"/>
                  </a:cubicBezTo>
                  <a:cubicBezTo>
                    <a:pt x="198828" y="8990"/>
                    <a:pt x="191679" y="5557"/>
                    <a:pt x="184928" y="7531"/>
                  </a:cubicBezTo>
                  <a:cubicBezTo>
                    <a:pt x="178542" y="9173"/>
                    <a:pt x="171758" y="7116"/>
                    <a:pt x="167346" y="2223"/>
                  </a:cubicBezTo>
                  <a:cubicBezTo>
                    <a:pt x="166583" y="1626"/>
                    <a:pt x="166003" y="813"/>
                    <a:pt x="165687" y="-100"/>
                  </a:cubicBezTo>
                  <a:cubicBezTo>
                    <a:pt x="161938" y="464"/>
                    <a:pt x="158356" y="1874"/>
                    <a:pt x="155238" y="4047"/>
                  </a:cubicBezTo>
                  <a:cubicBezTo>
                    <a:pt x="150427" y="7862"/>
                    <a:pt x="149432" y="15824"/>
                    <a:pt x="142466" y="15824"/>
                  </a:cubicBezTo>
                  <a:cubicBezTo>
                    <a:pt x="135499" y="15824"/>
                    <a:pt x="127703" y="12838"/>
                    <a:pt x="119907" y="18809"/>
                  </a:cubicBezTo>
                  <a:cubicBezTo>
                    <a:pt x="113738" y="22392"/>
                    <a:pt x="110287" y="29309"/>
                    <a:pt x="111116" y="36391"/>
                  </a:cubicBezTo>
                  <a:cubicBezTo>
                    <a:pt x="111946" y="41368"/>
                    <a:pt x="113107" y="49163"/>
                    <a:pt x="107136" y="49163"/>
                  </a:cubicBezTo>
                  <a:cubicBezTo>
                    <a:pt x="101164" y="49163"/>
                    <a:pt x="102159" y="56130"/>
                    <a:pt x="96354" y="58120"/>
                  </a:cubicBezTo>
                  <a:cubicBezTo>
                    <a:pt x="89155" y="61205"/>
                    <a:pt x="83284" y="66729"/>
                    <a:pt x="79768" y="73712"/>
                  </a:cubicBezTo>
                  <a:cubicBezTo>
                    <a:pt x="78772" y="78688"/>
                    <a:pt x="78772" y="90299"/>
                    <a:pt x="74791" y="90299"/>
                  </a:cubicBezTo>
                  <a:cubicBezTo>
                    <a:pt x="67062" y="90332"/>
                    <a:pt x="59515" y="92770"/>
                    <a:pt x="53229" y="97265"/>
                  </a:cubicBezTo>
                  <a:cubicBezTo>
                    <a:pt x="49762" y="102954"/>
                    <a:pt x="43227" y="106023"/>
                    <a:pt x="36642" y="105061"/>
                  </a:cubicBezTo>
                  <a:cubicBezTo>
                    <a:pt x="28630" y="103900"/>
                    <a:pt x="20536" y="103336"/>
                    <a:pt x="12425" y="103402"/>
                  </a:cubicBezTo>
                  <a:cubicBezTo>
                    <a:pt x="12757" y="104315"/>
                    <a:pt x="12757" y="105310"/>
                    <a:pt x="12425" y="106222"/>
                  </a:cubicBezTo>
                  <a:cubicBezTo>
                    <a:pt x="8875" y="114847"/>
                    <a:pt x="10916" y="124749"/>
                    <a:pt x="17567" y="131268"/>
                  </a:cubicBezTo>
                  <a:cubicBezTo>
                    <a:pt x="23538" y="136576"/>
                    <a:pt x="25694" y="157144"/>
                    <a:pt x="19060" y="160129"/>
                  </a:cubicBezTo>
                  <a:cubicBezTo>
                    <a:pt x="12425" y="163115"/>
                    <a:pt x="-15" y="171906"/>
                    <a:pt x="-15" y="176716"/>
                  </a:cubicBezTo>
                  <a:cubicBezTo>
                    <a:pt x="-15" y="181526"/>
                    <a:pt x="13254" y="186337"/>
                    <a:pt x="10932" y="193303"/>
                  </a:cubicBezTo>
                  <a:cubicBezTo>
                    <a:pt x="9987" y="199341"/>
                    <a:pt x="9987" y="205511"/>
                    <a:pt x="10932" y="211548"/>
                  </a:cubicBezTo>
                  <a:cubicBezTo>
                    <a:pt x="17152" y="213075"/>
                    <a:pt x="23721" y="211598"/>
                    <a:pt x="28680" y="207568"/>
                  </a:cubicBezTo>
                  <a:cubicBezTo>
                    <a:pt x="34651" y="201596"/>
                    <a:pt x="37471" y="194796"/>
                    <a:pt x="50409" y="194796"/>
                  </a:cubicBezTo>
                  <a:cubicBezTo>
                    <a:pt x="63346" y="194796"/>
                    <a:pt x="101330" y="194796"/>
                    <a:pt x="107302" y="201596"/>
                  </a:cubicBezTo>
                  <a:cubicBezTo>
                    <a:pt x="113273" y="208397"/>
                    <a:pt x="128865" y="202592"/>
                    <a:pt x="137822" y="206573"/>
                  </a:cubicBezTo>
                  <a:cubicBezTo>
                    <a:pt x="146778" y="210553"/>
                    <a:pt x="159384" y="214534"/>
                    <a:pt x="160379" y="209558"/>
                  </a:cubicBezTo>
                  <a:cubicBezTo>
                    <a:pt x="161375" y="204582"/>
                    <a:pt x="173152" y="216359"/>
                    <a:pt x="181943" y="211548"/>
                  </a:cubicBezTo>
                  <a:cubicBezTo>
                    <a:pt x="190734" y="206738"/>
                    <a:pt x="198529" y="221335"/>
                    <a:pt x="203671" y="218349"/>
                  </a:cubicBezTo>
                  <a:cubicBezTo>
                    <a:pt x="213673" y="215115"/>
                    <a:pt x="224537" y="215828"/>
                    <a:pt x="234025" y="220339"/>
                  </a:cubicBezTo>
                  <a:cubicBezTo>
                    <a:pt x="239001" y="225315"/>
                    <a:pt x="239996" y="215364"/>
                    <a:pt x="239996" y="209558"/>
                  </a:cubicBezTo>
                  <a:cubicBezTo>
                    <a:pt x="239996" y="203753"/>
                    <a:pt x="259569" y="187995"/>
                    <a:pt x="259569" y="187995"/>
                  </a:cubicBezTo>
                  <a:cubicBezTo>
                    <a:pt x="266867" y="187547"/>
                    <a:pt x="274066" y="186104"/>
                    <a:pt x="280966" y="183683"/>
                  </a:cubicBezTo>
                  <a:cubicBezTo>
                    <a:pt x="278494" y="179370"/>
                    <a:pt x="276819" y="174643"/>
                    <a:pt x="275990" y="169750"/>
                  </a:cubicBezTo>
                  <a:cubicBezTo>
                    <a:pt x="272341" y="153163"/>
                    <a:pt x="266535" y="143874"/>
                    <a:pt x="270848" y="138732"/>
                  </a:cubicBezTo>
                  <a:cubicBezTo>
                    <a:pt x="275160" y="133590"/>
                    <a:pt x="287435" y="145367"/>
                    <a:pt x="294401" y="142381"/>
                  </a:cubicBezTo>
                  <a:cubicBezTo>
                    <a:pt x="301367" y="139396"/>
                    <a:pt x="312978" y="133590"/>
                    <a:pt x="310988" y="126956"/>
                  </a:cubicBezTo>
                  <a:cubicBezTo>
                    <a:pt x="307057" y="118845"/>
                    <a:pt x="299991" y="112674"/>
                    <a:pt x="291415" y="109871"/>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0" name="Freeform: Shape 569">
              <a:extLst>
                <a:ext uri="{FF2B5EF4-FFF2-40B4-BE49-F238E27FC236}">
                  <a16:creationId xmlns:a16="http://schemas.microsoft.com/office/drawing/2014/main" id="{413064F8-7B58-40C0-B8BD-EBB1C984932A}"/>
                </a:ext>
              </a:extLst>
            </p:cNvPr>
            <p:cNvSpPr/>
            <p:nvPr/>
          </p:nvSpPr>
          <p:spPr>
            <a:xfrm>
              <a:off x="5923994" y="2838670"/>
              <a:ext cx="206250" cy="96977"/>
            </a:xfrm>
            <a:custGeom>
              <a:avLst/>
              <a:gdLst>
                <a:gd name="connsiteX0" fmla="*/ 79126 w 241194"/>
                <a:gd name="connsiteY0" fmla="*/ 80363 h 115626"/>
                <a:gd name="connsiteX1" fmla="*/ 121257 w 241194"/>
                <a:gd name="connsiteY1" fmla="*/ 80363 h 115626"/>
                <a:gd name="connsiteX2" fmla="*/ 140829 w 241194"/>
                <a:gd name="connsiteY2" fmla="*/ 87993 h 115626"/>
                <a:gd name="connsiteX3" fmla="*/ 172344 w 241194"/>
                <a:gd name="connsiteY3" fmla="*/ 104580 h 115626"/>
                <a:gd name="connsiteX4" fmla="*/ 188931 w 241194"/>
                <a:gd name="connsiteY4" fmla="*/ 115527 h 115626"/>
                <a:gd name="connsiteX5" fmla="*/ 195400 w 241194"/>
                <a:gd name="connsiteY5" fmla="*/ 108395 h 115626"/>
                <a:gd name="connsiteX6" fmla="*/ 217958 w 241194"/>
                <a:gd name="connsiteY6" fmla="*/ 105409 h 115626"/>
                <a:gd name="connsiteX7" fmla="*/ 230729 w 241194"/>
                <a:gd name="connsiteY7" fmla="*/ 93633 h 115626"/>
                <a:gd name="connsiteX8" fmla="*/ 241179 w 241194"/>
                <a:gd name="connsiteY8" fmla="*/ 89486 h 115626"/>
                <a:gd name="connsiteX9" fmla="*/ 233881 w 241194"/>
                <a:gd name="connsiteY9" fmla="*/ 69084 h 115626"/>
                <a:gd name="connsiteX10" fmla="*/ 223597 w 241194"/>
                <a:gd name="connsiteY10" fmla="*/ 49843 h 115626"/>
                <a:gd name="connsiteX11" fmla="*/ 219948 w 241194"/>
                <a:gd name="connsiteY11" fmla="*/ 31432 h 115626"/>
                <a:gd name="connsiteX12" fmla="*/ 214309 w 241194"/>
                <a:gd name="connsiteY12" fmla="*/ 22973 h 115626"/>
                <a:gd name="connsiteX13" fmla="*/ 182628 w 241194"/>
                <a:gd name="connsiteY13" fmla="*/ 20816 h 115626"/>
                <a:gd name="connsiteX14" fmla="*/ 149454 w 241194"/>
                <a:gd name="connsiteY14" fmla="*/ 1244 h 115626"/>
                <a:gd name="connsiteX15" fmla="*/ 113792 w 241194"/>
                <a:gd name="connsiteY15" fmla="*/ 1244 h 115626"/>
                <a:gd name="connsiteX16" fmla="*/ 110807 w 241194"/>
                <a:gd name="connsiteY16" fmla="*/ 34418 h 115626"/>
                <a:gd name="connsiteX17" fmla="*/ 83770 w 241194"/>
                <a:gd name="connsiteY17" fmla="*/ 47190 h 115626"/>
                <a:gd name="connsiteX18" fmla="*/ 54246 w 241194"/>
                <a:gd name="connsiteY18" fmla="*/ 12855 h 115626"/>
                <a:gd name="connsiteX19" fmla="*/ 22233 w 241194"/>
                <a:gd name="connsiteY19" fmla="*/ 27617 h 115626"/>
                <a:gd name="connsiteX20" fmla="*/ 8963 w 241194"/>
                <a:gd name="connsiteY20" fmla="*/ 54156 h 115626"/>
                <a:gd name="connsiteX21" fmla="*/ 4153 w 241194"/>
                <a:gd name="connsiteY21" fmla="*/ 85505 h 115626"/>
                <a:gd name="connsiteX22" fmla="*/ 4153 w 241194"/>
                <a:gd name="connsiteY22" fmla="*/ 87330 h 115626"/>
                <a:gd name="connsiteX23" fmla="*/ 30361 w 241194"/>
                <a:gd name="connsiteY23" fmla="*/ 80363 h 115626"/>
                <a:gd name="connsiteX24" fmla="*/ 79126 w 241194"/>
                <a:gd name="connsiteY24" fmla="*/ 80363 h 11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1194" h="115626">
                  <a:moveTo>
                    <a:pt x="79126" y="80363"/>
                  </a:moveTo>
                  <a:cubicBezTo>
                    <a:pt x="93076" y="82685"/>
                    <a:pt x="107307" y="82685"/>
                    <a:pt x="121257" y="80363"/>
                  </a:cubicBezTo>
                  <a:cubicBezTo>
                    <a:pt x="133199" y="75885"/>
                    <a:pt x="133199" y="89486"/>
                    <a:pt x="140829" y="87993"/>
                  </a:cubicBezTo>
                  <a:cubicBezTo>
                    <a:pt x="148459" y="86500"/>
                    <a:pt x="163221" y="96950"/>
                    <a:pt x="172344" y="104580"/>
                  </a:cubicBezTo>
                  <a:cubicBezTo>
                    <a:pt x="177519" y="108727"/>
                    <a:pt x="183076" y="112392"/>
                    <a:pt x="188931" y="115527"/>
                  </a:cubicBezTo>
                  <a:cubicBezTo>
                    <a:pt x="190573" y="112724"/>
                    <a:pt x="192762" y="110302"/>
                    <a:pt x="195400" y="108395"/>
                  </a:cubicBezTo>
                  <a:cubicBezTo>
                    <a:pt x="203195" y="102424"/>
                    <a:pt x="211987" y="105409"/>
                    <a:pt x="217958" y="105409"/>
                  </a:cubicBezTo>
                  <a:cubicBezTo>
                    <a:pt x="223929" y="105409"/>
                    <a:pt x="225920" y="97448"/>
                    <a:pt x="230729" y="93633"/>
                  </a:cubicBezTo>
                  <a:cubicBezTo>
                    <a:pt x="233848" y="91460"/>
                    <a:pt x="237431" y="90050"/>
                    <a:pt x="241179" y="89486"/>
                  </a:cubicBezTo>
                  <a:cubicBezTo>
                    <a:pt x="238525" y="84012"/>
                    <a:pt x="238360" y="72899"/>
                    <a:pt x="233881" y="69084"/>
                  </a:cubicBezTo>
                  <a:cubicBezTo>
                    <a:pt x="229403" y="65269"/>
                    <a:pt x="221441" y="54985"/>
                    <a:pt x="223597" y="49843"/>
                  </a:cubicBezTo>
                  <a:cubicBezTo>
                    <a:pt x="226301" y="43541"/>
                    <a:pt x="224858" y="36226"/>
                    <a:pt x="219948" y="31432"/>
                  </a:cubicBezTo>
                  <a:cubicBezTo>
                    <a:pt x="217526" y="29010"/>
                    <a:pt x="215619" y="26141"/>
                    <a:pt x="214309" y="22973"/>
                  </a:cubicBezTo>
                  <a:cubicBezTo>
                    <a:pt x="203842" y="21165"/>
                    <a:pt x="193227" y="20452"/>
                    <a:pt x="182628" y="20816"/>
                  </a:cubicBezTo>
                  <a:cubicBezTo>
                    <a:pt x="176657" y="22807"/>
                    <a:pt x="153103" y="4230"/>
                    <a:pt x="149454" y="1244"/>
                  </a:cubicBezTo>
                  <a:cubicBezTo>
                    <a:pt x="137628" y="-547"/>
                    <a:pt x="125619" y="-547"/>
                    <a:pt x="113792" y="1244"/>
                  </a:cubicBezTo>
                  <a:cubicBezTo>
                    <a:pt x="104670" y="11362"/>
                    <a:pt x="111138" y="17831"/>
                    <a:pt x="110807" y="34418"/>
                  </a:cubicBezTo>
                  <a:cubicBezTo>
                    <a:pt x="110475" y="51005"/>
                    <a:pt x="93059" y="47190"/>
                    <a:pt x="83770" y="47190"/>
                  </a:cubicBezTo>
                  <a:cubicBezTo>
                    <a:pt x="74482" y="47190"/>
                    <a:pt x="59056" y="19324"/>
                    <a:pt x="54246" y="12855"/>
                  </a:cubicBezTo>
                  <a:cubicBezTo>
                    <a:pt x="49435" y="6386"/>
                    <a:pt x="33512" y="20651"/>
                    <a:pt x="22233" y="27617"/>
                  </a:cubicBezTo>
                  <a:cubicBezTo>
                    <a:pt x="10954" y="34583"/>
                    <a:pt x="16925" y="47687"/>
                    <a:pt x="8963" y="54156"/>
                  </a:cubicBezTo>
                  <a:cubicBezTo>
                    <a:pt x="-789" y="61620"/>
                    <a:pt x="-2913" y="75454"/>
                    <a:pt x="4153" y="85505"/>
                  </a:cubicBezTo>
                  <a:cubicBezTo>
                    <a:pt x="4120" y="86119"/>
                    <a:pt x="4120" y="86716"/>
                    <a:pt x="4153" y="87330"/>
                  </a:cubicBezTo>
                  <a:cubicBezTo>
                    <a:pt x="13326" y="87147"/>
                    <a:pt x="22316" y="84759"/>
                    <a:pt x="30361" y="80363"/>
                  </a:cubicBezTo>
                  <a:cubicBezTo>
                    <a:pt x="41640" y="72899"/>
                    <a:pt x="70169" y="80363"/>
                    <a:pt x="79126" y="80363"/>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1" name="Freeform: Shape 570">
              <a:extLst>
                <a:ext uri="{FF2B5EF4-FFF2-40B4-BE49-F238E27FC236}">
                  <a16:creationId xmlns:a16="http://schemas.microsoft.com/office/drawing/2014/main" id="{35712E93-9C3F-48DF-B4BD-69597D48AD81}"/>
                </a:ext>
              </a:extLst>
            </p:cNvPr>
            <p:cNvSpPr/>
            <p:nvPr/>
          </p:nvSpPr>
          <p:spPr>
            <a:xfrm>
              <a:off x="5922703" y="2902538"/>
              <a:ext cx="162721" cy="98779"/>
            </a:xfrm>
            <a:custGeom>
              <a:avLst/>
              <a:gdLst>
                <a:gd name="connsiteX0" fmla="*/ 24905 w 190290"/>
                <a:gd name="connsiteY0" fmla="*/ 58286 h 117775"/>
                <a:gd name="connsiteX1" fmla="*/ 44809 w 190290"/>
                <a:gd name="connsiteY1" fmla="*/ 65750 h 117775"/>
                <a:gd name="connsiteX2" fmla="*/ 63220 w 190290"/>
                <a:gd name="connsiteY2" fmla="*/ 76698 h 117775"/>
                <a:gd name="connsiteX3" fmla="*/ 63220 w 190290"/>
                <a:gd name="connsiteY3" fmla="*/ 100251 h 117775"/>
                <a:gd name="connsiteX4" fmla="*/ 89261 w 190290"/>
                <a:gd name="connsiteY4" fmla="*/ 115843 h 117775"/>
                <a:gd name="connsiteX5" fmla="*/ 113478 w 190290"/>
                <a:gd name="connsiteY5" fmla="*/ 117501 h 117775"/>
                <a:gd name="connsiteX6" fmla="*/ 130065 w 190290"/>
                <a:gd name="connsiteY6" fmla="*/ 109706 h 117775"/>
                <a:gd name="connsiteX7" fmla="*/ 151628 w 190290"/>
                <a:gd name="connsiteY7" fmla="*/ 102739 h 117775"/>
                <a:gd name="connsiteX8" fmla="*/ 156604 w 190290"/>
                <a:gd name="connsiteY8" fmla="*/ 86152 h 117775"/>
                <a:gd name="connsiteX9" fmla="*/ 173191 w 190290"/>
                <a:gd name="connsiteY9" fmla="*/ 70561 h 117775"/>
                <a:gd name="connsiteX10" fmla="*/ 183972 w 190290"/>
                <a:gd name="connsiteY10" fmla="*/ 61604 h 117775"/>
                <a:gd name="connsiteX11" fmla="*/ 187953 w 190290"/>
                <a:gd name="connsiteY11" fmla="*/ 48832 h 117775"/>
                <a:gd name="connsiteX12" fmla="*/ 190275 w 190290"/>
                <a:gd name="connsiteY12" fmla="*/ 38382 h 117775"/>
                <a:gd name="connsiteX13" fmla="*/ 173688 w 190290"/>
                <a:gd name="connsiteY13" fmla="*/ 27435 h 117775"/>
                <a:gd name="connsiteX14" fmla="*/ 142174 w 190290"/>
                <a:gd name="connsiteY14" fmla="*/ 10848 h 117775"/>
                <a:gd name="connsiteX15" fmla="*/ 122601 w 190290"/>
                <a:gd name="connsiteY15" fmla="*/ 3218 h 117775"/>
                <a:gd name="connsiteX16" fmla="*/ 80470 w 190290"/>
                <a:gd name="connsiteY16" fmla="*/ 3218 h 117775"/>
                <a:gd name="connsiteX17" fmla="*/ 32369 w 190290"/>
                <a:gd name="connsiteY17" fmla="*/ 3218 h 117775"/>
                <a:gd name="connsiteX18" fmla="*/ 6162 w 190290"/>
                <a:gd name="connsiteY18" fmla="*/ 10185 h 117775"/>
                <a:gd name="connsiteX19" fmla="*/ 2844 w 190290"/>
                <a:gd name="connsiteY19" fmla="*/ 46344 h 117775"/>
                <a:gd name="connsiteX20" fmla="*/ 4503 w 190290"/>
                <a:gd name="connsiteY20" fmla="*/ 55466 h 117775"/>
                <a:gd name="connsiteX21" fmla="*/ 24905 w 190290"/>
                <a:gd name="connsiteY21" fmla="*/ 58286 h 1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0290" h="117775">
                  <a:moveTo>
                    <a:pt x="24905" y="58286"/>
                  </a:moveTo>
                  <a:cubicBezTo>
                    <a:pt x="29864" y="63959"/>
                    <a:pt x="37345" y="66779"/>
                    <a:pt x="44809" y="65750"/>
                  </a:cubicBezTo>
                  <a:cubicBezTo>
                    <a:pt x="49122" y="63428"/>
                    <a:pt x="63220" y="70892"/>
                    <a:pt x="63220" y="76698"/>
                  </a:cubicBezTo>
                  <a:cubicBezTo>
                    <a:pt x="63220" y="82503"/>
                    <a:pt x="59571" y="100251"/>
                    <a:pt x="63220" y="100251"/>
                  </a:cubicBezTo>
                  <a:cubicBezTo>
                    <a:pt x="66869" y="100251"/>
                    <a:pt x="87769" y="106886"/>
                    <a:pt x="89261" y="115843"/>
                  </a:cubicBezTo>
                  <a:cubicBezTo>
                    <a:pt x="97356" y="115776"/>
                    <a:pt x="105467" y="116340"/>
                    <a:pt x="113478" y="117501"/>
                  </a:cubicBezTo>
                  <a:cubicBezTo>
                    <a:pt x="120063" y="118463"/>
                    <a:pt x="126599" y="115395"/>
                    <a:pt x="130065" y="109706"/>
                  </a:cubicBezTo>
                  <a:cubicBezTo>
                    <a:pt x="136352" y="105210"/>
                    <a:pt x="143899" y="102772"/>
                    <a:pt x="151628" y="102739"/>
                  </a:cubicBezTo>
                  <a:cubicBezTo>
                    <a:pt x="155609" y="102739"/>
                    <a:pt x="155609" y="91957"/>
                    <a:pt x="156604" y="86152"/>
                  </a:cubicBezTo>
                  <a:cubicBezTo>
                    <a:pt x="160120" y="79169"/>
                    <a:pt x="165992" y="73646"/>
                    <a:pt x="173191" y="70561"/>
                  </a:cubicBezTo>
                  <a:cubicBezTo>
                    <a:pt x="178996" y="68570"/>
                    <a:pt x="178001" y="61604"/>
                    <a:pt x="183972" y="61604"/>
                  </a:cubicBezTo>
                  <a:cubicBezTo>
                    <a:pt x="189944" y="61604"/>
                    <a:pt x="188782" y="53808"/>
                    <a:pt x="187953" y="48832"/>
                  </a:cubicBezTo>
                  <a:cubicBezTo>
                    <a:pt x="187339" y="45182"/>
                    <a:pt x="188169" y="41434"/>
                    <a:pt x="190275" y="38382"/>
                  </a:cubicBezTo>
                  <a:cubicBezTo>
                    <a:pt x="184420" y="35247"/>
                    <a:pt x="178864" y="31581"/>
                    <a:pt x="173688" y="27435"/>
                  </a:cubicBezTo>
                  <a:cubicBezTo>
                    <a:pt x="164566" y="19971"/>
                    <a:pt x="149638" y="9521"/>
                    <a:pt x="142174" y="10848"/>
                  </a:cubicBezTo>
                  <a:cubicBezTo>
                    <a:pt x="134710" y="12175"/>
                    <a:pt x="134544" y="-1260"/>
                    <a:pt x="122601" y="3218"/>
                  </a:cubicBezTo>
                  <a:cubicBezTo>
                    <a:pt x="108652" y="5540"/>
                    <a:pt x="94420" y="5540"/>
                    <a:pt x="80470" y="3218"/>
                  </a:cubicBezTo>
                  <a:cubicBezTo>
                    <a:pt x="71513" y="3218"/>
                    <a:pt x="42984" y="-4246"/>
                    <a:pt x="32369" y="3218"/>
                  </a:cubicBezTo>
                  <a:cubicBezTo>
                    <a:pt x="24324" y="7613"/>
                    <a:pt x="15334" y="10002"/>
                    <a:pt x="6162" y="10185"/>
                  </a:cubicBezTo>
                  <a:cubicBezTo>
                    <a:pt x="12332" y="21828"/>
                    <a:pt x="11038" y="36027"/>
                    <a:pt x="2844" y="46344"/>
                  </a:cubicBezTo>
                  <a:cubicBezTo>
                    <a:pt x="-2464" y="52315"/>
                    <a:pt x="522" y="53144"/>
                    <a:pt x="4503" y="55466"/>
                  </a:cubicBezTo>
                  <a:cubicBezTo>
                    <a:pt x="12796" y="55632"/>
                    <a:pt x="21919" y="54140"/>
                    <a:pt x="24905" y="58286"/>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572" name="Freeform: Shape 571">
              <a:extLst>
                <a:ext uri="{FF2B5EF4-FFF2-40B4-BE49-F238E27FC236}">
                  <a16:creationId xmlns:a16="http://schemas.microsoft.com/office/drawing/2014/main" id="{795DAD23-07E9-4A7B-92DA-A4D570548CF5}"/>
                </a:ext>
              </a:extLst>
            </p:cNvPr>
            <p:cNvSpPr/>
            <p:nvPr/>
          </p:nvSpPr>
          <p:spPr>
            <a:xfrm>
              <a:off x="5512346" y="2968725"/>
              <a:ext cx="252071" cy="278991"/>
            </a:xfrm>
            <a:custGeom>
              <a:avLst/>
              <a:gdLst>
                <a:gd name="connsiteX0" fmla="*/ 37369 w 294778"/>
                <a:gd name="connsiteY0" fmla="*/ 86687 h 332643"/>
                <a:gd name="connsiteX1" fmla="*/ 20783 w 294778"/>
                <a:gd name="connsiteY1" fmla="*/ 102444 h 332643"/>
                <a:gd name="connsiteX2" fmla="*/ 31564 w 294778"/>
                <a:gd name="connsiteY2" fmla="*/ 120192 h 332643"/>
                <a:gd name="connsiteX3" fmla="*/ 24598 w 294778"/>
                <a:gd name="connsiteY3" fmla="*/ 130974 h 332643"/>
                <a:gd name="connsiteX4" fmla="*/ 6021 w 294778"/>
                <a:gd name="connsiteY4" fmla="*/ 139765 h 332643"/>
                <a:gd name="connsiteX5" fmla="*/ 4030 w 294778"/>
                <a:gd name="connsiteY5" fmla="*/ 156352 h 332643"/>
                <a:gd name="connsiteX6" fmla="*/ 49 w 294778"/>
                <a:gd name="connsiteY6" fmla="*/ 182891 h 332643"/>
                <a:gd name="connsiteX7" fmla="*/ 9006 w 294778"/>
                <a:gd name="connsiteY7" fmla="*/ 203458 h 332643"/>
                <a:gd name="connsiteX8" fmla="*/ 2039 w 294778"/>
                <a:gd name="connsiteY8" fmla="*/ 216230 h 332643"/>
                <a:gd name="connsiteX9" fmla="*/ 12655 w 294778"/>
                <a:gd name="connsiteY9" fmla="*/ 243764 h 332643"/>
                <a:gd name="connsiteX10" fmla="*/ 19953 w 294778"/>
                <a:gd name="connsiteY10" fmla="*/ 247745 h 332643"/>
                <a:gd name="connsiteX11" fmla="*/ 41350 w 294778"/>
                <a:gd name="connsiteY11" fmla="*/ 258029 h 332643"/>
                <a:gd name="connsiteX12" fmla="*/ 59098 w 294778"/>
                <a:gd name="connsiteY12" fmla="*/ 264000 h 332643"/>
                <a:gd name="connsiteX13" fmla="*/ 65733 w 294778"/>
                <a:gd name="connsiteY13" fmla="*/ 274947 h 332643"/>
                <a:gd name="connsiteX14" fmla="*/ 52464 w 294778"/>
                <a:gd name="connsiteY14" fmla="*/ 302316 h 332643"/>
                <a:gd name="connsiteX15" fmla="*/ 49478 w 294778"/>
                <a:gd name="connsiteY15" fmla="*/ 322386 h 332643"/>
                <a:gd name="connsiteX16" fmla="*/ 77675 w 294778"/>
                <a:gd name="connsiteY16" fmla="*/ 321390 h 332643"/>
                <a:gd name="connsiteX17" fmla="*/ 100400 w 294778"/>
                <a:gd name="connsiteY17" fmla="*/ 320395 h 332643"/>
                <a:gd name="connsiteX18" fmla="*/ 119474 w 294778"/>
                <a:gd name="connsiteY18" fmla="*/ 328854 h 332643"/>
                <a:gd name="connsiteX19" fmla="*/ 123124 w 294778"/>
                <a:gd name="connsiteY19" fmla="*/ 325040 h 332643"/>
                <a:gd name="connsiteX20" fmla="*/ 142364 w 294778"/>
                <a:gd name="connsiteY20" fmla="*/ 330181 h 332643"/>
                <a:gd name="connsiteX21" fmla="*/ 162268 w 294778"/>
                <a:gd name="connsiteY21" fmla="*/ 327362 h 332643"/>
                <a:gd name="connsiteX22" fmla="*/ 181343 w 294778"/>
                <a:gd name="connsiteY22" fmla="*/ 325869 h 332643"/>
                <a:gd name="connsiteX23" fmla="*/ 215346 w 294778"/>
                <a:gd name="connsiteY23" fmla="*/ 319234 h 332643"/>
                <a:gd name="connsiteX24" fmla="*/ 228616 w 294778"/>
                <a:gd name="connsiteY24" fmla="*/ 309614 h 332643"/>
                <a:gd name="connsiteX25" fmla="*/ 241885 w 294778"/>
                <a:gd name="connsiteY25" fmla="*/ 289046 h 332643"/>
                <a:gd name="connsiteX26" fmla="*/ 260296 w 294778"/>
                <a:gd name="connsiteY26" fmla="*/ 274284 h 332643"/>
                <a:gd name="connsiteX27" fmla="*/ 225630 w 294778"/>
                <a:gd name="connsiteY27" fmla="*/ 248408 h 332643"/>
                <a:gd name="connsiteX28" fmla="*/ 214517 w 294778"/>
                <a:gd name="connsiteY28" fmla="*/ 220542 h 332643"/>
                <a:gd name="connsiteX29" fmla="*/ 212361 w 294778"/>
                <a:gd name="connsiteY29" fmla="*/ 202795 h 332643"/>
                <a:gd name="connsiteX30" fmla="*/ 247027 w 294778"/>
                <a:gd name="connsiteY30" fmla="*/ 189525 h 332643"/>
                <a:gd name="connsiteX31" fmla="*/ 274229 w 294778"/>
                <a:gd name="connsiteY31" fmla="*/ 176919 h 332643"/>
                <a:gd name="connsiteX32" fmla="*/ 291977 w 294778"/>
                <a:gd name="connsiteY32" fmla="*/ 176919 h 332643"/>
                <a:gd name="connsiteX33" fmla="*/ 291977 w 294778"/>
                <a:gd name="connsiteY33" fmla="*/ 158508 h 332643"/>
                <a:gd name="connsiteX34" fmla="*/ 283850 w 294778"/>
                <a:gd name="connsiteY34" fmla="*/ 131969 h 332643"/>
                <a:gd name="connsiteX35" fmla="*/ 279537 w 294778"/>
                <a:gd name="connsiteY35" fmla="*/ 114221 h 332643"/>
                <a:gd name="connsiteX36" fmla="*/ 272073 w 294778"/>
                <a:gd name="connsiteY36" fmla="*/ 97634 h 332643"/>
                <a:gd name="connsiteX37" fmla="*/ 269917 w 294778"/>
                <a:gd name="connsiteY37" fmla="*/ 84365 h 332643"/>
                <a:gd name="connsiteX38" fmla="*/ 269917 w 294778"/>
                <a:gd name="connsiteY38" fmla="*/ 49698 h 332643"/>
                <a:gd name="connsiteX39" fmla="*/ 269917 w 294778"/>
                <a:gd name="connsiteY39" fmla="*/ 45552 h 332643"/>
                <a:gd name="connsiteX40" fmla="*/ 267263 w 294778"/>
                <a:gd name="connsiteY40" fmla="*/ 41571 h 332643"/>
                <a:gd name="connsiteX41" fmla="*/ 247525 w 294778"/>
                <a:gd name="connsiteY41" fmla="*/ 30789 h 332643"/>
                <a:gd name="connsiteX42" fmla="*/ 250510 w 294778"/>
                <a:gd name="connsiteY42" fmla="*/ 11549 h 332643"/>
                <a:gd name="connsiteX43" fmla="*/ 220986 w 294778"/>
                <a:gd name="connsiteY43" fmla="*/ 19510 h 332643"/>
                <a:gd name="connsiteX44" fmla="*/ 183665 w 294778"/>
                <a:gd name="connsiteY44" fmla="*/ 41073 h 332643"/>
                <a:gd name="connsiteX45" fmla="*/ 167079 w 294778"/>
                <a:gd name="connsiteY45" fmla="*/ 28301 h 332643"/>
                <a:gd name="connsiteX46" fmla="*/ 155302 w 294778"/>
                <a:gd name="connsiteY46" fmla="*/ 22330 h 332643"/>
                <a:gd name="connsiteX47" fmla="*/ 130753 w 294778"/>
                <a:gd name="connsiteY47" fmla="*/ 10553 h 332643"/>
                <a:gd name="connsiteX48" fmla="*/ 128763 w 294778"/>
                <a:gd name="connsiteY48" fmla="*/ 2923 h 332643"/>
                <a:gd name="connsiteX49" fmla="*/ 116488 w 294778"/>
                <a:gd name="connsiteY49" fmla="*/ 2923 h 332643"/>
                <a:gd name="connsiteX50" fmla="*/ 86301 w 294778"/>
                <a:gd name="connsiteY50" fmla="*/ -62 h 332643"/>
                <a:gd name="connsiteX51" fmla="*/ 91940 w 294778"/>
                <a:gd name="connsiteY51" fmla="*/ 16525 h 332643"/>
                <a:gd name="connsiteX52" fmla="*/ 100731 w 294778"/>
                <a:gd name="connsiteY52" fmla="*/ 45054 h 332643"/>
                <a:gd name="connsiteX53" fmla="*/ 86632 w 294778"/>
                <a:gd name="connsiteY53" fmla="*/ 58323 h 332643"/>
                <a:gd name="connsiteX54" fmla="*/ 62084 w 294778"/>
                <a:gd name="connsiteY54" fmla="*/ 54840 h 332643"/>
                <a:gd name="connsiteX55" fmla="*/ 37038 w 294778"/>
                <a:gd name="connsiteY55" fmla="*/ 58821 h 332643"/>
                <a:gd name="connsiteX56" fmla="*/ 36043 w 294778"/>
                <a:gd name="connsiteY56" fmla="*/ 65787 h 332643"/>
                <a:gd name="connsiteX57" fmla="*/ 37369 w 294778"/>
                <a:gd name="connsiteY57" fmla="*/ 86687 h 332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94778" h="332643">
                  <a:moveTo>
                    <a:pt x="37369" y="86687"/>
                  </a:moveTo>
                  <a:cubicBezTo>
                    <a:pt x="29408" y="98463"/>
                    <a:pt x="18626" y="99459"/>
                    <a:pt x="20783" y="102444"/>
                  </a:cubicBezTo>
                  <a:cubicBezTo>
                    <a:pt x="22939" y="105430"/>
                    <a:pt x="34550" y="115216"/>
                    <a:pt x="31564" y="120192"/>
                  </a:cubicBezTo>
                  <a:cubicBezTo>
                    <a:pt x="28578" y="125168"/>
                    <a:pt x="24598" y="122183"/>
                    <a:pt x="24598" y="130974"/>
                  </a:cubicBezTo>
                  <a:cubicBezTo>
                    <a:pt x="24598" y="139765"/>
                    <a:pt x="10830" y="139765"/>
                    <a:pt x="6021" y="139765"/>
                  </a:cubicBezTo>
                  <a:cubicBezTo>
                    <a:pt x="1210" y="139765"/>
                    <a:pt x="7016" y="148721"/>
                    <a:pt x="4030" y="156352"/>
                  </a:cubicBezTo>
                  <a:cubicBezTo>
                    <a:pt x="1791" y="165043"/>
                    <a:pt x="464" y="173934"/>
                    <a:pt x="49" y="182891"/>
                  </a:cubicBezTo>
                  <a:cubicBezTo>
                    <a:pt x="-946" y="188862"/>
                    <a:pt x="10001" y="198648"/>
                    <a:pt x="9006" y="203458"/>
                  </a:cubicBezTo>
                  <a:cubicBezTo>
                    <a:pt x="8011" y="208268"/>
                    <a:pt x="49" y="212415"/>
                    <a:pt x="2039" y="216230"/>
                  </a:cubicBezTo>
                  <a:cubicBezTo>
                    <a:pt x="8276" y="224125"/>
                    <a:pt x="11975" y="233729"/>
                    <a:pt x="12655" y="243764"/>
                  </a:cubicBezTo>
                  <a:cubicBezTo>
                    <a:pt x="15425" y="244345"/>
                    <a:pt x="17963" y="245721"/>
                    <a:pt x="19953" y="247745"/>
                  </a:cubicBezTo>
                  <a:cubicBezTo>
                    <a:pt x="25062" y="254347"/>
                    <a:pt x="32990" y="258161"/>
                    <a:pt x="41350" y="258029"/>
                  </a:cubicBezTo>
                  <a:cubicBezTo>
                    <a:pt x="50971" y="258029"/>
                    <a:pt x="54620" y="264664"/>
                    <a:pt x="59098" y="264000"/>
                  </a:cubicBezTo>
                  <a:cubicBezTo>
                    <a:pt x="63577" y="263337"/>
                    <a:pt x="75685" y="266986"/>
                    <a:pt x="65733" y="274947"/>
                  </a:cubicBezTo>
                  <a:cubicBezTo>
                    <a:pt x="58136" y="282163"/>
                    <a:pt x="53409" y="291883"/>
                    <a:pt x="52464" y="302316"/>
                  </a:cubicBezTo>
                  <a:cubicBezTo>
                    <a:pt x="50971" y="308453"/>
                    <a:pt x="51137" y="317078"/>
                    <a:pt x="49478" y="322386"/>
                  </a:cubicBezTo>
                  <a:cubicBezTo>
                    <a:pt x="58850" y="323812"/>
                    <a:pt x="68420" y="323480"/>
                    <a:pt x="77675" y="321390"/>
                  </a:cubicBezTo>
                  <a:cubicBezTo>
                    <a:pt x="84725" y="317708"/>
                    <a:pt x="93051" y="317343"/>
                    <a:pt x="100400" y="320395"/>
                  </a:cubicBezTo>
                  <a:cubicBezTo>
                    <a:pt x="106968" y="322734"/>
                    <a:pt x="113337" y="325554"/>
                    <a:pt x="119474" y="328854"/>
                  </a:cubicBezTo>
                  <a:cubicBezTo>
                    <a:pt x="119474" y="326864"/>
                    <a:pt x="121133" y="325371"/>
                    <a:pt x="123124" y="325040"/>
                  </a:cubicBezTo>
                  <a:cubicBezTo>
                    <a:pt x="129758" y="325040"/>
                    <a:pt x="137886" y="337646"/>
                    <a:pt x="142364" y="330181"/>
                  </a:cubicBezTo>
                  <a:cubicBezTo>
                    <a:pt x="147324" y="324310"/>
                    <a:pt x="155882" y="323099"/>
                    <a:pt x="162268" y="327362"/>
                  </a:cubicBezTo>
                  <a:cubicBezTo>
                    <a:pt x="168306" y="330945"/>
                    <a:pt x="175936" y="330347"/>
                    <a:pt x="181343" y="325869"/>
                  </a:cubicBezTo>
                  <a:cubicBezTo>
                    <a:pt x="191611" y="319881"/>
                    <a:pt x="203586" y="317542"/>
                    <a:pt x="215346" y="319234"/>
                  </a:cubicBezTo>
                  <a:cubicBezTo>
                    <a:pt x="220488" y="321390"/>
                    <a:pt x="233757" y="327362"/>
                    <a:pt x="228616" y="309614"/>
                  </a:cubicBezTo>
                  <a:cubicBezTo>
                    <a:pt x="223474" y="291866"/>
                    <a:pt x="239563" y="295681"/>
                    <a:pt x="241885" y="289046"/>
                  </a:cubicBezTo>
                  <a:cubicBezTo>
                    <a:pt x="244207" y="282412"/>
                    <a:pt x="263116" y="279426"/>
                    <a:pt x="260296" y="274284"/>
                  </a:cubicBezTo>
                  <a:cubicBezTo>
                    <a:pt x="249532" y="264647"/>
                    <a:pt x="237938" y="255972"/>
                    <a:pt x="225630" y="248408"/>
                  </a:cubicBezTo>
                  <a:cubicBezTo>
                    <a:pt x="218332" y="243267"/>
                    <a:pt x="218332" y="227011"/>
                    <a:pt x="214517" y="220542"/>
                  </a:cubicBezTo>
                  <a:cubicBezTo>
                    <a:pt x="210702" y="214074"/>
                    <a:pt x="202740" y="204951"/>
                    <a:pt x="212361" y="202795"/>
                  </a:cubicBezTo>
                  <a:cubicBezTo>
                    <a:pt x="224734" y="200920"/>
                    <a:pt x="236561" y="196392"/>
                    <a:pt x="247027" y="189525"/>
                  </a:cubicBezTo>
                  <a:cubicBezTo>
                    <a:pt x="255155" y="182061"/>
                    <a:pt x="269751" y="181398"/>
                    <a:pt x="274229" y="176919"/>
                  </a:cubicBezTo>
                  <a:cubicBezTo>
                    <a:pt x="278708" y="172441"/>
                    <a:pt x="288992" y="180734"/>
                    <a:pt x="291977" y="176919"/>
                  </a:cubicBezTo>
                  <a:cubicBezTo>
                    <a:pt x="295693" y="171346"/>
                    <a:pt x="295693" y="164081"/>
                    <a:pt x="291977" y="158508"/>
                  </a:cubicBezTo>
                  <a:cubicBezTo>
                    <a:pt x="286653" y="150695"/>
                    <a:pt x="283817" y="141440"/>
                    <a:pt x="283850" y="131969"/>
                  </a:cubicBezTo>
                  <a:cubicBezTo>
                    <a:pt x="283850" y="119363"/>
                    <a:pt x="279537" y="120192"/>
                    <a:pt x="279537" y="114221"/>
                  </a:cubicBezTo>
                  <a:cubicBezTo>
                    <a:pt x="280084" y="107769"/>
                    <a:pt x="277265" y="101499"/>
                    <a:pt x="272073" y="97634"/>
                  </a:cubicBezTo>
                  <a:cubicBezTo>
                    <a:pt x="266931" y="94648"/>
                    <a:pt x="264775" y="92326"/>
                    <a:pt x="269917" y="84365"/>
                  </a:cubicBezTo>
                  <a:cubicBezTo>
                    <a:pt x="273633" y="73102"/>
                    <a:pt x="273633" y="60961"/>
                    <a:pt x="269917" y="49698"/>
                  </a:cubicBezTo>
                  <a:cubicBezTo>
                    <a:pt x="269668" y="48321"/>
                    <a:pt x="269668" y="46928"/>
                    <a:pt x="269917" y="45552"/>
                  </a:cubicBezTo>
                  <a:cubicBezTo>
                    <a:pt x="268358" y="44822"/>
                    <a:pt x="267346" y="43279"/>
                    <a:pt x="267263" y="41571"/>
                  </a:cubicBezTo>
                  <a:cubicBezTo>
                    <a:pt x="265770" y="33609"/>
                    <a:pt x="260296" y="30789"/>
                    <a:pt x="247525" y="30789"/>
                  </a:cubicBezTo>
                  <a:cubicBezTo>
                    <a:pt x="234753" y="30789"/>
                    <a:pt x="255321" y="18017"/>
                    <a:pt x="250510" y="11549"/>
                  </a:cubicBezTo>
                  <a:cubicBezTo>
                    <a:pt x="245700" y="5080"/>
                    <a:pt x="232762" y="23325"/>
                    <a:pt x="220986" y="19510"/>
                  </a:cubicBezTo>
                  <a:cubicBezTo>
                    <a:pt x="209209" y="15695"/>
                    <a:pt x="193949" y="33277"/>
                    <a:pt x="183665" y="41073"/>
                  </a:cubicBezTo>
                  <a:cubicBezTo>
                    <a:pt x="173382" y="48869"/>
                    <a:pt x="158619" y="39580"/>
                    <a:pt x="167079" y="28301"/>
                  </a:cubicBezTo>
                  <a:cubicBezTo>
                    <a:pt x="175538" y="17022"/>
                    <a:pt x="167079" y="18017"/>
                    <a:pt x="155302" y="22330"/>
                  </a:cubicBezTo>
                  <a:cubicBezTo>
                    <a:pt x="143525" y="26643"/>
                    <a:pt x="129261" y="21335"/>
                    <a:pt x="130753" y="10553"/>
                  </a:cubicBezTo>
                  <a:cubicBezTo>
                    <a:pt x="130986" y="7850"/>
                    <a:pt x="130289" y="5162"/>
                    <a:pt x="128763" y="2923"/>
                  </a:cubicBezTo>
                  <a:cubicBezTo>
                    <a:pt x="124699" y="3653"/>
                    <a:pt x="120553" y="3653"/>
                    <a:pt x="116488" y="2923"/>
                  </a:cubicBezTo>
                  <a:cubicBezTo>
                    <a:pt x="106586" y="684"/>
                    <a:pt x="96452" y="-311"/>
                    <a:pt x="86301" y="-62"/>
                  </a:cubicBezTo>
                  <a:cubicBezTo>
                    <a:pt x="90115" y="5577"/>
                    <a:pt x="94428" y="11217"/>
                    <a:pt x="91940" y="16525"/>
                  </a:cubicBezTo>
                  <a:cubicBezTo>
                    <a:pt x="87628" y="24818"/>
                    <a:pt x="94428" y="33111"/>
                    <a:pt x="100731" y="45054"/>
                  </a:cubicBezTo>
                  <a:cubicBezTo>
                    <a:pt x="107034" y="56996"/>
                    <a:pt x="87130" y="50362"/>
                    <a:pt x="86632" y="58323"/>
                  </a:cubicBezTo>
                  <a:cubicBezTo>
                    <a:pt x="86135" y="66285"/>
                    <a:pt x="67889" y="58323"/>
                    <a:pt x="62084" y="54840"/>
                  </a:cubicBezTo>
                  <a:cubicBezTo>
                    <a:pt x="56279" y="51357"/>
                    <a:pt x="36540" y="53845"/>
                    <a:pt x="37038" y="58821"/>
                  </a:cubicBezTo>
                  <a:cubicBezTo>
                    <a:pt x="37171" y="61193"/>
                    <a:pt x="36822" y="63548"/>
                    <a:pt x="36043" y="65787"/>
                  </a:cubicBezTo>
                  <a:cubicBezTo>
                    <a:pt x="38813" y="72405"/>
                    <a:pt x="39277" y="79770"/>
                    <a:pt x="37369" y="86687"/>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3" name="Freeform: Shape 572">
              <a:extLst>
                <a:ext uri="{FF2B5EF4-FFF2-40B4-BE49-F238E27FC236}">
                  <a16:creationId xmlns:a16="http://schemas.microsoft.com/office/drawing/2014/main" id="{BD9803D0-42E2-444C-A68F-945680B51D53}"/>
                </a:ext>
              </a:extLst>
            </p:cNvPr>
            <p:cNvSpPr/>
            <p:nvPr/>
          </p:nvSpPr>
          <p:spPr>
            <a:xfrm>
              <a:off x="5927134" y="2295146"/>
              <a:ext cx="297356" cy="462051"/>
            </a:xfrm>
            <a:custGeom>
              <a:avLst/>
              <a:gdLst>
                <a:gd name="connsiteX0" fmla="*/ 296060 w 347736"/>
                <a:gd name="connsiteY0" fmla="*/ 462358 h 550907"/>
                <a:gd name="connsiteX1" fmla="*/ 345821 w 347736"/>
                <a:gd name="connsiteY1" fmla="*/ 415251 h 550907"/>
                <a:gd name="connsiteX2" fmla="*/ 337030 w 347736"/>
                <a:gd name="connsiteY2" fmla="*/ 388712 h 550907"/>
                <a:gd name="connsiteX3" fmla="*/ 294733 w 347736"/>
                <a:gd name="connsiteY3" fmla="*/ 356368 h 550907"/>
                <a:gd name="connsiteX4" fmla="*/ 315467 w 347736"/>
                <a:gd name="connsiteY4" fmla="*/ 337625 h 550907"/>
                <a:gd name="connsiteX5" fmla="*/ 297719 w 347736"/>
                <a:gd name="connsiteY5" fmla="*/ 319877 h 550907"/>
                <a:gd name="connsiteX6" fmla="*/ 302529 w 347736"/>
                <a:gd name="connsiteY6" fmla="*/ 303290 h 550907"/>
                <a:gd name="connsiteX7" fmla="*/ 285942 w 347736"/>
                <a:gd name="connsiteY7" fmla="*/ 292343 h 550907"/>
                <a:gd name="connsiteX8" fmla="*/ 293738 w 347736"/>
                <a:gd name="connsiteY8" fmla="*/ 282557 h 550907"/>
                <a:gd name="connsiteX9" fmla="*/ 288928 w 347736"/>
                <a:gd name="connsiteY9" fmla="*/ 257013 h 550907"/>
                <a:gd name="connsiteX10" fmla="*/ 299709 w 347736"/>
                <a:gd name="connsiteY10" fmla="*/ 237440 h 550907"/>
                <a:gd name="connsiteX11" fmla="*/ 268194 w 347736"/>
                <a:gd name="connsiteY11" fmla="*/ 187680 h 550907"/>
                <a:gd name="connsiteX12" fmla="*/ 277980 w 347736"/>
                <a:gd name="connsiteY12" fmla="*/ 167942 h 550907"/>
                <a:gd name="connsiteX13" fmla="*/ 298714 w 347736"/>
                <a:gd name="connsiteY13" fmla="*/ 143393 h 550907"/>
                <a:gd name="connsiteX14" fmla="*/ 275161 w 347736"/>
                <a:gd name="connsiteY14" fmla="*/ 118845 h 550907"/>
                <a:gd name="connsiteX15" fmla="*/ 254427 w 347736"/>
                <a:gd name="connsiteY15" fmla="*/ 107068 h 550907"/>
                <a:gd name="connsiteX16" fmla="*/ 249451 w 347736"/>
                <a:gd name="connsiteY16" fmla="*/ 88325 h 550907"/>
                <a:gd name="connsiteX17" fmla="*/ 254427 w 347736"/>
                <a:gd name="connsiteY17" fmla="*/ 70743 h 550907"/>
                <a:gd name="connsiteX18" fmla="*/ 267199 w 347736"/>
                <a:gd name="connsiteY18" fmla="*/ 60791 h 550907"/>
                <a:gd name="connsiteX19" fmla="*/ 274497 w 347736"/>
                <a:gd name="connsiteY19" fmla="*/ 48848 h 550907"/>
                <a:gd name="connsiteX20" fmla="*/ 274497 w 347736"/>
                <a:gd name="connsiteY20" fmla="*/ 30271 h 550907"/>
                <a:gd name="connsiteX21" fmla="*/ 239831 w 347736"/>
                <a:gd name="connsiteY21" fmla="*/ 6552 h 550907"/>
                <a:gd name="connsiteX22" fmla="*/ 212960 w 347736"/>
                <a:gd name="connsiteY22" fmla="*/ 6552 h 550907"/>
                <a:gd name="connsiteX23" fmla="*/ 179787 w 347736"/>
                <a:gd name="connsiteY23" fmla="*/ 14513 h 550907"/>
                <a:gd name="connsiteX24" fmla="*/ 159385 w 347736"/>
                <a:gd name="connsiteY24" fmla="*/ 36574 h 550907"/>
                <a:gd name="connsiteX25" fmla="*/ 153082 w 347736"/>
                <a:gd name="connsiteY25" fmla="*/ 64937 h 550907"/>
                <a:gd name="connsiteX26" fmla="*/ 138817 w 347736"/>
                <a:gd name="connsiteY26" fmla="*/ 84012 h 550907"/>
                <a:gd name="connsiteX27" fmla="*/ 119908 w 347736"/>
                <a:gd name="connsiteY27" fmla="*/ 79202 h 550907"/>
                <a:gd name="connsiteX28" fmla="*/ 94530 w 347736"/>
                <a:gd name="connsiteY28" fmla="*/ 77543 h 550907"/>
                <a:gd name="connsiteX29" fmla="*/ 58371 w 347736"/>
                <a:gd name="connsiteY29" fmla="*/ 76051 h 550907"/>
                <a:gd name="connsiteX30" fmla="*/ 22046 w 347736"/>
                <a:gd name="connsiteY30" fmla="*/ 49180 h 550907"/>
                <a:gd name="connsiteX31" fmla="*/ -15 w 347736"/>
                <a:gd name="connsiteY31" fmla="*/ 65767 h 550907"/>
                <a:gd name="connsiteX32" fmla="*/ 36145 w 347736"/>
                <a:gd name="connsiteY32" fmla="*/ 92140 h 550907"/>
                <a:gd name="connsiteX33" fmla="*/ 83583 w 347736"/>
                <a:gd name="connsiteY33" fmla="*/ 120669 h 550907"/>
                <a:gd name="connsiteX34" fmla="*/ 85076 w 347736"/>
                <a:gd name="connsiteY34" fmla="*/ 152184 h 550907"/>
                <a:gd name="connsiteX35" fmla="*/ 93037 w 347736"/>
                <a:gd name="connsiteY35" fmla="*/ 182206 h 550907"/>
                <a:gd name="connsiteX36" fmla="*/ 91379 w 347736"/>
                <a:gd name="connsiteY36" fmla="*/ 210570 h 550907"/>
                <a:gd name="connsiteX37" fmla="*/ 97682 w 347736"/>
                <a:gd name="connsiteY37" fmla="*/ 227157 h 550907"/>
                <a:gd name="connsiteX38" fmla="*/ 102492 w 347736"/>
                <a:gd name="connsiteY38" fmla="*/ 243743 h 550907"/>
                <a:gd name="connsiteX39" fmla="*/ 129197 w 347736"/>
                <a:gd name="connsiteY39" fmla="*/ 254691 h 550907"/>
                <a:gd name="connsiteX40" fmla="*/ 140973 w 347736"/>
                <a:gd name="connsiteY40" fmla="*/ 280234 h 550907"/>
                <a:gd name="connsiteX41" fmla="*/ 135002 w 347736"/>
                <a:gd name="connsiteY41" fmla="*/ 292011 h 550907"/>
                <a:gd name="connsiteX42" fmla="*/ 116922 w 347736"/>
                <a:gd name="connsiteY42" fmla="*/ 306773 h 550907"/>
                <a:gd name="connsiteX43" fmla="*/ 83749 w 347736"/>
                <a:gd name="connsiteY43" fmla="*/ 339947 h 550907"/>
                <a:gd name="connsiteX44" fmla="*/ 64176 w 347736"/>
                <a:gd name="connsiteY44" fmla="*/ 355207 h 550907"/>
                <a:gd name="connsiteX45" fmla="*/ 46428 w 347736"/>
                <a:gd name="connsiteY45" fmla="*/ 373287 h 550907"/>
                <a:gd name="connsiteX46" fmla="*/ 23373 w 347736"/>
                <a:gd name="connsiteY46" fmla="*/ 384566 h 550907"/>
                <a:gd name="connsiteX47" fmla="*/ 8611 w 347736"/>
                <a:gd name="connsiteY47" fmla="*/ 405797 h 550907"/>
                <a:gd name="connsiteX48" fmla="*/ 9606 w 347736"/>
                <a:gd name="connsiteY48" fmla="*/ 424872 h 550907"/>
                <a:gd name="connsiteX49" fmla="*/ 13089 w 347736"/>
                <a:gd name="connsiteY49" fmla="*/ 447927 h 550907"/>
                <a:gd name="connsiteX50" fmla="*/ 18894 w 347736"/>
                <a:gd name="connsiteY50" fmla="*/ 485248 h 550907"/>
                <a:gd name="connsiteX51" fmla="*/ 10103 w 347736"/>
                <a:gd name="connsiteY51" fmla="*/ 519748 h 550907"/>
                <a:gd name="connsiteX52" fmla="*/ 41121 w 347736"/>
                <a:gd name="connsiteY52" fmla="*/ 532022 h 550907"/>
                <a:gd name="connsiteX53" fmla="*/ 61190 w 347736"/>
                <a:gd name="connsiteY53" fmla="*/ 542804 h 550907"/>
                <a:gd name="connsiteX54" fmla="*/ 97516 w 347736"/>
                <a:gd name="connsiteY54" fmla="*/ 550766 h 550907"/>
                <a:gd name="connsiteX55" fmla="*/ 200686 w 347736"/>
                <a:gd name="connsiteY55" fmla="*/ 527212 h 550907"/>
                <a:gd name="connsiteX56" fmla="*/ 230542 w 347736"/>
                <a:gd name="connsiteY56" fmla="*/ 523729 h 550907"/>
                <a:gd name="connsiteX57" fmla="*/ 247129 w 347736"/>
                <a:gd name="connsiteY57" fmla="*/ 503493 h 550907"/>
                <a:gd name="connsiteX58" fmla="*/ 296060 w 347736"/>
                <a:gd name="connsiteY58" fmla="*/ 462358 h 55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47736" h="550907">
                  <a:moveTo>
                    <a:pt x="296060" y="462358"/>
                  </a:moveTo>
                  <a:cubicBezTo>
                    <a:pt x="303856" y="444776"/>
                    <a:pt x="339186" y="431174"/>
                    <a:pt x="345821" y="415251"/>
                  </a:cubicBezTo>
                  <a:cubicBezTo>
                    <a:pt x="348806" y="407455"/>
                    <a:pt x="349802" y="403474"/>
                    <a:pt x="337030" y="388712"/>
                  </a:cubicBezTo>
                  <a:cubicBezTo>
                    <a:pt x="324258" y="373950"/>
                    <a:pt x="295729" y="364164"/>
                    <a:pt x="294733" y="356368"/>
                  </a:cubicBezTo>
                  <a:cubicBezTo>
                    <a:pt x="293738" y="348572"/>
                    <a:pt x="316296" y="347411"/>
                    <a:pt x="315467" y="337625"/>
                  </a:cubicBezTo>
                  <a:cubicBezTo>
                    <a:pt x="314637" y="327839"/>
                    <a:pt x="302695" y="327839"/>
                    <a:pt x="297719" y="319877"/>
                  </a:cubicBezTo>
                  <a:cubicBezTo>
                    <a:pt x="292743" y="311915"/>
                    <a:pt x="303524" y="307105"/>
                    <a:pt x="302529" y="303290"/>
                  </a:cubicBezTo>
                  <a:cubicBezTo>
                    <a:pt x="301534" y="299475"/>
                    <a:pt x="286938" y="297319"/>
                    <a:pt x="285942" y="292343"/>
                  </a:cubicBezTo>
                  <a:cubicBezTo>
                    <a:pt x="284947" y="287367"/>
                    <a:pt x="295729" y="288528"/>
                    <a:pt x="293738" y="282557"/>
                  </a:cubicBezTo>
                  <a:cubicBezTo>
                    <a:pt x="291748" y="276585"/>
                    <a:pt x="281961" y="265970"/>
                    <a:pt x="288928" y="257013"/>
                  </a:cubicBezTo>
                  <a:cubicBezTo>
                    <a:pt x="295895" y="248056"/>
                    <a:pt x="310491" y="257013"/>
                    <a:pt x="299709" y="237440"/>
                  </a:cubicBezTo>
                  <a:cubicBezTo>
                    <a:pt x="288928" y="217868"/>
                    <a:pt x="272175" y="193154"/>
                    <a:pt x="268194" y="187680"/>
                  </a:cubicBezTo>
                  <a:cubicBezTo>
                    <a:pt x="264214" y="182206"/>
                    <a:pt x="272175" y="171093"/>
                    <a:pt x="277980" y="167942"/>
                  </a:cubicBezTo>
                  <a:cubicBezTo>
                    <a:pt x="283786" y="164790"/>
                    <a:pt x="298714" y="149364"/>
                    <a:pt x="298714" y="143393"/>
                  </a:cubicBezTo>
                  <a:cubicBezTo>
                    <a:pt x="298714" y="137422"/>
                    <a:pt x="279971" y="121830"/>
                    <a:pt x="275161" y="118845"/>
                  </a:cubicBezTo>
                  <a:cubicBezTo>
                    <a:pt x="270351" y="115859"/>
                    <a:pt x="259403" y="116854"/>
                    <a:pt x="254427" y="107068"/>
                  </a:cubicBezTo>
                  <a:cubicBezTo>
                    <a:pt x="249451" y="97282"/>
                    <a:pt x="244641" y="94296"/>
                    <a:pt x="249451" y="88325"/>
                  </a:cubicBezTo>
                  <a:cubicBezTo>
                    <a:pt x="253365" y="83349"/>
                    <a:pt x="255141" y="77029"/>
                    <a:pt x="254427" y="70743"/>
                  </a:cubicBezTo>
                  <a:cubicBezTo>
                    <a:pt x="254427" y="64771"/>
                    <a:pt x="265209" y="69748"/>
                    <a:pt x="267199" y="60791"/>
                  </a:cubicBezTo>
                  <a:cubicBezTo>
                    <a:pt x="268609" y="56279"/>
                    <a:pt x="271114" y="52166"/>
                    <a:pt x="274497" y="48848"/>
                  </a:cubicBezTo>
                  <a:cubicBezTo>
                    <a:pt x="274995" y="42661"/>
                    <a:pt x="274995" y="36458"/>
                    <a:pt x="274497" y="30271"/>
                  </a:cubicBezTo>
                  <a:cubicBezTo>
                    <a:pt x="273005" y="20816"/>
                    <a:pt x="246134" y="17665"/>
                    <a:pt x="239831" y="6552"/>
                  </a:cubicBezTo>
                  <a:cubicBezTo>
                    <a:pt x="233528" y="-4561"/>
                    <a:pt x="217770" y="249"/>
                    <a:pt x="212960" y="6552"/>
                  </a:cubicBezTo>
                  <a:cubicBezTo>
                    <a:pt x="208150" y="12855"/>
                    <a:pt x="179787" y="5059"/>
                    <a:pt x="179787" y="14513"/>
                  </a:cubicBezTo>
                  <a:cubicBezTo>
                    <a:pt x="179787" y="23968"/>
                    <a:pt x="159385" y="25461"/>
                    <a:pt x="159385" y="36574"/>
                  </a:cubicBezTo>
                  <a:cubicBezTo>
                    <a:pt x="159385" y="47687"/>
                    <a:pt x="168839" y="66596"/>
                    <a:pt x="153082" y="64937"/>
                  </a:cubicBezTo>
                  <a:cubicBezTo>
                    <a:pt x="137324" y="63279"/>
                    <a:pt x="148271" y="71240"/>
                    <a:pt x="138817" y="84012"/>
                  </a:cubicBezTo>
                  <a:cubicBezTo>
                    <a:pt x="129363" y="96784"/>
                    <a:pt x="129363" y="76051"/>
                    <a:pt x="119908" y="79202"/>
                  </a:cubicBezTo>
                  <a:cubicBezTo>
                    <a:pt x="110453" y="82353"/>
                    <a:pt x="99340" y="69748"/>
                    <a:pt x="94530" y="77543"/>
                  </a:cubicBezTo>
                  <a:cubicBezTo>
                    <a:pt x="89720" y="85339"/>
                    <a:pt x="74128" y="79202"/>
                    <a:pt x="58371" y="76051"/>
                  </a:cubicBezTo>
                  <a:cubicBezTo>
                    <a:pt x="42613" y="72899"/>
                    <a:pt x="34652" y="50839"/>
                    <a:pt x="22046" y="49180"/>
                  </a:cubicBezTo>
                  <a:cubicBezTo>
                    <a:pt x="11878" y="49362"/>
                    <a:pt x="2987" y="56063"/>
                    <a:pt x="-15" y="65767"/>
                  </a:cubicBezTo>
                  <a:cubicBezTo>
                    <a:pt x="11264" y="75569"/>
                    <a:pt x="23356" y="84394"/>
                    <a:pt x="36145" y="92140"/>
                  </a:cubicBezTo>
                  <a:cubicBezTo>
                    <a:pt x="52732" y="100101"/>
                    <a:pt x="85076" y="109556"/>
                    <a:pt x="83583" y="120669"/>
                  </a:cubicBezTo>
                  <a:cubicBezTo>
                    <a:pt x="82090" y="131782"/>
                    <a:pt x="77280" y="147374"/>
                    <a:pt x="85076" y="152184"/>
                  </a:cubicBezTo>
                  <a:cubicBezTo>
                    <a:pt x="92871" y="156994"/>
                    <a:pt x="83583" y="177396"/>
                    <a:pt x="93037" y="182206"/>
                  </a:cubicBezTo>
                  <a:cubicBezTo>
                    <a:pt x="102492" y="187017"/>
                    <a:pt x="99340" y="210570"/>
                    <a:pt x="91379" y="210570"/>
                  </a:cubicBezTo>
                  <a:cubicBezTo>
                    <a:pt x="83417" y="210570"/>
                    <a:pt x="93037" y="223176"/>
                    <a:pt x="97682" y="227157"/>
                  </a:cubicBezTo>
                  <a:cubicBezTo>
                    <a:pt x="100800" y="232132"/>
                    <a:pt x="102475" y="237872"/>
                    <a:pt x="102492" y="243743"/>
                  </a:cubicBezTo>
                  <a:cubicBezTo>
                    <a:pt x="111698" y="246613"/>
                    <a:pt x="120621" y="250279"/>
                    <a:pt x="129197" y="254691"/>
                  </a:cubicBezTo>
                  <a:cubicBezTo>
                    <a:pt x="142466" y="260662"/>
                    <a:pt x="140476" y="269951"/>
                    <a:pt x="140973" y="280234"/>
                  </a:cubicBezTo>
                  <a:cubicBezTo>
                    <a:pt x="141471" y="290518"/>
                    <a:pt x="141969" y="296821"/>
                    <a:pt x="135002" y="292011"/>
                  </a:cubicBezTo>
                  <a:cubicBezTo>
                    <a:pt x="128035" y="287201"/>
                    <a:pt x="120903" y="292011"/>
                    <a:pt x="116922" y="306773"/>
                  </a:cubicBezTo>
                  <a:cubicBezTo>
                    <a:pt x="111615" y="322382"/>
                    <a:pt x="99357" y="334639"/>
                    <a:pt x="83749" y="339947"/>
                  </a:cubicBezTo>
                  <a:cubicBezTo>
                    <a:pt x="72470" y="340942"/>
                    <a:pt x="73465" y="352719"/>
                    <a:pt x="64176" y="355207"/>
                  </a:cubicBezTo>
                  <a:cubicBezTo>
                    <a:pt x="54888" y="357695"/>
                    <a:pt x="45931" y="363003"/>
                    <a:pt x="46428" y="373287"/>
                  </a:cubicBezTo>
                  <a:cubicBezTo>
                    <a:pt x="46926" y="383570"/>
                    <a:pt x="32661" y="384566"/>
                    <a:pt x="23373" y="384566"/>
                  </a:cubicBezTo>
                  <a:cubicBezTo>
                    <a:pt x="14084" y="384566"/>
                    <a:pt x="16074" y="401152"/>
                    <a:pt x="8611" y="405797"/>
                  </a:cubicBezTo>
                  <a:cubicBezTo>
                    <a:pt x="1146" y="410441"/>
                    <a:pt x="2805" y="416081"/>
                    <a:pt x="9606" y="424872"/>
                  </a:cubicBezTo>
                  <a:cubicBezTo>
                    <a:pt x="16406" y="433663"/>
                    <a:pt x="10601" y="441458"/>
                    <a:pt x="13089" y="447927"/>
                  </a:cubicBezTo>
                  <a:cubicBezTo>
                    <a:pt x="20652" y="458808"/>
                    <a:pt x="22792" y="472575"/>
                    <a:pt x="18894" y="485248"/>
                  </a:cubicBezTo>
                  <a:cubicBezTo>
                    <a:pt x="11596" y="501835"/>
                    <a:pt x="3800" y="521739"/>
                    <a:pt x="10103" y="519748"/>
                  </a:cubicBezTo>
                  <a:cubicBezTo>
                    <a:pt x="16406" y="517758"/>
                    <a:pt x="31334" y="533018"/>
                    <a:pt x="41121" y="532022"/>
                  </a:cubicBezTo>
                  <a:cubicBezTo>
                    <a:pt x="50907" y="531027"/>
                    <a:pt x="51902" y="545790"/>
                    <a:pt x="61190" y="542804"/>
                  </a:cubicBezTo>
                  <a:cubicBezTo>
                    <a:pt x="70479" y="539818"/>
                    <a:pt x="70479" y="551595"/>
                    <a:pt x="97516" y="550766"/>
                  </a:cubicBezTo>
                  <a:cubicBezTo>
                    <a:pt x="124552" y="549936"/>
                    <a:pt x="179123" y="527212"/>
                    <a:pt x="200686" y="527212"/>
                  </a:cubicBezTo>
                  <a:cubicBezTo>
                    <a:pt x="210738" y="527312"/>
                    <a:pt x="220772" y="526134"/>
                    <a:pt x="230542" y="523729"/>
                  </a:cubicBezTo>
                  <a:cubicBezTo>
                    <a:pt x="235419" y="516481"/>
                    <a:pt x="240975" y="509697"/>
                    <a:pt x="247129" y="503493"/>
                  </a:cubicBezTo>
                  <a:cubicBezTo>
                    <a:pt x="258740" y="489892"/>
                    <a:pt x="288264" y="480106"/>
                    <a:pt x="296060" y="462358"/>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4" name="Freeform: Shape 573">
              <a:extLst>
                <a:ext uri="{FF2B5EF4-FFF2-40B4-BE49-F238E27FC236}">
                  <a16:creationId xmlns:a16="http://schemas.microsoft.com/office/drawing/2014/main" id="{F8EC15AF-8AFE-4336-93C1-103E9E77A1A3}"/>
                </a:ext>
              </a:extLst>
            </p:cNvPr>
            <p:cNvSpPr/>
            <p:nvPr/>
          </p:nvSpPr>
          <p:spPr>
            <a:xfrm>
              <a:off x="8141781" y="4504449"/>
              <a:ext cx="550098" cy="163993"/>
            </a:xfrm>
            <a:custGeom>
              <a:avLst/>
              <a:gdLst>
                <a:gd name="connsiteX0" fmla="*/ 117089 w 643299"/>
                <a:gd name="connsiteY0" fmla="*/ 71058 h 195530"/>
                <a:gd name="connsiteX1" fmla="*/ 91379 w 643299"/>
                <a:gd name="connsiteY1" fmla="*/ 36226 h 195530"/>
                <a:gd name="connsiteX2" fmla="*/ 74792 w 643299"/>
                <a:gd name="connsiteY2" fmla="*/ 19639 h 195530"/>
                <a:gd name="connsiteX3" fmla="*/ 72138 w 643299"/>
                <a:gd name="connsiteY3" fmla="*/ 14995 h 195530"/>
                <a:gd name="connsiteX4" fmla="*/ 62021 w 643299"/>
                <a:gd name="connsiteY4" fmla="*/ 28264 h 195530"/>
                <a:gd name="connsiteX5" fmla="*/ 35813 w 643299"/>
                <a:gd name="connsiteY5" fmla="*/ 25112 h 195530"/>
                <a:gd name="connsiteX6" fmla="*/ 19226 w 643299"/>
                <a:gd name="connsiteY6" fmla="*/ 5374 h 195530"/>
                <a:gd name="connsiteX7" fmla="*/ -15 w 643299"/>
                <a:gd name="connsiteY7" fmla="*/ 4213 h 195530"/>
                <a:gd name="connsiteX8" fmla="*/ 9275 w 643299"/>
                <a:gd name="connsiteY8" fmla="*/ 54969 h 195530"/>
                <a:gd name="connsiteX9" fmla="*/ 42448 w 643299"/>
                <a:gd name="connsiteY9" fmla="*/ 118828 h 195530"/>
                <a:gd name="connsiteX10" fmla="*/ 74461 w 643299"/>
                <a:gd name="connsiteY10" fmla="*/ 149347 h 195530"/>
                <a:gd name="connsiteX11" fmla="*/ 138320 w 643299"/>
                <a:gd name="connsiteY11" fmla="*/ 181692 h 195530"/>
                <a:gd name="connsiteX12" fmla="*/ 116259 w 643299"/>
                <a:gd name="connsiteY12" fmla="*/ 134585 h 195530"/>
                <a:gd name="connsiteX13" fmla="*/ 117089 w 643299"/>
                <a:gd name="connsiteY13" fmla="*/ 71058 h 195530"/>
                <a:gd name="connsiteX14" fmla="*/ 619670 w 643299"/>
                <a:gd name="connsiteY14" fmla="*/ 33240 h 195530"/>
                <a:gd name="connsiteX15" fmla="*/ 590145 w 643299"/>
                <a:gd name="connsiteY15" fmla="*/ 25444 h 195530"/>
                <a:gd name="connsiteX16" fmla="*/ 559626 w 643299"/>
                <a:gd name="connsiteY16" fmla="*/ -100 h 195530"/>
                <a:gd name="connsiteX17" fmla="*/ 533086 w 643299"/>
                <a:gd name="connsiteY17" fmla="*/ 33074 h 195530"/>
                <a:gd name="connsiteX18" fmla="*/ 515504 w 643299"/>
                <a:gd name="connsiteY18" fmla="*/ 55632 h 195530"/>
                <a:gd name="connsiteX19" fmla="*/ 508206 w 643299"/>
                <a:gd name="connsiteY19" fmla="*/ 64755 h 195530"/>
                <a:gd name="connsiteX20" fmla="*/ 508206 w 643299"/>
                <a:gd name="connsiteY20" fmla="*/ 84161 h 195530"/>
                <a:gd name="connsiteX21" fmla="*/ 486643 w 643299"/>
                <a:gd name="connsiteY21" fmla="*/ 91957 h 195530"/>
                <a:gd name="connsiteX22" fmla="*/ 468563 w 643299"/>
                <a:gd name="connsiteY22" fmla="*/ 68570 h 195530"/>
                <a:gd name="connsiteX23" fmla="*/ 468563 w 643299"/>
                <a:gd name="connsiteY23" fmla="*/ 68570 h 195530"/>
                <a:gd name="connsiteX24" fmla="*/ 439205 w 643299"/>
                <a:gd name="connsiteY24" fmla="*/ 114847 h 195530"/>
                <a:gd name="connsiteX25" fmla="*/ 390937 w 643299"/>
                <a:gd name="connsiteY25" fmla="*/ 129610 h 195530"/>
                <a:gd name="connsiteX26" fmla="*/ 369374 w 643299"/>
                <a:gd name="connsiteY26" fmla="*/ 171740 h 195530"/>
                <a:gd name="connsiteX27" fmla="*/ 319614 w 643299"/>
                <a:gd name="connsiteY27" fmla="*/ 159466 h 195530"/>
                <a:gd name="connsiteX28" fmla="*/ 329566 w 643299"/>
                <a:gd name="connsiteY28" fmla="*/ 180697 h 195530"/>
                <a:gd name="connsiteX29" fmla="*/ 357100 w 643299"/>
                <a:gd name="connsiteY29" fmla="*/ 194298 h 195530"/>
                <a:gd name="connsiteX30" fmla="*/ 400391 w 643299"/>
                <a:gd name="connsiteY30" fmla="*/ 190483 h 195530"/>
                <a:gd name="connsiteX31" fmla="*/ 433565 w 643299"/>
                <a:gd name="connsiteY31" fmla="*/ 176716 h 195530"/>
                <a:gd name="connsiteX32" fmla="*/ 464914 w 643299"/>
                <a:gd name="connsiteY32" fmla="*/ 182521 h 195530"/>
                <a:gd name="connsiteX33" fmla="*/ 494439 w 643299"/>
                <a:gd name="connsiteY33" fmla="*/ 162949 h 195530"/>
                <a:gd name="connsiteX34" fmla="*/ 504391 w 643299"/>
                <a:gd name="connsiteY34" fmla="*/ 131434 h 195530"/>
                <a:gd name="connsiteX35" fmla="*/ 523963 w 643299"/>
                <a:gd name="connsiteY35" fmla="*/ 102075 h 195530"/>
                <a:gd name="connsiteX36" fmla="*/ 575051 w 643299"/>
                <a:gd name="connsiteY36" fmla="*/ 80347 h 195530"/>
                <a:gd name="connsiteX37" fmla="*/ 591638 w 643299"/>
                <a:gd name="connsiteY37" fmla="*/ 85820 h 195530"/>
                <a:gd name="connsiteX38" fmla="*/ 612206 w 643299"/>
                <a:gd name="connsiteY38" fmla="*/ 65584 h 195530"/>
                <a:gd name="connsiteX39" fmla="*/ 642725 w 643299"/>
                <a:gd name="connsiteY39" fmla="*/ 52813 h 195530"/>
                <a:gd name="connsiteX40" fmla="*/ 619670 w 643299"/>
                <a:gd name="connsiteY40" fmla="*/ 33240 h 195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43299" h="195530">
                  <a:moveTo>
                    <a:pt x="117089" y="71058"/>
                  </a:moveTo>
                  <a:cubicBezTo>
                    <a:pt x="117089" y="48997"/>
                    <a:pt x="96355" y="51485"/>
                    <a:pt x="91379" y="36226"/>
                  </a:cubicBezTo>
                  <a:cubicBezTo>
                    <a:pt x="86403" y="20966"/>
                    <a:pt x="78275" y="29757"/>
                    <a:pt x="74792" y="19639"/>
                  </a:cubicBezTo>
                  <a:cubicBezTo>
                    <a:pt x="74162" y="17963"/>
                    <a:pt x="73266" y="16388"/>
                    <a:pt x="72138" y="14995"/>
                  </a:cubicBezTo>
                  <a:cubicBezTo>
                    <a:pt x="61025" y="18478"/>
                    <a:pt x="65172" y="27766"/>
                    <a:pt x="62021" y="28264"/>
                  </a:cubicBezTo>
                  <a:cubicBezTo>
                    <a:pt x="58869" y="28761"/>
                    <a:pt x="35813" y="31581"/>
                    <a:pt x="35813" y="25112"/>
                  </a:cubicBezTo>
                  <a:cubicBezTo>
                    <a:pt x="36078" y="15277"/>
                    <a:pt x="28962" y="6800"/>
                    <a:pt x="19226" y="5374"/>
                  </a:cubicBezTo>
                  <a:cubicBezTo>
                    <a:pt x="12874" y="4263"/>
                    <a:pt x="6421" y="3881"/>
                    <a:pt x="-15" y="4213"/>
                  </a:cubicBezTo>
                  <a:cubicBezTo>
                    <a:pt x="6521" y="20319"/>
                    <a:pt x="9672" y="37586"/>
                    <a:pt x="9275" y="54969"/>
                  </a:cubicBezTo>
                  <a:cubicBezTo>
                    <a:pt x="9275" y="74707"/>
                    <a:pt x="38799" y="106056"/>
                    <a:pt x="42448" y="118828"/>
                  </a:cubicBezTo>
                  <a:cubicBezTo>
                    <a:pt x="46097" y="131600"/>
                    <a:pt x="55219" y="135415"/>
                    <a:pt x="74461" y="149347"/>
                  </a:cubicBezTo>
                  <a:cubicBezTo>
                    <a:pt x="93701" y="163281"/>
                    <a:pt x="130855" y="185175"/>
                    <a:pt x="138320" y="181692"/>
                  </a:cubicBezTo>
                  <a:cubicBezTo>
                    <a:pt x="145784" y="178209"/>
                    <a:pt x="127041" y="145864"/>
                    <a:pt x="116259" y="134585"/>
                  </a:cubicBezTo>
                  <a:cubicBezTo>
                    <a:pt x="105478" y="123307"/>
                    <a:pt x="116591" y="93118"/>
                    <a:pt x="117089" y="71058"/>
                  </a:cubicBezTo>
                  <a:close/>
                  <a:moveTo>
                    <a:pt x="619670" y="33240"/>
                  </a:moveTo>
                  <a:cubicBezTo>
                    <a:pt x="610712" y="35231"/>
                    <a:pt x="590145" y="34235"/>
                    <a:pt x="590145" y="25444"/>
                  </a:cubicBezTo>
                  <a:cubicBezTo>
                    <a:pt x="590145" y="16653"/>
                    <a:pt x="571402" y="-100"/>
                    <a:pt x="559626" y="-100"/>
                  </a:cubicBezTo>
                  <a:cubicBezTo>
                    <a:pt x="547849" y="-100"/>
                    <a:pt x="534081" y="23453"/>
                    <a:pt x="533086" y="33074"/>
                  </a:cubicBezTo>
                  <a:cubicBezTo>
                    <a:pt x="532091" y="42694"/>
                    <a:pt x="513514" y="41865"/>
                    <a:pt x="515504" y="55632"/>
                  </a:cubicBezTo>
                  <a:cubicBezTo>
                    <a:pt x="515504" y="61106"/>
                    <a:pt x="512685" y="63428"/>
                    <a:pt x="508206" y="64755"/>
                  </a:cubicBezTo>
                  <a:cubicBezTo>
                    <a:pt x="511191" y="76698"/>
                    <a:pt x="512851" y="85323"/>
                    <a:pt x="508206" y="84161"/>
                  </a:cubicBezTo>
                  <a:cubicBezTo>
                    <a:pt x="500410" y="82171"/>
                    <a:pt x="498420" y="91957"/>
                    <a:pt x="486643" y="91957"/>
                  </a:cubicBezTo>
                  <a:cubicBezTo>
                    <a:pt x="482662" y="91957"/>
                    <a:pt x="475861" y="81839"/>
                    <a:pt x="468563" y="68570"/>
                  </a:cubicBezTo>
                  <a:lnTo>
                    <a:pt x="468563" y="68570"/>
                  </a:lnTo>
                  <a:cubicBezTo>
                    <a:pt x="460768" y="68570"/>
                    <a:pt x="443020" y="96104"/>
                    <a:pt x="439205" y="114847"/>
                  </a:cubicBezTo>
                  <a:cubicBezTo>
                    <a:pt x="435389" y="133590"/>
                    <a:pt x="417476" y="127619"/>
                    <a:pt x="390937" y="129610"/>
                  </a:cubicBezTo>
                  <a:cubicBezTo>
                    <a:pt x="364398" y="131600"/>
                    <a:pt x="375345" y="158968"/>
                    <a:pt x="369374" y="171740"/>
                  </a:cubicBezTo>
                  <a:cubicBezTo>
                    <a:pt x="363403" y="184512"/>
                    <a:pt x="334873" y="162286"/>
                    <a:pt x="319614" y="159466"/>
                  </a:cubicBezTo>
                  <a:cubicBezTo>
                    <a:pt x="322102" y="169916"/>
                    <a:pt x="325585" y="180697"/>
                    <a:pt x="329566" y="180697"/>
                  </a:cubicBezTo>
                  <a:cubicBezTo>
                    <a:pt x="337362" y="180697"/>
                    <a:pt x="349305" y="200269"/>
                    <a:pt x="357100" y="194298"/>
                  </a:cubicBezTo>
                  <a:cubicBezTo>
                    <a:pt x="364895" y="188327"/>
                    <a:pt x="388449" y="194298"/>
                    <a:pt x="400391" y="190483"/>
                  </a:cubicBezTo>
                  <a:cubicBezTo>
                    <a:pt x="412334" y="186668"/>
                    <a:pt x="413993" y="176716"/>
                    <a:pt x="433565" y="176716"/>
                  </a:cubicBezTo>
                  <a:cubicBezTo>
                    <a:pt x="453137" y="176716"/>
                    <a:pt x="445342" y="192473"/>
                    <a:pt x="464914" y="182521"/>
                  </a:cubicBezTo>
                  <a:cubicBezTo>
                    <a:pt x="484487" y="172569"/>
                    <a:pt x="496430" y="180697"/>
                    <a:pt x="494439" y="162949"/>
                  </a:cubicBezTo>
                  <a:cubicBezTo>
                    <a:pt x="492448" y="145201"/>
                    <a:pt x="506215" y="145201"/>
                    <a:pt x="504391" y="131434"/>
                  </a:cubicBezTo>
                  <a:cubicBezTo>
                    <a:pt x="502567" y="117667"/>
                    <a:pt x="525954" y="127619"/>
                    <a:pt x="523963" y="102075"/>
                  </a:cubicBezTo>
                  <a:cubicBezTo>
                    <a:pt x="521973" y="76532"/>
                    <a:pt x="559293" y="80347"/>
                    <a:pt x="575051" y="80347"/>
                  </a:cubicBezTo>
                  <a:cubicBezTo>
                    <a:pt x="580906" y="80960"/>
                    <a:pt x="586562" y="82835"/>
                    <a:pt x="591638" y="85820"/>
                  </a:cubicBezTo>
                  <a:cubicBezTo>
                    <a:pt x="603249" y="80015"/>
                    <a:pt x="620001" y="72551"/>
                    <a:pt x="612206" y="65584"/>
                  </a:cubicBezTo>
                  <a:cubicBezTo>
                    <a:pt x="604409" y="58618"/>
                    <a:pt x="638744" y="64589"/>
                    <a:pt x="642725" y="52813"/>
                  </a:cubicBezTo>
                  <a:cubicBezTo>
                    <a:pt x="646706" y="41036"/>
                    <a:pt x="628460" y="31415"/>
                    <a:pt x="619670" y="33240"/>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5" name="Freeform: Shape 574">
              <a:extLst>
                <a:ext uri="{FF2B5EF4-FFF2-40B4-BE49-F238E27FC236}">
                  <a16:creationId xmlns:a16="http://schemas.microsoft.com/office/drawing/2014/main" id="{CCD06163-6268-44CF-864B-0C1C16DF1C36}"/>
                </a:ext>
              </a:extLst>
            </p:cNvPr>
            <p:cNvSpPr/>
            <p:nvPr/>
          </p:nvSpPr>
          <p:spPr>
            <a:xfrm>
              <a:off x="5705314" y="3263214"/>
              <a:ext cx="95584" cy="52495"/>
            </a:xfrm>
            <a:custGeom>
              <a:avLst/>
              <a:gdLst>
                <a:gd name="connsiteX0" fmla="*/ 135 w 111779"/>
                <a:gd name="connsiteY0" fmla="*/ 55193 h 62590"/>
                <a:gd name="connsiteX1" fmla="*/ 21366 w 111779"/>
                <a:gd name="connsiteY1" fmla="*/ 52539 h 62590"/>
                <a:gd name="connsiteX2" fmla="*/ 27171 w 111779"/>
                <a:gd name="connsiteY2" fmla="*/ 62491 h 62590"/>
                <a:gd name="connsiteX3" fmla="*/ 50725 w 111779"/>
                <a:gd name="connsiteY3" fmla="*/ 57847 h 62590"/>
                <a:gd name="connsiteX4" fmla="*/ 71292 w 111779"/>
                <a:gd name="connsiteY4" fmla="*/ 57847 h 62590"/>
                <a:gd name="connsiteX5" fmla="*/ 83069 w 111779"/>
                <a:gd name="connsiteY5" fmla="*/ 43084 h 62590"/>
                <a:gd name="connsiteX6" fmla="*/ 91197 w 111779"/>
                <a:gd name="connsiteY6" fmla="*/ 26498 h 62590"/>
                <a:gd name="connsiteX7" fmla="*/ 111764 w 111779"/>
                <a:gd name="connsiteY7" fmla="*/ 12565 h 62590"/>
                <a:gd name="connsiteX8" fmla="*/ 103637 w 111779"/>
                <a:gd name="connsiteY8" fmla="*/ -41 h 62590"/>
                <a:gd name="connsiteX9" fmla="*/ 80747 w 111779"/>
                <a:gd name="connsiteY9" fmla="*/ 7423 h 62590"/>
                <a:gd name="connsiteX10" fmla="*/ 52052 w 111779"/>
                <a:gd name="connsiteY10" fmla="*/ 17707 h 62590"/>
                <a:gd name="connsiteX11" fmla="*/ 15229 w 111779"/>
                <a:gd name="connsiteY11" fmla="*/ 11072 h 62590"/>
                <a:gd name="connsiteX12" fmla="*/ 1960 w 111779"/>
                <a:gd name="connsiteY12" fmla="*/ 10077 h 62590"/>
                <a:gd name="connsiteX13" fmla="*/ 135 w 111779"/>
                <a:gd name="connsiteY13" fmla="*/ 55193 h 6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779" h="62590">
                  <a:moveTo>
                    <a:pt x="135" y="55193"/>
                  </a:moveTo>
                  <a:cubicBezTo>
                    <a:pt x="6753" y="52058"/>
                    <a:pt x="14184" y="51129"/>
                    <a:pt x="21366" y="52539"/>
                  </a:cubicBezTo>
                  <a:cubicBezTo>
                    <a:pt x="25181" y="54032"/>
                    <a:pt x="26508" y="58178"/>
                    <a:pt x="27171" y="62491"/>
                  </a:cubicBezTo>
                  <a:cubicBezTo>
                    <a:pt x="35117" y="61496"/>
                    <a:pt x="42995" y="59953"/>
                    <a:pt x="50725" y="57847"/>
                  </a:cubicBezTo>
                  <a:cubicBezTo>
                    <a:pt x="56530" y="55691"/>
                    <a:pt x="69800" y="63155"/>
                    <a:pt x="71292" y="57847"/>
                  </a:cubicBezTo>
                  <a:cubicBezTo>
                    <a:pt x="72785" y="52539"/>
                    <a:pt x="77098" y="43084"/>
                    <a:pt x="83069" y="43084"/>
                  </a:cubicBezTo>
                  <a:cubicBezTo>
                    <a:pt x="89041" y="43084"/>
                    <a:pt x="85225" y="27659"/>
                    <a:pt x="91197" y="26498"/>
                  </a:cubicBezTo>
                  <a:cubicBezTo>
                    <a:pt x="98777" y="23031"/>
                    <a:pt x="105727" y="18320"/>
                    <a:pt x="111764" y="12565"/>
                  </a:cubicBezTo>
                  <a:cubicBezTo>
                    <a:pt x="111764" y="12565"/>
                    <a:pt x="105959" y="788"/>
                    <a:pt x="103637" y="-41"/>
                  </a:cubicBezTo>
                  <a:cubicBezTo>
                    <a:pt x="101315" y="-871"/>
                    <a:pt x="94016" y="7423"/>
                    <a:pt x="80747" y="7423"/>
                  </a:cubicBezTo>
                  <a:cubicBezTo>
                    <a:pt x="67478" y="7423"/>
                    <a:pt x="58023" y="17707"/>
                    <a:pt x="52052" y="17707"/>
                  </a:cubicBezTo>
                  <a:cubicBezTo>
                    <a:pt x="46081" y="17707"/>
                    <a:pt x="27835" y="11735"/>
                    <a:pt x="15229" y="11072"/>
                  </a:cubicBezTo>
                  <a:lnTo>
                    <a:pt x="1960" y="10077"/>
                  </a:lnTo>
                  <a:cubicBezTo>
                    <a:pt x="285" y="25055"/>
                    <a:pt x="-329" y="40132"/>
                    <a:pt x="135" y="55193"/>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6" name="Freeform: Shape 575">
              <a:extLst>
                <a:ext uri="{FF2B5EF4-FFF2-40B4-BE49-F238E27FC236}">
                  <a16:creationId xmlns:a16="http://schemas.microsoft.com/office/drawing/2014/main" id="{E36CB4FA-45A7-47E2-B99D-5DBFE8BA38C9}"/>
                </a:ext>
              </a:extLst>
            </p:cNvPr>
            <p:cNvSpPr/>
            <p:nvPr/>
          </p:nvSpPr>
          <p:spPr>
            <a:xfrm>
              <a:off x="5901886" y="3440635"/>
              <a:ext cx="179282" cy="220637"/>
            </a:xfrm>
            <a:custGeom>
              <a:avLst/>
              <a:gdLst>
                <a:gd name="connsiteX0" fmla="*/ 207984 w 209657"/>
                <a:gd name="connsiteY0" fmla="*/ -100 h 263067"/>
                <a:gd name="connsiteX1" fmla="*/ 191397 w 209657"/>
                <a:gd name="connsiteY1" fmla="*/ 7530 h 263067"/>
                <a:gd name="connsiteX2" fmla="*/ 178626 w 209657"/>
                <a:gd name="connsiteY2" fmla="*/ 15326 h 263067"/>
                <a:gd name="connsiteX3" fmla="*/ 143295 w 209657"/>
                <a:gd name="connsiteY3" fmla="*/ 9521 h 263067"/>
                <a:gd name="connsiteX4" fmla="*/ 98677 w 209657"/>
                <a:gd name="connsiteY4" fmla="*/ 9521 h 263067"/>
                <a:gd name="connsiteX5" fmla="*/ 98677 w 209657"/>
                <a:gd name="connsiteY5" fmla="*/ 11014 h 263067"/>
                <a:gd name="connsiteX6" fmla="*/ 67826 w 209657"/>
                <a:gd name="connsiteY6" fmla="*/ 25112 h 263067"/>
                <a:gd name="connsiteX7" fmla="*/ 52399 w 209657"/>
                <a:gd name="connsiteY7" fmla="*/ 34733 h 263067"/>
                <a:gd name="connsiteX8" fmla="*/ 29510 w 209657"/>
                <a:gd name="connsiteY8" fmla="*/ 37718 h 263067"/>
                <a:gd name="connsiteX9" fmla="*/ 17733 w 209657"/>
                <a:gd name="connsiteY9" fmla="*/ 56959 h 263067"/>
                <a:gd name="connsiteX10" fmla="*/ 9606 w 209657"/>
                <a:gd name="connsiteY10" fmla="*/ 69399 h 263067"/>
                <a:gd name="connsiteX11" fmla="*/ -15 w 209657"/>
                <a:gd name="connsiteY11" fmla="*/ 87313 h 263067"/>
                <a:gd name="connsiteX12" fmla="*/ 1478 w 209657"/>
                <a:gd name="connsiteY12" fmla="*/ 87313 h 263067"/>
                <a:gd name="connsiteX13" fmla="*/ 19226 w 209657"/>
                <a:gd name="connsiteY13" fmla="*/ 115842 h 263067"/>
                <a:gd name="connsiteX14" fmla="*/ 42779 w 209657"/>
                <a:gd name="connsiteY14" fmla="*/ 123638 h 263067"/>
                <a:gd name="connsiteX15" fmla="*/ 72635 w 209657"/>
                <a:gd name="connsiteY15" fmla="*/ 134420 h 263067"/>
                <a:gd name="connsiteX16" fmla="*/ 37305 w 209657"/>
                <a:gd name="connsiteY16" fmla="*/ 137405 h 263067"/>
                <a:gd name="connsiteX17" fmla="*/ 44272 w 209657"/>
                <a:gd name="connsiteY17" fmla="*/ 165437 h 263067"/>
                <a:gd name="connsiteX18" fmla="*/ 58470 w 209657"/>
                <a:gd name="connsiteY18" fmla="*/ 188095 h 263067"/>
                <a:gd name="connsiteX19" fmla="*/ 60859 w 209657"/>
                <a:gd name="connsiteY19" fmla="*/ 188493 h 263067"/>
                <a:gd name="connsiteX20" fmla="*/ 91876 w 209657"/>
                <a:gd name="connsiteY20" fmla="*/ 203255 h 263067"/>
                <a:gd name="connsiteX21" fmla="*/ 85905 w 209657"/>
                <a:gd name="connsiteY21" fmla="*/ 170081 h 263067"/>
                <a:gd name="connsiteX22" fmla="*/ 109127 w 209657"/>
                <a:gd name="connsiteY22" fmla="*/ 169086 h 263067"/>
                <a:gd name="connsiteX23" fmla="*/ 93867 w 209657"/>
                <a:gd name="connsiteY23" fmla="*/ 155982 h 263067"/>
                <a:gd name="connsiteX24" fmla="*/ 105644 w 209657"/>
                <a:gd name="connsiteY24" fmla="*/ 149514 h 263067"/>
                <a:gd name="connsiteX25" fmla="*/ 129694 w 209657"/>
                <a:gd name="connsiteY25" fmla="*/ 146528 h 263067"/>
                <a:gd name="connsiteX26" fmla="*/ 118913 w 209657"/>
                <a:gd name="connsiteY26" fmla="*/ 119491 h 263067"/>
                <a:gd name="connsiteX27" fmla="*/ 91379 w 209657"/>
                <a:gd name="connsiteY27" fmla="*/ 120487 h 263067"/>
                <a:gd name="connsiteX28" fmla="*/ 102160 w 209657"/>
                <a:gd name="connsiteY28" fmla="*/ 102905 h 263067"/>
                <a:gd name="connsiteX29" fmla="*/ 75123 w 209657"/>
                <a:gd name="connsiteY29" fmla="*/ 65418 h 263067"/>
                <a:gd name="connsiteX30" fmla="*/ 91710 w 209657"/>
                <a:gd name="connsiteY30" fmla="*/ 56130 h 263067"/>
                <a:gd name="connsiteX31" fmla="*/ 118249 w 209657"/>
                <a:gd name="connsiteY31" fmla="*/ 60111 h 263067"/>
                <a:gd name="connsiteX32" fmla="*/ 124552 w 209657"/>
                <a:gd name="connsiteY32" fmla="*/ 35064 h 263067"/>
                <a:gd name="connsiteX33" fmla="*/ 144788 w 209657"/>
                <a:gd name="connsiteY33" fmla="*/ 41368 h 263067"/>
                <a:gd name="connsiteX34" fmla="*/ 169835 w 209657"/>
                <a:gd name="connsiteY34" fmla="*/ 29093 h 263067"/>
                <a:gd name="connsiteX35" fmla="*/ 192227 w 209657"/>
                <a:gd name="connsiteY35" fmla="*/ 39875 h 263067"/>
                <a:gd name="connsiteX36" fmla="*/ 200022 w 209657"/>
                <a:gd name="connsiteY36" fmla="*/ 28430 h 263067"/>
                <a:gd name="connsiteX37" fmla="*/ 209643 w 209657"/>
                <a:gd name="connsiteY37" fmla="*/ 12838 h 263067"/>
                <a:gd name="connsiteX38" fmla="*/ 207984 w 209657"/>
                <a:gd name="connsiteY38" fmla="*/ -100 h 263067"/>
                <a:gd name="connsiteX39" fmla="*/ 180118 w 209657"/>
                <a:gd name="connsiteY39" fmla="*/ 247708 h 263067"/>
                <a:gd name="connsiteX40" fmla="*/ 127538 w 209657"/>
                <a:gd name="connsiteY40" fmla="*/ 241902 h 263067"/>
                <a:gd name="connsiteX41" fmla="*/ 107468 w 209657"/>
                <a:gd name="connsiteY41" fmla="*/ 250196 h 263067"/>
                <a:gd name="connsiteX42" fmla="*/ 156067 w 209657"/>
                <a:gd name="connsiteY42" fmla="*/ 262968 h 263067"/>
                <a:gd name="connsiteX43" fmla="*/ 200852 w 209657"/>
                <a:gd name="connsiteY43" fmla="*/ 249201 h 263067"/>
                <a:gd name="connsiteX44" fmla="*/ 180118 w 209657"/>
                <a:gd name="connsiteY44" fmla="*/ 247708 h 26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9657" h="263067">
                  <a:moveTo>
                    <a:pt x="207984" y="-100"/>
                  </a:moveTo>
                  <a:cubicBezTo>
                    <a:pt x="200520" y="-100"/>
                    <a:pt x="190236" y="3384"/>
                    <a:pt x="191397" y="7530"/>
                  </a:cubicBezTo>
                  <a:cubicBezTo>
                    <a:pt x="192558" y="11677"/>
                    <a:pt x="186421" y="15326"/>
                    <a:pt x="178626" y="15326"/>
                  </a:cubicBezTo>
                  <a:cubicBezTo>
                    <a:pt x="166666" y="14746"/>
                    <a:pt x="154807" y="12805"/>
                    <a:pt x="143295" y="9521"/>
                  </a:cubicBezTo>
                  <a:cubicBezTo>
                    <a:pt x="128500" y="7464"/>
                    <a:pt x="113472" y="7464"/>
                    <a:pt x="98677" y="9521"/>
                  </a:cubicBezTo>
                  <a:cubicBezTo>
                    <a:pt x="98876" y="10002"/>
                    <a:pt x="98876" y="10532"/>
                    <a:pt x="98677" y="11014"/>
                  </a:cubicBezTo>
                  <a:cubicBezTo>
                    <a:pt x="95857" y="15326"/>
                    <a:pt x="72138" y="27600"/>
                    <a:pt x="67826" y="25112"/>
                  </a:cubicBezTo>
                  <a:cubicBezTo>
                    <a:pt x="63513" y="22624"/>
                    <a:pt x="61190" y="32577"/>
                    <a:pt x="52399" y="34733"/>
                  </a:cubicBezTo>
                  <a:cubicBezTo>
                    <a:pt x="43608" y="36889"/>
                    <a:pt x="30173" y="34733"/>
                    <a:pt x="29510" y="37718"/>
                  </a:cubicBezTo>
                  <a:cubicBezTo>
                    <a:pt x="26872" y="44834"/>
                    <a:pt x="22875" y="51369"/>
                    <a:pt x="17733" y="56959"/>
                  </a:cubicBezTo>
                  <a:cubicBezTo>
                    <a:pt x="12591" y="62101"/>
                    <a:pt x="16904" y="67906"/>
                    <a:pt x="9606" y="69399"/>
                  </a:cubicBezTo>
                  <a:cubicBezTo>
                    <a:pt x="2307" y="70892"/>
                    <a:pt x="2639" y="79517"/>
                    <a:pt x="-15" y="87313"/>
                  </a:cubicBezTo>
                  <a:lnTo>
                    <a:pt x="1478" y="87313"/>
                  </a:lnTo>
                  <a:cubicBezTo>
                    <a:pt x="13105" y="91791"/>
                    <a:pt x="20354" y="103435"/>
                    <a:pt x="19226" y="115842"/>
                  </a:cubicBezTo>
                  <a:cubicBezTo>
                    <a:pt x="17733" y="128117"/>
                    <a:pt x="34817" y="132429"/>
                    <a:pt x="42779" y="123638"/>
                  </a:cubicBezTo>
                  <a:cubicBezTo>
                    <a:pt x="50741" y="114847"/>
                    <a:pt x="72635" y="128614"/>
                    <a:pt x="72635" y="134420"/>
                  </a:cubicBezTo>
                  <a:cubicBezTo>
                    <a:pt x="72635" y="140225"/>
                    <a:pt x="50078" y="128117"/>
                    <a:pt x="37305" y="137405"/>
                  </a:cubicBezTo>
                  <a:cubicBezTo>
                    <a:pt x="24534" y="146694"/>
                    <a:pt x="47092" y="155651"/>
                    <a:pt x="44272" y="165437"/>
                  </a:cubicBezTo>
                  <a:cubicBezTo>
                    <a:pt x="41933" y="175621"/>
                    <a:pt x="48286" y="185756"/>
                    <a:pt x="58470" y="188095"/>
                  </a:cubicBezTo>
                  <a:cubicBezTo>
                    <a:pt x="59250" y="188277"/>
                    <a:pt x="60046" y="188410"/>
                    <a:pt x="60859" y="188493"/>
                  </a:cubicBezTo>
                  <a:cubicBezTo>
                    <a:pt x="72304" y="188493"/>
                    <a:pt x="84910" y="206738"/>
                    <a:pt x="91876" y="203255"/>
                  </a:cubicBezTo>
                  <a:cubicBezTo>
                    <a:pt x="98843" y="199772"/>
                    <a:pt x="83583" y="173730"/>
                    <a:pt x="85905" y="170081"/>
                  </a:cubicBezTo>
                  <a:cubicBezTo>
                    <a:pt x="88227" y="166432"/>
                    <a:pt x="102492" y="177048"/>
                    <a:pt x="109127" y="169086"/>
                  </a:cubicBezTo>
                  <a:cubicBezTo>
                    <a:pt x="115761" y="161125"/>
                    <a:pt x="104150" y="155485"/>
                    <a:pt x="93867" y="155982"/>
                  </a:cubicBezTo>
                  <a:cubicBezTo>
                    <a:pt x="83583" y="156480"/>
                    <a:pt x="93867" y="142216"/>
                    <a:pt x="105644" y="149514"/>
                  </a:cubicBezTo>
                  <a:cubicBezTo>
                    <a:pt x="117420" y="156812"/>
                    <a:pt x="123889" y="147523"/>
                    <a:pt x="129694" y="146528"/>
                  </a:cubicBezTo>
                  <a:cubicBezTo>
                    <a:pt x="135500" y="145533"/>
                    <a:pt x="136992" y="124467"/>
                    <a:pt x="118913" y="119491"/>
                  </a:cubicBezTo>
                  <a:cubicBezTo>
                    <a:pt x="100833" y="114515"/>
                    <a:pt x="103155" y="132761"/>
                    <a:pt x="91379" y="120487"/>
                  </a:cubicBezTo>
                  <a:cubicBezTo>
                    <a:pt x="79602" y="108212"/>
                    <a:pt x="102160" y="113189"/>
                    <a:pt x="102160" y="102905"/>
                  </a:cubicBezTo>
                  <a:cubicBezTo>
                    <a:pt x="102160" y="92621"/>
                    <a:pt x="83914" y="77693"/>
                    <a:pt x="75123" y="65418"/>
                  </a:cubicBezTo>
                  <a:cubicBezTo>
                    <a:pt x="66332" y="53144"/>
                    <a:pt x="87398" y="47339"/>
                    <a:pt x="91710" y="56130"/>
                  </a:cubicBezTo>
                  <a:cubicBezTo>
                    <a:pt x="96023" y="64921"/>
                    <a:pt x="109790" y="63594"/>
                    <a:pt x="118249" y="60111"/>
                  </a:cubicBezTo>
                  <a:cubicBezTo>
                    <a:pt x="126709" y="56627"/>
                    <a:pt x="109293" y="40870"/>
                    <a:pt x="124552" y="35064"/>
                  </a:cubicBezTo>
                  <a:cubicBezTo>
                    <a:pt x="139812" y="29259"/>
                    <a:pt x="139812" y="39377"/>
                    <a:pt x="144788" y="41368"/>
                  </a:cubicBezTo>
                  <a:cubicBezTo>
                    <a:pt x="149764" y="43358"/>
                    <a:pt x="154077" y="29093"/>
                    <a:pt x="169835" y="29093"/>
                  </a:cubicBezTo>
                  <a:cubicBezTo>
                    <a:pt x="178261" y="30205"/>
                    <a:pt x="186106" y="33986"/>
                    <a:pt x="192227" y="39875"/>
                  </a:cubicBezTo>
                  <a:cubicBezTo>
                    <a:pt x="196539" y="35064"/>
                    <a:pt x="200022" y="32411"/>
                    <a:pt x="200022" y="28430"/>
                  </a:cubicBezTo>
                  <a:cubicBezTo>
                    <a:pt x="200022" y="24449"/>
                    <a:pt x="209643" y="20966"/>
                    <a:pt x="209643" y="12838"/>
                  </a:cubicBezTo>
                  <a:cubicBezTo>
                    <a:pt x="209510" y="8476"/>
                    <a:pt x="208962" y="4147"/>
                    <a:pt x="207984" y="-100"/>
                  </a:cubicBezTo>
                  <a:close/>
                  <a:moveTo>
                    <a:pt x="180118" y="247708"/>
                  </a:moveTo>
                  <a:cubicBezTo>
                    <a:pt x="172322" y="243395"/>
                    <a:pt x="136826" y="250693"/>
                    <a:pt x="127538" y="241902"/>
                  </a:cubicBezTo>
                  <a:cubicBezTo>
                    <a:pt x="118249" y="233111"/>
                    <a:pt x="99174" y="248869"/>
                    <a:pt x="107468" y="250196"/>
                  </a:cubicBezTo>
                  <a:cubicBezTo>
                    <a:pt x="123192" y="256068"/>
                    <a:pt x="139480" y="260347"/>
                    <a:pt x="156067" y="262968"/>
                  </a:cubicBezTo>
                  <a:cubicBezTo>
                    <a:pt x="175142" y="262968"/>
                    <a:pt x="201183" y="254177"/>
                    <a:pt x="200852" y="249201"/>
                  </a:cubicBezTo>
                  <a:cubicBezTo>
                    <a:pt x="200520" y="244224"/>
                    <a:pt x="188080" y="252186"/>
                    <a:pt x="180118" y="247708"/>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7" name="Freeform: Shape 576">
              <a:extLst>
                <a:ext uri="{FF2B5EF4-FFF2-40B4-BE49-F238E27FC236}">
                  <a16:creationId xmlns:a16="http://schemas.microsoft.com/office/drawing/2014/main" id="{6A12C3A1-2F29-4AAC-B94E-BF236D4FDC75}"/>
                </a:ext>
              </a:extLst>
            </p:cNvPr>
            <p:cNvSpPr/>
            <p:nvPr/>
          </p:nvSpPr>
          <p:spPr>
            <a:xfrm>
              <a:off x="5568891" y="2854127"/>
              <a:ext cx="131258" cy="123215"/>
            </a:xfrm>
            <a:custGeom>
              <a:avLst/>
              <a:gdLst>
                <a:gd name="connsiteX0" fmla="*/ 78229 w 153496"/>
                <a:gd name="connsiteY0" fmla="*/ 53474 h 146910"/>
                <a:gd name="connsiteX1" fmla="*/ 77234 w 153496"/>
                <a:gd name="connsiteY1" fmla="*/ 30252 h 146910"/>
                <a:gd name="connsiteX2" fmla="*/ 80717 w 153496"/>
                <a:gd name="connsiteY2" fmla="*/ 1723 h 146910"/>
                <a:gd name="connsiteX3" fmla="*/ 56666 w 153496"/>
                <a:gd name="connsiteY3" fmla="*/ 14992 h 146910"/>
                <a:gd name="connsiteX4" fmla="*/ 36928 w 153496"/>
                <a:gd name="connsiteY4" fmla="*/ 25442 h 146910"/>
                <a:gd name="connsiteX5" fmla="*/ 38421 w 153496"/>
                <a:gd name="connsiteY5" fmla="*/ 40038 h 146910"/>
                <a:gd name="connsiteX6" fmla="*/ 19346 w 153496"/>
                <a:gd name="connsiteY6" fmla="*/ 30252 h 146910"/>
                <a:gd name="connsiteX7" fmla="*/ 2759 w 153496"/>
                <a:gd name="connsiteY7" fmla="*/ 54303 h 146910"/>
                <a:gd name="connsiteX8" fmla="*/ 2759 w 153496"/>
                <a:gd name="connsiteY8" fmla="*/ 92287 h 146910"/>
                <a:gd name="connsiteX9" fmla="*/ 15531 w 153496"/>
                <a:gd name="connsiteY9" fmla="*/ 121148 h 146910"/>
                <a:gd name="connsiteX10" fmla="*/ 20673 w 153496"/>
                <a:gd name="connsiteY10" fmla="*/ 135910 h 146910"/>
                <a:gd name="connsiteX11" fmla="*/ 50861 w 153496"/>
                <a:gd name="connsiteY11" fmla="*/ 138896 h 146910"/>
                <a:gd name="connsiteX12" fmla="*/ 63135 w 153496"/>
                <a:gd name="connsiteY12" fmla="*/ 138896 h 146910"/>
                <a:gd name="connsiteX13" fmla="*/ 49866 w 153496"/>
                <a:gd name="connsiteY13" fmla="*/ 120982 h 146910"/>
                <a:gd name="connsiteX14" fmla="*/ 66452 w 153496"/>
                <a:gd name="connsiteY14" fmla="*/ 124465 h 146910"/>
                <a:gd name="connsiteX15" fmla="*/ 90006 w 153496"/>
                <a:gd name="connsiteY15" fmla="*/ 124465 h 146910"/>
                <a:gd name="connsiteX16" fmla="*/ 78229 w 153496"/>
                <a:gd name="connsiteY16" fmla="*/ 103898 h 146910"/>
                <a:gd name="connsiteX17" fmla="*/ 62969 w 153496"/>
                <a:gd name="connsiteY17" fmla="*/ 101907 h 146910"/>
                <a:gd name="connsiteX18" fmla="*/ 72424 w 153496"/>
                <a:gd name="connsiteY18" fmla="*/ 81174 h 146910"/>
                <a:gd name="connsiteX19" fmla="*/ 93489 w 153496"/>
                <a:gd name="connsiteY19" fmla="*/ 69895 h 146910"/>
                <a:gd name="connsiteX20" fmla="*/ 78229 w 153496"/>
                <a:gd name="connsiteY20" fmla="*/ 53474 h 146910"/>
                <a:gd name="connsiteX21" fmla="*/ 152538 w 153496"/>
                <a:gd name="connsiteY21" fmla="*/ 83330 h 146910"/>
                <a:gd name="connsiteX22" fmla="*/ 141093 w 153496"/>
                <a:gd name="connsiteY22" fmla="*/ 91292 h 146910"/>
                <a:gd name="connsiteX23" fmla="*/ 129814 w 153496"/>
                <a:gd name="connsiteY23" fmla="*/ 83330 h 146910"/>
                <a:gd name="connsiteX24" fmla="*/ 108252 w 153496"/>
                <a:gd name="connsiteY24" fmla="*/ 92619 h 146910"/>
                <a:gd name="connsiteX25" fmla="*/ 121023 w 153496"/>
                <a:gd name="connsiteY25" fmla="*/ 123138 h 146910"/>
                <a:gd name="connsiteX26" fmla="*/ 111735 w 153496"/>
                <a:gd name="connsiteY26" fmla="*/ 131929 h 146910"/>
                <a:gd name="connsiteX27" fmla="*/ 120526 w 153496"/>
                <a:gd name="connsiteY27" fmla="*/ 146692 h 146910"/>
                <a:gd name="connsiteX28" fmla="*/ 144577 w 153496"/>
                <a:gd name="connsiteY28" fmla="*/ 119158 h 146910"/>
                <a:gd name="connsiteX29" fmla="*/ 152538 w 153496"/>
                <a:gd name="connsiteY29" fmla="*/ 83330 h 14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3496" h="146910">
                  <a:moveTo>
                    <a:pt x="78229" y="53474"/>
                  </a:moveTo>
                  <a:cubicBezTo>
                    <a:pt x="72557" y="46905"/>
                    <a:pt x="72142" y="37285"/>
                    <a:pt x="77234" y="30252"/>
                  </a:cubicBezTo>
                  <a:cubicBezTo>
                    <a:pt x="83703" y="22175"/>
                    <a:pt x="85046" y="11128"/>
                    <a:pt x="80717" y="1723"/>
                  </a:cubicBezTo>
                  <a:cubicBezTo>
                    <a:pt x="75742" y="-3087"/>
                    <a:pt x="58159" y="1723"/>
                    <a:pt x="56666" y="14992"/>
                  </a:cubicBezTo>
                  <a:cubicBezTo>
                    <a:pt x="55174" y="28262"/>
                    <a:pt x="40909" y="22456"/>
                    <a:pt x="36928" y="25442"/>
                  </a:cubicBezTo>
                  <a:cubicBezTo>
                    <a:pt x="32947" y="28428"/>
                    <a:pt x="44890" y="34233"/>
                    <a:pt x="38421" y="40038"/>
                  </a:cubicBezTo>
                  <a:cubicBezTo>
                    <a:pt x="31952" y="45844"/>
                    <a:pt x="29630" y="31247"/>
                    <a:pt x="19346" y="30252"/>
                  </a:cubicBezTo>
                  <a:cubicBezTo>
                    <a:pt x="9062" y="29257"/>
                    <a:pt x="8067" y="46010"/>
                    <a:pt x="2759" y="54303"/>
                  </a:cubicBezTo>
                  <a:cubicBezTo>
                    <a:pt x="-940" y="66693"/>
                    <a:pt x="-940" y="79897"/>
                    <a:pt x="2759" y="92287"/>
                  </a:cubicBezTo>
                  <a:cubicBezTo>
                    <a:pt x="4749" y="104064"/>
                    <a:pt x="19346" y="111362"/>
                    <a:pt x="15531" y="121148"/>
                  </a:cubicBezTo>
                  <a:cubicBezTo>
                    <a:pt x="13872" y="125792"/>
                    <a:pt x="17190" y="130934"/>
                    <a:pt x="20673" y="135910"/>
                  </a:cubicBezTo>
                  <a:cubicBezTo>
                    <a:pt x="30824" y="135662"/>
                    <a:pt x="40959" y="136657"/>
                    <a:pt x="50861" y="138896"/>
                  </a:cubicBezTo>
                  <a:cubicBezTo>
                    <a:pt x="54925" y="139626"/>
                    <a:pt x="59072" y="139626"/>
                    <a:pt x="63135" y="138896"/>
                  </a:cubicBezTo>
                  <a:cubicBezTo>
                    <a:pt x="58823" y="131929"/>
                    <a:pt x="49203" y="126124"/>
                    <a:pt x="49866" y="120982"/>
                  </a:cubicBezTo>
                  <a:cubicBezTo>
                    <a:pt x="50529" y="115840"/>
                    <a:pt x="60315" y="118494"/>
                    <a:pt x="66452" y="124465"/>
                  </a:cubicBezTo>
                  <a:cubicBezTo>
                    <a:pt x="72590" y="130437"/>
                    <a:pt x="88513" y="131432"/>
                    <a:pt x="90006" y="124465"/>
                  </a:cubicBezTo>
                  <a:cubicBezTo>
                    <a:pt x="91001" y="119987"/>
                    <a:pt x="87518" y="98922"/>
                    <a:pt x="78229" y="103898"/>
                  </a:cubicBezTo>
                  <a:cubicBezTo>
                    <a:pt x="68941" y="108874"/>
                    <a:pt x="66452" y="106718"/>
                    <a:pt x="62969" y="101907"/>
                  </a:cubicBezTo>
                  <a:cubicBezTo>
                    <a:pt x="59486" y="97097"/>
                    <a:pt x="69936" y="89136"/>
                    <a:pt x="72424" y="81174"/>
                  </a:cubicBezTo>
                  <a:cubicBezTo>
                    <a:pt x="74912" y="73212"/>
                    <a:pt x="91001" y="76364"/>
                    <a:pt x="93489" y="69895"/>
                  </a:cubicBezTo>
                  <a:cubicBezTo>
                    <a:pt x="95977" y="63426"/>
                    <a:pt x="83205" y="55796"/>
                    <a:pt x="78229" y="53474"/>
                  </a:cubicBezTo>
                  <a:close/>
                  <a:moveTo>
                    <a:pt x="152538" y="83330"/>
                  </a:moveTo>
                  <a:cubicBezTo>
                    <a:pt x="148557" y="80842"/>
                    <a:pt x="145572" y="90297"/>
                    <a:pt x="141093" y="91292"/>
                  </a:cubicBezTo>
                  <a:cubicBezTo>
                    <a:pt x="136615" y="92287"/>
                    <a:pt x="131805" y="72549"/>
                    <a:pt x="129814" y="83330"/>
                  </a:cubicBezTo>
                  <a:cubicBezTo>
                    <a:pt x="127824" y="94111"/>
                    <a:pt x="118038" y="78852"/>
                    <a:pt x="108252" y="92619"/>
                  </a:cubicBezTo>
                  <a:cubicBezTo>
                    <a:pt x="98465" y="106386"/>
                    <a:pt x="114057" y="118660"/>
                    <a:pt x="121023" y="123138"/>
                  </a:cubicBezTo>
                  <a:cubicBezTo>
                    <a:pt x="127990" y="127617"/>
                    <a:pt x="121023" y="133920"/>
                    <a:pt x="111735" y="131929"/>
                  </a:cubicBezTo>
                  <a:cubicBezTo>
                    <a:pt x="102446" y="129939"/>
                    <a:pt x="108252" y="144701"/>
                    <a:pt x="120526" y="146692"/>
                  </a:cubicBezTo>
                  <a:cubicBezTo>
                    <a:pt x="132800" y="148682"/>
                    <a:pt x="146070" y="125129"/>
                    <a:pt x="144577" y="119158"/>
                  </a:cubicBezTo>
                  <a:cubicBezTo>
                    <a:pt x="143084" y="113186"/>
                    <a:pt x="157182" y="86316"/>
                    <a:pt x="152538" y="83330"/>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8" name="Freeform: Shape 577">
              <a:extLst>
                <a:ext uri="{FF2B5EF4-FFF2-40B4-BE49-F238E27FC236}">
                  <a16:creationId xmlns:a16="http://schemas.microsoft.com/office/drawing/2014/main" id="{950867DA-3971-4E2F-86B9-F3644ED7C6AF}"/>
                </a:ext>
              </a:extLst>
            </p:cNvPr>
            <p:cNvSpPr/>
            <p:nvPr/>
          </p:nvSpPr>
          <p:spPr>
            <a:xfrm>
              <a:off x="5660431" y="2347410"/>
              <a:ext cx="354358" cy="600092"/>
            </a:xfrm>
            <a:custGeom>
              <a:avLst/>
              <a:gdLst>
                <a:gd name="connsiteX0" fmla="*/ 408907 w 414395"/>
                <a:gd name="connsiteY0" fmla="*/ 165008 h 715495"/>
                <a:gd name="connsiteX1" fmla="*/ 402604 w 414395"/>
                <a:gd name="connsiteY1" fmla="*/ 148421 h 715495"/>
                <a:gd name="connsiteX2" fmla="*/ 404262 w 414395"/>
                <a:gd name="connsiteY2" fmla="*/ 120057 h 715495"/>
                <a:gd name="connsiteX3" fmla="*/ 396301 w 414395"/>
                <a:gd name="connsiteY3" fmla="*/ 90035 h 715495"/>
                <a:gd name="connsiteX4" fmla="*/ 394808 w 414395"/>
                <a:gd name="connsiteY4" fmla="*/ 58520 h 715495"/>
                <a:gd name="connsiteX5" fmla="*/ 347370 w 414395"/>
                <a:gd name="connsiteY5" fmla="*/ 29991 h 715495"/>
                <a:gd name="connsiteX6" fmla="*/ 307893 w 414395"/>
                <a:gd name="connsiteY6" fmla="*/ 1627 h 715495"/>
                <a:gd name="connsiteX7" fmla="*/ 288984 w 414395"/>
                <a:gd name="connsiteY7" fmla="*/ 26839 h 715495"/>
                <a:gd name="connsiteX8" fmla="*/ 266924 w 414395"/>
                <a:gd name="connsiteY8" fmla="*/ 33143 h 715495"/>
                <a:gd name="connsiteX9" fmla="*/ 232091 w 414395"/>
                <a:gd name="connsiteY9" fmla="*/ 26839 h 715495"/>
                <a:gd name="connsiteX10" fmla="*/ 224295 w 414395"/>
                <a:gd name="connsiteY10" fmla="*/ 50559 h 715495"/>
                <a:gd name="connsiteX11" fmla="*/ 199083 w 414395"/>
                <a:gd name="connsiteY11" fmla="*/ 60013 h 715495"/>
                <a:gd name="connsiteX12" fmla="*/ 173706 w 414395"/>
                <a:gd name="connsiteY12" fmla="*/ 78922 h 715495"/>
                <a:gd name="connsiteX13" fmla="*/ 164251 w 414395"/>
                <a:gd name="connsiteY13" fmla="*/ 102641 h 715495"/>
                <a:gd name="connsiteX14" fmla="*/ 156455 w 414395"/>
                <a:gd name="connsiteY14" fmla="*/ 120057 h 715495"/>
                <a:gd name="connsiteX15" fmla="*/ 139868 w 414395"/>
                <a:gd name="connsiteY15" fmla="*/ 145269 h 715495"/>
                <a:gd name="connsiteX16" fmla="*/ 133565 w 414395"/>
                <a:gd name="connsiteY16" fmla="*/ 164178 h 715495"/>
                <a:gd name="connsiteX17" fmla="*/ 108353 w 414395"/>
                <a:gd name="connsiteY17" fmla="*/ 170482 h 715495"/>
                <a:gd name="connsiteX18" fmla="*/ 106695 w 414395"/>
                <a:gd name="connsiteY18" fmla="*/ 200504 h 715495"/>
                <a:gd name="connsiteX19" fmla="*/ 84634 w 414395"/>
                <a:gd name="connsiteY19" fmla="*/ 243132 h 715495"/>
                <a:gd name="connsiteX20" fmla="*/ 92596 w 414395"/>
                <a:gd name="connsiteY20" fmla="*/ 260548 h 715495"/>
                <a:gd name="connsiteX21" fmla="*/ 92596 w 414395"/>
                <a:gd name="connsiteY21" fmla="*/ 279457 h 715495"/>
                <a:gd name="connsiteX22" fmla="*/ 70369 w 414395"/>
                <a:gd name="connsiteY22" fmla="*/ 280950 h 715495"/>
                <a:gd name="connsiteX23" fmla="*/ 37196 w 414395"/>
                <a:gd name="connsiteY23" fmla="*/ 303176 h 715495"/>
                <a:gd name="connsiteX24" fmla="*/ 34044 w 414395"/>
                <a:gd name="connsiteY24" fmla="*/ 336350 h 715495"/>
                <a:gd name="connsiteX25" fmla="*/ 34044 w 414395"/>
                <a:gd name="connsiteY25" fmla="*/ 369524 h 715495"/>
                <a:gd name="connsiteX26" fmla="*/ 32552 w 414395"/>
                <a:gd name="connsiteY26" fmla="*/ 401204 h 715495"/>
                <a:gd name="connsiteX27" fmla="*/ 54612 w 414395"/>
                <a:gd name="connsiteY27" fmla="*/ 424758 h 715495"/>
                <a:gd name="connsiteX28" fmla="*/ 42006 w 414395"/>
                <a:gd name="connsiteY28" fmla="*/ 442174 h 715495"/>
                <a:gd name="connsiteX29" fmla="*/ 43665 w 414395"/>
                <a:gd name="connsiteY29" fmla="*/ 457931 h 715495"/>
                <a:gd name="connsiteX30" fmla="*/ 45158 w 414395"/>
                <a:gd name="connsiteY30" fmla="*/ 489612 h 715495"/>
                <a:gd name="connsiteX31" fmla="*/ 23097 w 414395"/>
                <a:gd name="connsiteY31" fmla="*/ 497408 h 715495"/>
                <a:gd name="connsiteX32" fmla="*/ 18287 w 414395"/>
                <a:gd name="connsiteY32" fmla="*/ 524279 h 715495"/>
                <a:gd name="connsiteX33" fmla="*/ 10491 w 414395"/>
                <a:gd name="connsiteY33" fmla="*/ 546339 h 715495"/>
                <a:gd name="connsiteX34" fmla="*/ 41 w 414395"/>
                <a:gd name="connsiteY34" fmla="*/ 544846 h 715495"/>
                <a:gd name="connsiteX35" fmla="*/ 41 w 414395"/>
                <a:gd name="connsiteY35" fmla="*/ 546505 h 715495"/>
                <a:gd name="connsiteX36" fmla="*/ 14804 w 414395"/>
                <a:gd name="connsiteY36" fmla="*/ 579679 h 715495"/>
                <a:gd name="connsiteX37" fmla="*/ 26581 w 414395"/>
                <a:gd name="connsiteY37" fmla="*/ 614179 h 715495"/>
                <a:gd name="connsiteX38" fmla="*/ 43167 w 414395"/>
                <a:gd name="connsiteY38" fmla="*/ 644201 h 715495"/>
                <a:gd name="connsiteX39" fmla="*/ 50134 w 414395"/>
                <a:gd name="connsiteY39" fmla="*/ 669247 h 715495"/>
                <a:gd name="connsiteX40" fmla="*/ 59422 w 414395"/>
                <a:gd name="connsiteY40" fmla="*/ 684342 h 715495"/>
                <a:gd name="connsiteX41" fmla="*/ 59422 w 414395"/>
                <a:gd name="connsiteY41" fmla="*/ 712373 h 715495"/>
                <a:gd name="connsiteX42" fmla="*/ 85464 w 414395"/>
                <a:gd name="connsiteY42" fmla="*/ 712373 h 715495"/>
                <a:gd name="connsiteX43" fmla="*/ 97738 w 414395"/>
                <a:gd name="connsiteY43" fmla="*/ 692801 h 715495"/>
                <a:gd name="connsiteX44" fmla="*/ 108187 w 414395"/>
                <a:gd name="connsiteY44" fmla="*/ 682019 h 715495"/>
                <a:gd name="connsiteX45" fmla="*/ 135556 w 414395"/>
                <a:gd name="connsiteY45" fmla="*/ 679531 h 715495"/>
                <a:gd name="connsiteX46" fmla="*/ 154796 w 414395"/>
                <a:gd name="connsiteY46" fmla="*/ 664272 h 715495"/>
                <a:gd name="connsiteX47" fmla="*/ 166573 w 414395"/>
                <a:gd name="connsiteY47" fmla="*/ 669247 h 715495"/>
                <a:gd name="connsiteX48" fmla="*/ 185151 w 414395"/>
                <a:gd name="connsiteY48" fmla="*/ 637733 h 715495"/>
                <a:gd name="connsiteX49" fmla="*/ 173374 w 414395"/>
                <a:gd name="connsiteY49" fmla="*/ 639723 h 715495"/>
                <a:gd name="connsiteX50" fmla="*/ 173374 w 414395"/>
                <a:gd name="connsiteY50" fmla="*/ 616667 h 715495"/>
                <a:gd name="connsiteX51" fmla="*/ 178681 w 414395"/>
                <a:gd name="connsiteY51" fmla="*/ 569395 h 715495"/>
                <a:gd name="connsiteX52" fmla="*/ 197425 w 414395"/>
                <a:gd name="connsiteY52" fmla="*/ 549325 h 715495"/>
                <a:gd name="connsiteX53" fmla="*/ 227281 w 414395"/>
                <a:gd name="connsiteY53" fmla="*/ 521293 h 715495"/>
                <a:gd name="connsiteX54" fmla="*/ 247020 w 414395"/>
                <a:gd name="connsiteY54" fmla="*/ 494257 h 715495"/>
                <a:gd name="connsiteX55" fmla="*/ 215504 w 414395"/>
                <a:gd name="connsiteY55" fmla="*/ 459424 h 715495"/>
                <a:gd name="connsiteX56" fmla="*/ 191951 w 414395"/>
                <a:gd name="connsiteY56" fmla="*/ 452955 h 715495"/>
                <a:gd name="connsiteX57" fmla="*/ 187970 w 414395"/>
                <a:gd name="connsiteY57" fmla="*/ 415635 h 715495"/>
                <a:gd name="connsiteX58" fmla="*/ 200245 w 414395"/>
                <a:gd name="connsiteY58" fmla="*/ 382461 h 715495"/>
                <a:gd name="connsiteX59" fmla="*/ 209202 w 414395"/>
                <a:gd name="connsiteY59" fmla="*/ 356918 h 715495"/>
                <a:gd name="connsiteX60" fmla="*/ 224959 w 414395"/>
                <a:gd name="connsiteY60" fmla="*/ 341657 h 715495"/>
                <a:gd name="connsiteX61" fmla="*/ 248015 w 414395"/>
                <a:gd name="connsiteY61" fmla="*/ 315616 h 715495"/>
                <a:gd name="connsiteX62" fmla="*/ 279364 w 414395"/>
                <a:gd name="connsiteY62" fmla="*/ 297371 h 715495"/>
                <a:gd name="connsiteX63" fmla="*/ 330617 w 414395"/>
                <a:gd name="connsiteY63" fmla="*/ 259055 h 715495"/>
                <a:gd name="connsiteX64" fmla="*/ 327134 w 414395"/>
                <a:gd name="connsiteY64" fmla="*/ 227208 h 715495"/>
                <a:gd name="connsiteX65" fmla="*/ 339905 w 414395"/>
                <a:gd name="connsiteY65" fmla="*/ 200172 h 715495"/>
                <a:gd name="connsiteX66" fmla="*/ 361469 w 414395"/>
                <a:gd name="connsiteY66" fmla="*/ 183585 h 715495"/>
                <a:gd name="connsiteX67" fmla="*/ 396301 w 414395"/>
                <a:gd name="connsiteY67" fmla="*/ 180102 h 715495"/>
                <a:gd name="connsiteX68" fmla="*/ 414381 w 414395"/>
                <a:gd name="connsiteY68" fmla="*/ 180102 h 715495"/>
                <a:gd name="connsiteX69" fmla="*/ 408907 w 414395"/>
                <a:gd name="connsiteY69" fmla="*/ 165008 h 715495"/>
                <a:gd name="connsiteX70" fmla="*/ 243038 w 414395"/>
                <a:gd name="connsiteY70" fmla="*/ 597261 h 715495"/>
                <a:gd name="connsiteX71" fmla="*/ 220481 w 414395"/>
                <a:gd name="connsiteY71" fmla="*/ 640552 h 715495"/>
                <a:gd name="connsiteX72" fmla="*/ 242873 w 414395"/>
                <a:gd name="connsiteY72" fmla="*/ 597095 h 71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14395" h="715495">
                  <a:moveTo>
                    <a:pt x="408907" y="165008"/>
                  </a:moveTo>
                  <a:cubicBezTo>
                    <a:pt x="404262" y="160364"/>
                    <a:pt x="394808" y="148421"/>
                    <a:pt x="402604" y="148421"/>
                  </a:cubicBezTo>
                  <a:cubicBezTo>
                    <a:pt x="410400" y="148421"/>
                    <a:pt x="413717" y="124702"/>
                    <a:pt x="404262" y="120057"/>
                  </a:cubicBezTo>
                  <a:cubicBezTo>
                    <a:pt x="394808" y="115413"/>
                    <a:pt x="404262" y="94680"/>
                    <a:pt x="396301" y="90035"/>
                  </a:cubicBezTo>
                  <a:cubicBezTo>
                    <a:pt x="388339" y="85391"/>
                    <a:pt x="393150" y="69468"/>
                    <a:pt x="394808" y="58520"/>
                  </a:cubicBezTo>
                  <a:cubicBezTo>
                    <a:pt x="396467" y="47573"/>
                    <a:pt x="364786" y="37953"/>
                    <a:pt x="347370" y="29991"/>
                  </a:cubicBezTo>
                  <a:cubicBezTo>
                    <a:pt x="329954" y="22029"/>
                    <a:pt x="322158" y="9423"/>
                    <a:pt x="307893" y="1627"/>
                  </a:cubicBezTo>
                  <a:cubicBezTo>
                    <a:pt x="293629" y="-6168"/>
                    <a:pt x="288984" y="14234"/>
                    <a:pt x="288984" y="26839"/>
                  </a:cubicBezTo>
                  <a:cubicBezTo>
                    <a:pt x="288984" y="39445"/>
                    <a:pt x="276378" y="41104"/>
                    <a:pt x="266924" y="33143"/>
                  </a:cubicBezTo>
                  <a:cubicBezTo>
                    <a:pt x="257469" y="25181"/>
                    <a:pt x="246356" y="33143"/>
                    <a:pt x="232091" y="26839"/>
                  </a:cubicBezTo>
                  <a:cubicBezTo>
                    <a:pt x="217827" y="20536"/>
                    <a:pt x="224295" y="41104"/>
                    <a:pt x="224295" y="50559"/>
                  </a:cubicBezTo>
                  <a:cubicBezTo>
                    <a:pt x="224295" y="60013"/>
                    <a:pt x="208538" y="60013"/>
                    <a:pt x="199083" y="60013"/>
                  </a:cubicBezTo>
                  <a:cubicBezTo>
                    <a:pt x="189629" y="60013"/>
                    <a:pt x="173706" y="67975"/>
                    <a:pt x="173706" y="78922"/>
                  </a:cubicBezTo>
                  <a:cubicBezTo>
                    <a:pt x="173706" y="89870"/>
                    <a:pt x="159607" y="96338"/>
                    <a:pt x="164251" y="102641"/>
                  </a:cubicBezTo>
                  <a:cubicBezTo>
                    <a:pt x="168895" y="108944"/>
                    <a:pt x="162758" y="115247"/>
                    <a:pt x="156455" y="120057"/>
                  </a:cubicBezTo>
                  <a:cubicBezTo>
                    <a:pt x="150152" y="124868"/>
                    <a:pt x="143850" y="140459"/>
                    <a:pt x="139868" y="145269"/>
                  </a:cubicBezTo>
                  <a:cubicBezTo>
                    <a:pt x="135888" y="150080"/>
                    <a:pt x="143020" y="157876"/>
                    <a:pt x="133565" y="164178"/>
                  </a:cubicBezTo>
                  <a:cubicBezTo>
                    <a:pt x="124111" y="170482"/>
                    <a:pt x="112998" y="165671"/>
                    <a:pt x="108353" y="170482"/>
                  </a:cubicBezTo>
                  <a:cubicBezTo>
                    <a:pt x="103709" y="175292"/>
                    <a:pt x="108353" y="186239"/>
                    <a:pt x="106695" y="200504"/>
                  </a:cubicBezTo>
                  <a:cubicBezTo>
                    <a:pt x="102930" y="216294"/>
                    <a:pt x="95349" y="230941"/>
                    <a:pt x="84634" y="243132"/>
                  </a:cubicBezTo>
                  <a:cubicBezTo>
                    <a:pt x="75180" y="255738"/>
                    <a:pt x="87786" y="259719"/>
                    <a:pt x="92596" y="260548"/>
                  </a:cubicBezTo>
                  <a:cubicBezTo>
                    <a:pt x="97406" y="261377"/>
                    <a:pt x="97241" y="270003"/>
                    <a:pt x="92596" y="279457"/>
                  </a:cubicBezTo>
                  <a:cubicBezTo>
                    <a:pt x="87951" y="288911"/>
                    <a:pt x="76009" y="282608"/>
                    <a:pt x="70369" y="280950"/>
                  </a:cubicBezTo>
                  <a:cubicBezTo>
                    <a:pt x="56304" y="282376"/>
                    <a:pt x="43864" y="290703"/>
                    <a:pt x="37196" y="303176"/>
                  </a:cubicBezTo>
                  <a:cubicBezTo>
                    <a:pt x="30064" y="312780"/>
                    <a:pt x="28836" y="325568"/>
                    <a:pt x="34044" y="336350"/>
                  </a:cubicBezTo>
                  <a:cubicBezTo>
                    <a:pt x="37196" y="344311"/>
                    <a:pt x="26248" y="352937"/>
                    <a:pt x="34044" y="369524"/>
                  </a:cubicBezTo>
                  <a:cubicBezTo>
                    <a:pt x="41840" y="386110"/>
                    <a:pt x="30893" y="388598"/>
                    <a:pt x="32552" y="401204"/>
                  </a:cubicBezTo>
                  <a:cubicBezTo>
                    <a:pt x="34210" y="413810"/>
                    <a:pt x="53120" y="412152"/>
                    <a:pt x="54612" y="424758"/>
                  </a:cubicBezTo>
                  <a:cubicBezTo>
                    <a:pt x="56105" y="437364"/>
                    <a:pt x="48309" y="442174"/>
                    <a:pt x="42006" y="442174"/>
                  </a:cubicBezTo>
                  <a:cubicBezTo>
                    <a:pt x="35703" y="442174"/>
                    <a:pt x="37196" y="454780"/>
                    <a:pt x="43665" y="457931"/>
                  </a:cubicBezTo>
                  <a:cubicBezTo>
                    <a:pt x="50134" y="461083"/>
                    <a:pt x="48309" y="483143"/>
                    <a:pt x="45158" y="489612"/>
                  </a:cubicBezTo>
                  <a:cubicBezTo>
                    <a:pt x="42006" y="496081"/>
                    <a:pt x="21439" y="489612"/>
                    <a:pt x="23097" y="497408"/>
                  </a:cubicBezTo>
                  <a:cubicBezTo>
                    <a:pt x="24756" y="505204"/>
                    <a:pt x="18287" y="517976"/>
                    <a:pt x="18287" y="524279"/>
                  </a:cubicBezTo>
                  <a:cubicBezTo>
                    <a:pt x="18287" y="530582"/>
                    <a:pt x="16794" y="551149"/>
                    <a:pt x="10491" y="546339"/>
                  </a:cubicBezTo>
                  <a:cubicBezTo>
                    <a:pt x="7306" y="544597"/>
                    <a:pt x="3591" y="544067"/>
                    <a:pt x="41" y="544846"/>
                  </a:cubicBezTo>
                  <a:lnTo>
                    <a:pt x="41" y="546505"/>
                  </a:lnTo>
                  <a:cubicBezTo>
                    <a:pt x="-638" y="559293"/>
                    <a:pt x="4852" y="571618"/>
                    <a:pt x="14804" y="579679"/>
                  </a:cubicBezTo>
                  <a:cubicBezTo>
                    <a:pt x="25585" y="588635"/>
                    <a:pt x="17292" y="601905"/>
                    <a:pt x="26581" y="614179"/>
                  </a:cubicBezTo>
                  <a:cubicBezTo>
                    <a:pt x="35869" y="626454"/>
                    <a:pt x="32884" y="635245"/>
                    <a:pt x="43167" y="644201"/>
                  </a:cubicBezTo>
                  <a:cubicBezTo>
                    <a:pt x="53451" y="653158"/>
                    <a:pt x="54612" y="657803"/>
                    <a:pt x="50134" y="669247"/>
                  </a:cubicBezTo>
                  <a:cubicBezTo>
                    <a:pt x="45655" y="680692"/>
                    <a:pt x="58925" y="677541"/>
                    <a:pt x="59422" y="684342"/>
                  </a:cubicBezTo>
                  <a:cubicBezTo>
                    <a:pt x="59920" y="691142"/>
                    <a:pt x="56603" y="705573"/>
                    <a:pt x="59422" y="712373"/>
                  </a:cubicBezTo>
                  <a:cubicBezTo>
                    <a:pt x="62242" y="719174"/>
                    <a:pt x="69872" y="712373"/>
                    <a:pt x="85464" y="712373"/>
                  </a:cubicBezTo>
                  <a:cubicBezTo>
                    <a:pt x="101055" y="712373"/>
                    <a:pt x="97241" y="702090"/>
                    <a:pt x="97738" y="692801"/>
                  </a:cubicBezTo>
                  <a:cubicBezTo>
                    <a:pt x="98236" y="683512"/>
                    <a:pt x="106197" y="687825"/>
                    <a:pt x="108187" y="682019"/>
                  </a:cubicBezTo>
                  <a:cubicBezTo>
                    <a:pt x="110178" y="676214"/>
                    <a:pt x="124774" y="674555"/>
                    <a:pt x="135556" y="679531"/>
                  </a:cubicBezTo>
                  <a:cubicBezTo>
                    <a:pt x="146337" y="684508"/>
                    <a:pt x="152143" y="676048"/>
                    <a:pt x="154796" y="664272"/>
                  </a:cubicBezTo>
                  <a:cubicBezTo>
                    <a:pt x="157450" y="652495"/>
                    <a:pt x="163090" y="666760"/>
                    <a:pt x="166573" y="669247"/>
                  </a:cubicBezTo>
                  <a:cubicBezTo>
                    <a:pt x="170057" y="671736"/>
                    <a:pt x="180340" y="651002"/>
                    <a:pt x="185151" y="637733"/>
                  </a:cubicBezTo>
                  <a:cubicBezTo>
                    <a:pt x="189961" y="624463"/>
                    <a:pt x="185151" y="626951"/>
                    <a:pt x="173374" y="639723"/>
                  </a:cubicBezTo>
                  <a:cubicBezTo>
                    <a:pt x="161597" y="652495"/>
                    <a:pt x="168564" y="626951"/>
                    <a:pt x="173374" y="616667"/>
                  </a:cubicBezTo>
                  <a:cubicBezTo>
                    <a:pt x="176343" y="601076"/>
                    <a:pt x="178118" y="585269"/>
                    <a:pt x="178681" y="569395"/>
                  </a:cubicBezTo>
                  <a:cubicBezTo>
                    <a:pt x="179776" y="559277"/>
                    <a:pt x="187406" y="551099"/>
                    <a:pt x="197425" y="549325"/>
                  </a:cubicBezTo>
                  <a:cubicBezTo>
                    <a:pt x="211690" y="546339"/>
                    <a:pt x="230598" y="528591"/>
                    <a:pt x="227281" y="521293"/>
                  </a:cubicBezTo>
                  <a:cubicBezTo>
                    <a:pt x="223964" y="513995"/>
                    <a:pt x="247020" y="501721"/>
                    <a:pt x="247020" y="494257"/>
                  </a:cubicBezTo>
                  <a:cubicBezTo>
                    <a:pt x="247020" y="486792"/>
                    <a:pt x="223466" y="464234"/>
                    <a:pt x="215504" y="459424"/>
                  </a:cubicBezTo>
                  <a:cubicBezTo>
                    <a:pt x="207543" y="454614"/>
                    <a:pt x="190458" y="458429"/>
                    <a:pt x="191951" y="452955"/>
                  </a:cubicBezTo>
                  <a:cubicBezTo>
                    <a:pt x="192084" y="440399"/>
                    <a:pt x="190740" y="427876"/>
                    <a:pt x="187970" y="415635"/>
                  </a:cubicBezTo>
                  <a:cubicBezTo>
                    <a:pt x="186146" y="404854"/>
                    <a:pt x="200245" y="393574"/>
                    <a:pt x="200245" y="382461"/>
                  </a:cubicBezTo>
                  <a:cubicBezTo>
                    <a:pt x="200245" y="371348"/>
                    <a:pt x="200245" y="360235"/>
                    <a:pt x="209202" y="356918"/>
                  </a:cubicBezTo>
                  <a:cubicBezTo>
                    <a:pt x="218158" y="353600"/>
                    <a:pt x="212685" y="344643"/>
                    <a:pt x="224959" y="341657"/>
                  </a:cubicBezTo>
                  <a:cubicBezTo>
                    <a:pt x="237233" y="338672"/>
                    <a:pt x="234745" y="321090"/>
                    <a:pt x="248015" y="315616"/>
                  </a:cubicBezTo>
                  <a:cubicBezTo>
                    <a:pt x="261284" y="310143"/>
                    <a:pt x="262279" y="305664"/>
                    <a:pt x="279364" y="297371"/>
                  </a:cubicBezTo>
                  <a:cubicBezTo>
                    <a:pt x="299002" y="288414"/>
                    <a:pt x="316468" y="275343"/>
                    <a:pt x="330617" y="259055"/>
                  </a:cubicBezTo>
                  <a:cubicBezTo>
                    <a:pt x="335427" y="248771"/>
                    <a:pt x="312869" y="237990"/>
                    <a:pt x="327134" y="227208"/>
                  </a:cubicBezTo>
                  <a:cubicBezTo>
                    <a:pt x="341398" y="216427"/>
                    <a:pt x="329456" y="203987"/>
                    <a:pt x="339905" y="200172"/>
                  </a:cubicBezTo>
                  <a:cubicBezTo>
                    <a:pt x="348431" y="196656"/>
                    <a:pt x="355879" y="190933"/>
                    <a:pt x="361469" y="183585"/>
                  </a:cubicBezTo>
                  <a:cubicBezTo>
                    <a:pt x="368932" y="175789"/>
                    <a:pt x="378056" y="183585"/>
                    <a:pt x="396301" y="180102"/>
                  </a:cubicBezTo>
                  <a:cubicBezTo>
                    <a:pt x="402272" y="178924"/>
                    <a:pt x="408409" y="178924"/>
                    <a:pt x="414381" y="180102"/>
                  </a:cubicBezTo>
                  <a:cubicBezTo>
                    <a:pt x="413899" y="174678"/>
                    <a:pt x="412009" y="169486"/>
                    <a:pt x="408907" y="165008"/>
                  </a:cubicBezTo>
                  <a:close/>
                  <a:moveTo>
                    <a:pt x="243038" y="597261"/>
                  </a:moveTo>
                  <a:cubicBezTo>
                    <a:pt x="224461" y="597261"/>
                    <a:pt x="215670" y="634581"/>
                    <a:pt x="220481" y="640552"/>
                  </a:cubicBezTo>
                  <a:cubicBezTo>
                    <a:pt x="225290" y="646524"/>
                    <a:pt x="261616" y="596265"/>
                    <a:pt x="242873" y="597095"/>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79" name="Freeform: Shape 578">
              <a:extLst>
                <a:ext uri="{FF2B5EF4-FFF2-40B4-BE49-F238E27FC236}">
                  <a16:creationId xmlns:a16="http://schemas.microsoft.com/office/drawing/2014/main" id="{13D577B5-6EFE-49F5-B68A-9C072BC04813}"/>
                </a:ext>
              </a:extLst>
            </p:cNvPr>
            <p:cNvSpPr/>
            <p:nvPr/>
          </p:nvSpPr>
          <p:spPr>
            <a:xfrm>
              <a:off x="5954125" y="2774490"/>
              <a:ext cx="171353" cy="83391"/>
            </a:xfrm>
            <a:custGeom>
              <a:avLst/>
              <a:gdLst>
                <a:gd name="connsiteX0" fmla="*/ 190850 w 200385"/>
                <a:gd name="connsiteY0" fmla="*/ 25185 h 99428"/>
                <a:gd name="connsiteX1" fmla="*/ 197485 w 200385"/>
                <a:gd name="connsiteY1" fmla="*/ 3457 h 99428"/>
                <a:gd name="connsiteX2" fmla="*/ 190353 w 200385"/>
                <a:gd name="connsiteY2" fmla="*/ 6774 h 99428"/>
                <a:gd name="connsiteX3" fmla="*/ 127323 w 200385"/>
                <a:gd name="connsiteY3" fmla="*/ 471 h 99428"/>
                <a:gd name="connsiteX4" fmla="*/ 65454 w 200385"/>
                <a:gd name="connsiteY4" fmla="*/ 12745 h 99428"/>
                <a:gd name="connsiteX5" fmla="*/ 45384 w 200385"/>
                <a:gd name="connsiteY5" fmla="*/ 31820 h 99428"/>
                <a:gd name="connsiteX6" fmla="*/ 52184 w 200385"/>
                <a:gd name="connsiteY6" fmla="*/ 53051 h 99428"/>
                <a:gd name="connsiteX7" fmla="*/ 71923 w 200385"/>
                <a:gd name="connsiteY7" fmla="*/ 64330 h 99428"/>
                <a:gd name="connsiteX8" fmla="*/ 78724 w 200385"/>
                <a:gd name="connsiteY8" fmla="*/ 77600 h 99428"/>
                <a:gd name="connsiteX9" fmla="*/ 78724 w 200385"/>
                <a:gd name="connsiteY9" fmla="*/ 77600 h 99428"/>
                <a:gd name="connsiteX10" fmla="*/ 114385 w 200385"/>
                <a:gd name="connsiteY10" fmla="*/ 77600 h 99428"/>
                <a:gd name="connsiteX11" fmla="*/ 147559 w 200385"/>
                <a:gd name="connsiteY11" fmla="*/ 97172 h 99428"/>
                <a:gd name="connsiteX12" fmla="*/ 179240 w 200385"/>
                <a:gd name="connsiteY12" fmla="*/ 99329 h 99428"/>
                <a:gd name="connsiteX13" fmla="*/ 180400 w 200385"/>
                <a:gd name="connsiteY13" fmla="*/ 90040 h 99428"/>
                <a:gd name="connsiteX14" fmla="*/ 189357 w 200385"/>
                <a:gd name="connsiteY14" fmla="*/ 79093 h 99428"/>
                <a:gd name="connsiteX15" fmla="*/ 181894 w 200385"/>
                <a:gd name="connsiteY15" fmla="*/ 61345 h 99428"/>
                <a:gd name="connsiteX16" fmla="*/ 179737 w 200385"/>
                <a:gd name="connsiteY16" fmla="*/ 42270 h 99428"/>
                <a:gd name="connsiteX17" fmla="*/ 190850 w 200385"/>
                <a:gd name="connsiteY17" fmla="*/ 25185 h 99428"/>
                <a:gd name="connsiteX18" fmla="*/ 16854 w 200385"/>
                <a:gd name="connsiteY18" fmla="*/ 49071 h 99428"/>
                <a:gd name="connsiteX19" fmla="*/ 3585 w 200385"/>
                <a:gd name="connsiteY19" fmla="*/ 78098 h 99428"/>
                <a:gd name="connsiteX20" fmla="*/ 37920 w 200385"/>
                <a:gd name="connsiteY20" fmla="*/ 55539 h 99428"/>
                <a:gd name="connsiteX21" fmla="*/ 16854 w 200385"/>
                <a:gd name="connsiteY21" fmla="*/ 49071 h 99428"/>
                <a:gd name="connsiteX22" fmla="*/ 31617 w 200385"/>
                <a:gd name="connsiteY22" fmla="*/ 34806 h 99428"/>
                <a:gd name="connsiteX23" fmla="*/ 10551 w 200385"/>
                <a:gd name="connsiteY23" fmla="*/ 37294 h 99428"/>
                <a:gd name="connsiteX24" fmla="*/ 30688 w 200385"/>
                <a:gd name="connsiteY24" fmla="*/ 35984 h 99428"/>
                <a:gd name="connsiteX25" fmla="*/ 31617 w 200385"/>
                <a:gd name="connsiteY25" fmla="*/ 34806 h 9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385" h="99428">
                  <a:moveTo>
                    <a:pt x="190850" y="25185"/>
                  </a:moveTo>
                  <a:cubicBezTo>
                    <a:pt x="194831" y="16394"/>
                    <a:pt x="205447" y="14901"/>
                    <a:pt x="197485" y="3457"/>
                  </a:cubicBezTo>
                  <a:cubicBezTo>
                    <a:pt x="195345" y="5016"/>
                    <a:pt x="192923" y="6144"/>
                    <a:pt x="190353" y="6774"/>
                  </a:cubicBezTo>
                  <a:cubicBezTo>
                    <a:pt x="176088" y="10755"/>
                    <a:pt x="145071" y="-3012"/>
                    <a:pt x="127323" y="471"/>
                  </a:cubicBezTo>
                  <a:cubicBezTo>
                    <a:pt x="109575" y="3954"/>
                    <a:pt x="73913" y="3954"/>
                    <a:pt x="65454" y="12745"/>
                  </a:cubicBezTo>
                  <a:cubicBezTo>
                    <a:pt x="56995" y="21536"/>
                    <a:pt x="36095" y="24024"/>
                    <a:pt x="45384" y="31820"/>
                  </a:cubicBezTo>
                  <a:cubicBezTo>
                    <a:pt x="54672" y="39616"/>
                    <a:pt x="45384" y="43597"/>
                    <a:pt x="52184" y="53051"/>
                  </a:cubicBezTo>
                  <a:cubicBezTo>
                    <a:pt x="58985" y="62506"/>
                    <a:pt x="62634" y="66321"/>
                    <a:pt x="71923" y="64330"/>
                  </a:cubicBezTo>
                  <a:cubicBezTo>
                    <a:pt x="81211" y="62340"/>
                    <a:pt x="88510" y="67316"/>
                    <a:pt x="78724" y="77600"/>
                  </a:cubicBezTo>
                  <a:lnTo>
                    <a:pt x="78724" y="77600"/>
                  </a:lnTo>
                  <a:cubicBezTo>
                    <a:pt x="90550" y="75809"/>
                    <a:pt x="102558" y="75809"/>
                    <a:pt x="114385" y="77600"/>
                  </a:cubicBezTo>
                  <a:cubicBezTo>
                    <a:pt x="118366" y="80585"/>
                    <a:pt x="141919" y="99163"/>
                    <a:pt x="147559" y="97172"/>
                  </a:cubicBezTo>
                  <a:cubicBezTo>
                    <a:pt x="158158" y="96807"/>
                    <a:pt x="168773" y="97537"/>
                    <a:pt x="179240" y="99329"/>
                  </a:cubicBezTo>
                  <a:cubicBezTo>
                    <a:pt x="177681" y="96293"/>
                    <a:pt x="178128" y="92594"/>
                    <a:pt x="180400" y="90040"/>
                  </a:cubicBezTo>
                  <a:cubicBezTo>
                    <a:pt x="184879" y="86391"/>
                    <a:pt x="194499" y="86391"/>
                    <a:pt x="189357" y="79093"/>
                  </a:cubicBezTo>
                  <a:cubicBezTo>
                    <a:pt x="184879" y="74233"/>
                    <a:pt x="182242" y="67946"/>
                    <a:pt x="181894" y="61345"/>
                  </a:cubicBezTo>
                  <a:cubicBezTo>
                    <a:pt x="180600" y="55058"/>
                    <a:pt x="179870" y="48672"/>
                    <a:pt x="179737" y="42270"/>
                  </a:cubicBezTo>
                  <a:cubicBezTo>
                    <a:pt x="180400" y="36299"/>
                    <a:pt x="186372" y="34806"/>
                    <a:pt x="190850" y="25185"/>
                  </a:cubicBezTo>
                  <a:close/>
                  <a:moveTo>
                    <a:pt x="16854" y="49071"/>
                  </a:moveTo>
                  <a:cubicBezTo>
                    <a:pt x="-894" y="54046"/>
                    <a:pt x="-3382" y="78429"/>
                    <a:pt x="3585" y="78098"/>
                  </a:cubicBezTo>
                  <a:cubicBezTo>
                    <a:pt x="16523" y="73155"/>
                    <a:pt x="28233" y="65458"/>
                    <a:pt x="37920" y="55539"/>
                  </a:cubicBezTo>
                  <a:cubicBezTo>
                    <a:pt x="43393" y="50066"/>
                    <a:pt x="34602" y="44260"/>
                    <a:pt x="16854" y="49071"/>
                  </a:cubicBezTo>
                  <a:close/>
                  <a:moveTo>
                    <a:pt x="31617" y="34806"/>
                  </a:moveTo>
                  <a:cubicBezTo>
                    <a:pt x="35598" y="27508"/>
                    <a:pt x="3253" y="30659"/>
                    <a:pt x="10551" y="37294"/>
                  </a:cubicBezTo>
                  <a:cubicBezTo>
                    <a:pt x="16473" y="42486"/>
                    <a:pt x="25479" y="41905"/>
                    <a:pt x="30688" y="35984"/>
                  </a:cubicBezTo>
                  <a:cubicBezTo>
                    <a:pt x="31020" y="35619"/>
                    <a:pt x="31318" y="35220"/>
                    <a:pt x="31617" y="34806"/>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0" name="Freeform: Shape 579">
              <a:extLst>
                <a:ext uri="{FF2B5EF4-FFF2-40B4-BE49-F238E27FC236}">
                  <a16:creationId xmlns:a16="http://schemas.microsoft.com/office/drawing/2014/main" id="{C44CDDE5-0B1E-40EB-9F83-F696DF47F843}"/>
                </a:ext>
              </a:extLst>
            </p:cNvPr>
            <p:cNvSpPr/>
            <p:nvPr/>
          </p:nvSpPr>
          <p:spPr>
            <a:xfrm>
              <a:off x="6921555" y="3312927"/>
              <a:ext cx="493363" cy="288524"/>
            </a:xfrm>
            <a:custGeom>
              <a:avLst/>
              <a:gdLst>
                <a:gd name="connsiteX0" fmla="*/ 571402 w 576952"/>
                <a:gd name="connsiteY0" fmla="*/ 192308 h 344010"/>
                <a:gd name="connsiteX1" fmla="*/ 525622 w 576952"/>
                <a:gd name="connsiteY1" fmla="*/ 171242 h 344010"/>
                <a:gd name="connsiteX2" fmla="*/ 499249 w 576952"/>
                <a:gd name="connsiteY2" fmla="*/ 172569 h 344010"/>
                <a:gd name="connsiteX3" fmla="*/ 469790 w 576952"/>
                <a:gd name="connsiteY3" fmla="*/ 162319 h 344010"/>
                <a:gd name="connsiteX4" fmla="*/ 467734 w 576952"/>
                <a:gd name="connsiteY4" fmla="*/ 163447 h 344010"/>
                <a:gd name="connsiteX5" fmla="*/ 433731 w 576952"/>
                <a:gd name="connsiteY5" fmla="*/ 189654 h 344010"/>
                <a:gd name="connsiteX6" fmla="*/ 417973 w 576952"/>
                <a:gd name="connsiteY6" fmla="*/ 194962 h 344010"/>
                <a:gd name="connsiteX7" fmla="*/ 390439 w 576952"/>
                <a:gd name="connsiteY7" fmla="*/ 178375 h 344010"/>
                <a:gd name="connsiteX8" fmla="*/ 361578 w 576952"/>
                <a:gd name="connsiteY8" fmla="*/ 170579 h 344010"/>
                <a:gd name="connsiteX9" fmla="*/ 343167 w 576952"/>
                <a:gd name="connsiteY9" fmla="*/ 136410 h 344010"/>
                <a:gd name="connsiteX10" fmla="*/ 335371 w 576952"/>
                <a:gd name="connsiteY10" fmla="*/ 104895 h 344010"/>
                <a:gd name="connsiteX11" fmla="*/ 308998 w 576952"/>
                <a:gd name="connsiteY11" fmla="*/ 85157 h 344010"/>
                <a:gd name="connsiteX12" fmla="*/ 242650 w 576952"/>
                <a:gd name="connsiteY12" fmla="*/ 82669 h 344010"/>
                <a:gd name="connsiteX13" fmla="*/ 199359 w 576952"/>
                <a:gd name="connsiteY13" fmla="*/ 85157 h 344010"/>
                <a:gd name="connsiteX14" fmla="*/ 160379 w 576952"/>
                <a:gd name="connsiteY14" fmla="*/ 42695 h 344010"/>
                <a:gd name="connsiteX15" fmla="*/ 150593 w 576952"/>
                <a:gd name="connsiteY15" fmla="*/ 57125 h 344010"/>
                <a:gd name="connsiteX16" fmla="*/ 110287 w 576952"/>
                <a:gd name="connsiteY16" fmla="*/ 50159 h 344010"/>
                <a:gd name="connsiteX17" fmla="*/ 106472 w 576952"/>
                <a:gd name="connsiteY17" fmla="*/ 3052 h 344010"/>
                <a:gd name="connsiteX18" fmla="*/ 92705 w 576952"/>
                <a:gd name="connsiteY18" fmla="*/ 51154 h 344010"/>
                <a:gd name="connsiteX19" fmla="*/ 87895 w 576952"/>
                <a:gd name="connsiteY19" fmla="*/ -100 h 344010"/>
                <a:gd name="connsiteX20" fmla="*/ 3800 w 576952"/>
                <a:gd name="connsiteY20" fmla="*/ 22293 h 344010"/>
                <a:gd name="connsiteX21" fmla="*/ -15 w 576952"/>
                <a:gd name="connsiteY21" fmla="*/ 169252 h 344010"/>
                <a:gd name="connsiteX22" fmla="*/ -15 w 576952"/>
                <a:gd name="connsiteY22" fmla="*/ 169252 h 344010"/>
                <a:gd name="connsiteX23" fmla="*/ 23373 w 576952"/>
                <a:gd name="connsiteY23" fmla="*/ 174892 h 344010"/>
                <a:gd name="connsiteX24" fmla="*/ 35149 w 576952"/>
                <a:gd name="connsiteY24" fmla="*/ 159134 h 344010"/>
                <a:gd name="connsiteX25" fmla="*/ 58703 w 576952"/>
                <a:gd name="connsiteY25" fmla="*/ 141386 h 344010"/>
                <a:gd name="connsiteX26" fmla="*/ 70645 w 576952"/>
                <a:gd name="connsiteY26" fmla="*/ 128614 h 344010"/>
                <a:gd name="connsiteX27" fmla="*/ 84246 w 576952"/>
                <a:gd name="connsiteY27" fmla="*/ 121814 h 344010"/>
                <a:gd name="connsiteX28" fmla="*/ 107965 w 576952"/>
                <a:gd name="connsiteY28" fmla="*/ 127785 h 344010"/>
                <a:gd name="connsiteX29" fmla="*/ 133509 w 576952"/>
                <a:gd name="connsiteY29" fmla="*/ 136576 h 344010"/>
                <a:gd name="connsiteX30" fmla="*/ 145286 w 576952"/>
                <a:gd name="connsiteY30" fmla="*/ 171906 h 344010"/>
                <a:gd name="connsiteX31" fmla="*/ 195046 w 576952"/>
                <a:gd name="connsiteY31" fmla="*/ 177877 h 344010"/>
                <a:gd name="connsiteX32" fmla="*/ 208813 w 576952"/>
                <a:gd name="connsiteY32" fmla="*/ 199440 h 344010"/>
                <a:gd name="connsiteX33" fmla="*/ 223576 w 576952"/>
                <a:gd name="connsiteY33" fmla="*/ 226974 h 344010"/>
                <a:gd name="connsiteX34" fmla="*/ 256749 w 576952"/>
                <a:gd name="connsiteY34" fmla="*/ 251523 h 344010"/>
                <a:gd name="connsiteX35" fmla="*/ 295065 w 576952"/>
                <a:gd name="connsiteY35" fmla="*/ 274081 h 344010"/>
                <a:gd name="connsiteX36" fmla="*/ 329565 w 576952"/>
                <a:gd name="connsiteY36" fmla="*/ 296639 h 344010"/>
                <a:gd name="connsiteX37" fmla="*/ 358924 w 576952"/>
                <a:gd name="connsiteY37" fmla="*/ 306591 h 344010"/>
                <a:gd name="connsiteX38" fmla="*/ 361412 w 576952"/>
                <a:gd name="connsiteY38" fmla="*/ 328486 h 344010"/>
                <a:gd name="connsiteX39" fmla="*/ 364398 w 576952"/>
                <a:gd name="connsiteY39" fmla="*/ 328486 h 344010"/>
                <a:gd name="connsiteX40" fmla="*/ 391932 w 576952"/>
                <a:gd name="connsiteY40" fmla="*/ 337608 h 344010"/>
                <a:gd name="connsiteX41" fmla="*/ 405201 w 576952"/>
                <a:gd name="connsiteY41" fmla="*/ 343911 h 344010"/>
                <a:gd name="connsiteX42" fmla="*/ 418969 w 576952"/>
                <a:gd name="connsiteY42" fmla="*/ 309245 h 344010"/>
                <a:gd name="connsiteX43" fmla="*/ 414987 w 576952"/>
                <a:gd name="connsiteY43" fmla="*/ 279721 h 344010"/>
                <a:gd name="connsiteX44" fmla="*/ 394420 w 576952"/>
                <a:gd name="connsiteY44" fmla="*/ 254177 h 344010"/>
                <a:gd name="connsiteX45" fmla="*/ 425769 w 576952"/>
                <a:gd name="connsiteY45" fmla="*/ 242400 h 344010"/>
                <a:gd name="connsiteX46" fmla="*/ 436551 w 576952"/>
                <a:gd name="connsiteY46" fmla="*/ 223657 h 344010"/>
                <a:gd name="connsiteX47" fmla="*/ 452308 w 576952"/>
                <a:gd name="connsiteY47" fmla="*/ 205909 h 344010"/>
                <a:gd name="connsiteX48" fmla="*/ 477852 w 576952"/>
                <a:gd name="connsiteY48" fmla="*/ 200104 h 344010"/>
                <a:gd name="connsiteX49" fmla="*/ 500409 w 576952"/>
                <a:gd name="connsiteY49" fmla="*/ 195128 h 344010"/>
                <a:gd name="connsiteX50" fmla="*/ 488799 w 576952"/>
                <a:gd name="connsiteY50" fmla="*/ 222496 h 344010"/>
                <a:gd name="connsiteX51" fmla="*/ 527114 w 576952"/>
                <a:gd name="connsiteY51" fmla="*/ 215529 h 344010"/>
                <a:gd name="connsiteX52" fmla="*/ 558463 w 576952"/>
                <a:gd name="connsiteY52" fmla="*/ 210387 h 344010"/>
                <a:gd name="connsiteX53" fmla="*/ 571402 w 576952"/>
                <a:gd name="connsiteY53" fmla="*/ 192308 h 34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6952" h="344010">
                  <a:moveTo>
                    <a:pt x="571402" y="192308"/>
                  </a:moveTo>
                  <a:cubicBezTo>
                    <a:pt x="555644" y="179204"/>
                    <a:pt x="528110" y="163447"/>
                    <a:pt x="525622" y="171242"/>
                  </a:cubicBezTo>
                  <a:cubicBezTo>
                    <a:pt x="523134" y="179038"/>
                    <a:pt x="505883" y="180531"/>
                    <a:pt x="499249" y="172569"/>
                  </a:cubicBezTo>
                  <a:cubicBezTo>
                    <a:pt x="493941" y="161606"/>
                    <a:pt x="480754" y="157011"/>
                    <a:pt x="469790" y="162319"/>
                  </a:cubicBezTo>
                  <a:cubicBezTo>
                    <a:pt x="469077" y="162650"/>
                    <a:pt x="468397" y="163032"/>
                    <a:pt x="467734" y="163447"/>
                  </a:cubicBezTo>
                  <a:cubicBezTo>
                    <a:pt x="448161" y="171242"/>
                    <a:pt x="434560" y="181858"/>
                    <a:pt x="433731" y="189654"/>
                  </a:cubicBezTo>
                  <a:cubicBezTo>
                    <a:pt x="432901" y="197450"/>
                    <a:pt x="419300" y="206241"/>
                    <a:pt x="417973" y="194962"/>
                  </a:cubicBezTo>
                  <a:cubicBezTo>
                    <a:pt x="416646" y="183683"/>
                    <a:pt x="401387" y="180531"/>
                    <a:pt x="390439" y="178375"/>
                  </a:cubicBezTo>
                  <a:cubicBezTo>
                    <a:pt x="379492" y="176219"/>
                    <a:pt x="362905" y="181029"/>
                    <a:pt x="361578" y="170579"/>
                  </a:cubicBezTo>
                  <a:cubicBezTo>
                    <a:pt x="360251" y="160129"/>
                    <a:pt x="344991" y="148187"/>
                    <a:pt x="343167" y="136410"/>
                  </a:cubicBezTo>
                  <a:cubicBezTo>
                    <a:pt x="341342" y="124634"/>
                    <a:pt x="345821" y="107549"/>
                    <a:pt x="335371" y="104895"/>
                  </a:cubicBezTo>
                  <a:cubicBezTo>
                    <a:pt x="324921" y="102241"/>
                    <a:pt x="318784" y="85157"/>
                    <a:pt x="308998" y="85157"/>
                  </a:cubicBezTo>
                  <a:cubicBezTo>
                    <a:pt x="286854" y="85605"/>
                    <a:pt x="264694" y="84775"/>
                    <a:pt x="242650" y="82669"/>
                  </a:cubicBezTo>
                  <a:cubicBezTo>
                    <a:pt x="236016" y="80015"/>
                    <a:pt x="202013" y="93119"/>
                    <a:pt x="199359" y="85157"/>
                  </a:cubicBezTo>
                  <a:cubicBezTo>
                    <a:pt x="188312" y="69333"/>
                    <a:pt x="175208" y="55052"/>
                    <a:pt x="160379" y="42695"/>
                  </a:cubicBezTo>
                  <a:cubicBezTo>
                    <a:pt x="158986" y="48533"/>
                    <a:pt x="155503" y="53675"/>
                    <a:pt x="150593" y="57125"/>
                  </a:cubicBezTo>
                  <a:cubicBezTo>
                    <a:pt x="126045" y="74873"/>
                    <a:pt x="102492" y="71887"/>
                    <a:pt x="110287" y="50159"/>
                  </a:cubicBezTo>
                  <a:cubicBezTo>
                    <a:pt x="118083" y="28430"/>
                    <a:pt x="119244" y="3052"/>
                    <a:pt x="106472" y="3052"/>
                  </a:cubicBezTo>
                  <a:cubicBezTo>
                    <a:pt x="93701" y="3052"/>
                    <a:pt x="102492" y="48334"/>
                    <a:pt x="92705" y="51154"/>
                  </a:cubicBezTo>
                  <a:cubicBezTo>
                    <a:pt x="82919" y="53974"/>
                    <a:pt x="80597" y="17980"/>
                    <a:pt x="87895" y="-100"/>
                  </a:cubicBezTo>
                  <a:lnTo>
                    <a:pt x="3800" y="22293"/>
                  </a:lnTo>
                  <a:lnTo>
                    <a:pt x="-15" y="169252"/>
                  </a:lnTo>
                  <a:lnTo>
                    <a:pt x="-15" y="169252"/>
                  </a:lnTo>
                  <a:cubicBezTo>
                    <a:pt x="7382" y="172503"/>
                    <a:pt x="15311" y="174410"/>
                    <a:pt x="23373" y="174892"/>
                  </a:cubicBezTo>
                  <a:cubicBezTo>
                    <a:pt x="36144" y="175887"/>
                    <a:pt x="35149" y="166101"/>
                    <a:pt x="35149" y="159134"/>
                  </a:cubicBezTo>
                  <a:cubicBezTo>
                    <a:pt x="38566" y="148917"/>
                    <a:pt x="47937" y="141851"/>
                    <a:pt x="58703" y="141386"/>
                  </a:cubicBezTo>
                  <a:cubicBezTo>
                    <a:pt x="68654" y="142381"/>
                    <a:pt x="67659" y="128614"/>
                    <a:pt x="70645" y="128614"/>
                  </a:cubicBezTo>
                  <a:cubicBezTo>
                    <a:pt x="75969" y="128482"/>
                    <a:pt x="80946" y="125994"/>
                    <a:pt x="84246" y="121814"/>
                  </a:cubicBezTo>
                  <a:cubicBezTo>
                    <a:pt x="87232" y="116838"/>
                    <a:pt x="102989" y="122809"/>
                    <a:pt x="107965" y="127785"/>
                  </a:cubicBezTo>
                  <a:cubicBezTo>
                    <a:pt x="115711" y="132595"/>
                    <a:pt x="124436" y="135597"/>
                    <a:pt x="133509" y="136576"/>
                  </a:cubicBezTo>
                  <a:cubicBezTo>
                    <a:pt x="142300" y="138566"/>
                    <a:pt x="145286" y="166101"/>
                    <a:pt x="145286" y="171906"/>
                  </a:cubicBezTo>
                  <a:cubicBezTo>
                    <a:pt x="145286" y="177711"/>
                    <a:pt x="187416" y="176882"/>
                    <a:pt x="195046" y="177877"/>
                  </a:cubicBezTo>
                  <a:cubicBezTo>
                    <a:pt x="202676" y="178873"/>
                    <a:pt x="201846" y="190483"/>
                    <a:pt x="208813" y="199440"/>
                  </a:cubicBezTo>
                  <a:cubicBezTo>
                    <a:pt x="214818" y="207982"/>
                    <a:pt x="219777" y="217238"/>
                    <a:pt x="223576" y="226974"/>
                  </a:cubicBezTo>
                  <a:cubicBezTo>
                    <a:pt x="226561" y="233775"/>
                    <a:pt x="251109" y="242732"/>
                    <a:pt x="256749" y="251523"/>
                  </a:cubicBezTo>
                  <a:cubicBezTo>
                    <a:pt x="267431" y="262122"/>
                    <a:pt x="280601" y="269884"/>
                    <a:pt x="295065" y="274081"/>
                  </a:cubicBezTo>
                  <a:cubicBezTo>
                    <a:pt x="308832" y="279057"/>
                    <a:pt x="321603" y="297634"/>
                    <a:pt x="329565" y="296639"/>
                  </a:cubicBezTo>
                  <a:cubicBezTo>
                    <a:pt x="339832" y="298331"/>
                    <a:pt x="349752" y="301698"/>
                    <a:pt x="358924" y="306591"/>
                  </a:cubicBezTo>
                  <a:lnTo>
                    <a:pt x="361412" y="328486"/>
                  </a:lnTo>
                  <a:lnTo>
                    <a:pt x="364398" y="328486"/>
                  </a:lnTo>
                  <a:cubicBezTo>
                    <a:pt x="376174" y="324505"/>
                    <a:pt x="382643" y="337608"/>
                    <a:pt x="391932" y="337608"/>
                  </a:cubicBezTo>
                  <a:cubicBezTo>
                    <a:pt x="396825" y="338537"/>
                    <a:pt x="401387" y="340710"/>
                    <a:pt x="405201" y="343911"/>
                  </a:cubicBezTo>
                  <a:cubicBezTo>
                    <a:pt x="403377" y="330741"/>
                    <a:pt x="408602" y="317572"/>
                    <a:pt x="418969" y="309245"/>
                  </a:cubicBezTo>
                  <a:cubicBezTo>
                    <a:pt x="427760" y="302278"/>
                    <a:pt x="412997" y="290502"/>
                    <a:pt x="414987" y="279721"/>
                  </a:cubicBezTo>
                  <a:cubicBezTo>
                    <a:pt x="416978" y="268939"/>
                    <a:pt x="392429" y="263134"/>
                    <a:pt x="394420" y="254177"/>
                  </a:cubicBezTo>
                  <a:cubicBezTo>
                    <a:pt x="396410" y="245220"/>
                    <a:pt x="416978" y="246215"/>
                    <a:pt x="425769" y="242400"/>
                  </a:cubicBezTo>
                  <a:cubicBezTo>
                    <a:pt x="434560" y="238585"/>
                    <a:pt x="427760" y="223657"/>
                    <a:pt x="436551" y="223657"/>
                  </a:cubicBezTo>
                  <a:cubicBezTo>
                    <a:pt x="445342" y="223657"/>
                    <a:pt x="449322" y="214866"/>
                    <a:pt x="452308" y="205909"/>
                  </a:cubicBezTo>
                  <a:cubicBezTo>
                    <a:pt x="455294" y="196952"/>
                    <a:pt x="470056" y="205909"/>
                    <a:pt x="477852" y="200104"/>
                  </a:cubicBezTo>
                  <a:cubicBezTo>
                    <a:pt x="485647" y="194298"/>
                    <a:pt x="497590" y="190317"/>
                    <a:pt x="500409" y="195128"/>
                  </a:cubicBezTo>
                  <a:cubicBezTo>
                    <a:pt x="503229" y="199938"/>
                    <a:pt x="493112" y="215529"/>
                    <a:pt x="488799" y="222496"/>
                  </a:cubicBezTo>
                  <a:cubicBezTo>
                    <a:pt x="501919" y="222811"/>
                    <a:pt x="514956" y="220439"/>
                    <a:pt x="527114" y="215529"/>
                  </a:cubicBezTo>
                  <a:cubicBezTo>
                    <a:pt x="532256" y="210387"/>
                    <a:pt x="551995" y="223491"/>
                    <a:pt x="558463" y="210387"/>
                  </a:cubicBezTo>
                  <a:cubicBezTo>
                    <a:pt x="564932" y="197284"/>
                    <a:pt x="587159" y="205411"/>
                    <a:pt x="571402" y="192308"/>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1" name="Freeform: Shape 580">
              <a:extLst>
                <a:ext uri="{FF2B5EF4-FFF2-40B4-BE49-F238E27FC236}">
                  <a16:creationId xmlns:a16="http://schemas.microsoft.com/office/drawing/2014/main" id="{5AFCB605-C662-4C49-B0CD-488A9623FF5A}"/>
                </a:ext>
              </a:extLst>
            </p:cNvPr>
            <p:cNvSpPr/>
            <p:nvPr/>
          </p:nvSpPr>
          <p:spPr>
            <a:xfrm>
              <a:off x="5483238" y="1702345"/>
              <a:ext cx="730208" cy="1137051"/>
            </a:xfrm>
            <a:custGeom>
              <a:avLst/>
              <a:gdLst>
                <a:gd name="connsiteX0" fmla="*/ 828764 w 853924"/>
                <a:gd name="connsiteY0" fmla="*/ 724136 h 1355716"/>
                <a:gd name="connsiteX1" fmla="*/ 814001 w 853924"/>
                <a:gd name="connsiteY1" fmla="*/ 722643 h 1355716"/>
                <a:gd name="connsiteX2" fmla="*/ 792439 w 853924"/>
                <a:gd name="connsiteY2" fmla="*/ 706056 h 1355716"/>
                <a:gd name="connsiteX3" fmla="*/ 809026 w 853924"/>
                <a:gd name="connsiteY3" fmla="*/ 707549 h 1355716"/>
                <a:gd name="connsiteX4" fmla="*/ 831252 w 853924"/>
                <a:gd name="connsiteY4" fmla="*/ 700748 h 1355716"/>
                <a:gd name="connsiteX5" fmla="*/ 853810 w 853924"/>
                <a:gd name="connsiteY5" fmla="*/ 691791 h 1355716"/>
                <a:gd name="connsiteX6" fmla="*/ 837223 w 853924"/>
                <a:gd name="connsiteY6" fmla="*/ 675205 h 1355716"/>
                <a:gd name="connsiteX7" fmla="*/ 812177 w 853924"/>
                <a:gd name="connsiteY7" fmla="*/ 666745 h 1355716"/>
                <a:gd name="connsiteX8" fmla="*/ 794595 w 853924"/>
                <a:gd name="connsiteY8" fmla="*/ 658452 h 1355716"/>
                <a:gd name="connsiteX9" fmla="*/ 768554 w 853924"/>
                <a:gd name="connsiteY9" fmla="*/ 676200 h 1355716"/>
                <a:gd name="connsiteX10" fmla="*/ 760592 w 853924"/>
                <a:gd name="connsiteY10" fmla="*/ 679019 h 1355716"/>
                <a:gd name="connsiteX11" fmla="*/ 764573 w 853924"/>
                <a:gd name="connsiteY11" fmla="*/ 660442 h 1355716"/>
                <a:gd name="connsiteX12" fmla="*/ 750806 w 853924"/>
                <a:gd name="connsiteY12" fmla="*/ 641699 h 1355716"/>
                <a:gd name="connsiteX13" fmla="*/ 730238 w 853924"/>
                <a:gd name="connsiteY13" fmla="*/ 660442 h 1355716"/>
                <a:gd name="connsiteX14" fmla="*/ 710500 w 853924"/>
                <a:gd name="connsiteY14" fmla="*/ 686484 h 1355716"/>
                <a:gd name="connsiteX15" fmla="*/ 710500 w 853924"/>
                <a:gd name="connsiteY15" fmla="*/ 658452 h 1355716"/>
                <a:gd name="connsiteX16" fmla="*/ 689435 w 853924"/>
                <a:gd name="connsiteY16" fmla="*/ 669731 h 1355716"/>
                <a:gd name="connsiteX17" fmla="*/ 657422 w 853924"/>
                <a:gd name="connsiteY17" fmla="*/ 701246 h 1355716"/>
                <a:gd name="connsiteX18" fmla="*/ 663393 w 853924"/>
                <a:gd name="connsiteY18" fmla="*/ 680015 h 1355716"/>
                <a:gd name="connsiteX19" fmla="*/ 684956 w 853924"/>
                <a:gd name="connsiteY19" fmla="*/ 654471 h 1355716"/>
                <a:gd name="connsiteX20" fmla="*/ 680975 w 853924"/>
                <a:gd name="connsiteY20" fmla="*/ 641699 h 1355716"/>
                <a:gd name="connsiteX21" fmla="*/ 662896 w 853924"/>
                <a:gd name="connsiteY21" fmla="*/ 656461 h 1355716"/>
                <a:gd name="connsiteX22" fmla="*/ 639177 w 853924"/>
                <a:gd name="connsiteY22" fmla="*/ 653476 h 1355716"/>
                <a:gd name="connsiteX23" fmla="*/ 633371 w 853924"/>
                <a:gd name="connsiteY23" fmla="*/ 666248 h 1355716"/>
                <a:gd name="connsiteX24" fmla="*/ 626073 w 853924"/>
                <a:gd name="connsiteY24" fmla="*/ 671224 h 1355716"/>
                <a:gd name="connsiteX25" fmla="*/ 602851 w 853924"/>
                <a:gd name="connsiteY25" fmla="*/ 679019 h 1355716"/>
                <a:gd name="connsiteX26" fmla="*/ 595056 w 853924"/>
                <a:gd name="connsiteY26" fmla="*/ 691791 h 1355716"/>
                <a:gd name="connsiteX27" fmla="*/ 596017 w 853924"/>
                <a:gd name="connsiteY27" fmla="*/ 707947 h 1355716"/>
                <a:gd name="connsiteX28" fmla="*/ 591573 w 853924"/>
                <a:gd name="connsiteY28" fmla="*/ 711032 h 1355716"/>
                <a:gd name="connsiteX29" fmla="*/ 579298 w 853924"/>
                <a:gd name="connsiteY29" fmla="*/ 689469 h 1355716"/>
                <a:gd name="connsiteX30" fmla="*/ 586265 w 853924"/>
                <a:gd name="connsiteY30" fmla="*/ 676697 h 1355716"/>
                <a:gd name="connsiteX31" fmla="*/ 603847 w 853924"/>
                <a:gd name="connsiteY31" fmla="*/ 660110 h 1355716"/>
                <a:gd name="connsiteX32" fmla="*/ 592070 w 853924"/>
                <a:gd name="connsiteY32" fmla="*/ 663096 h 1355716"/>
                <a:gd name="connsiteX33" fmla="*/ 565034 w 853924"/>
                <a:gd name="connsiteY33" fmla="*/ 668404 h 1355716"/>
                <a:gd name="connsiteX34" fmla="*/ 567024 w 853924"/>
                <a:gd name="connsiteY34" fmla="*/ 690464 h 1355716"/>
                <a:gd name="connsiteX35" fmla="*/ 557735 w 853924"/>
                <a:gd name="connsiteY35" fmla="*/ 697431 h 1355716"/>
                <a:gd name="connsiteX36" fmla="*/ 532689 w 853924"/>
                <a:gd name="connsiteY36" fmla="*/ 697431 h 1355716"/>
                <a:gd name="connsiteX37" fmla="*/ 551266 w 853924"/>
                <a:gd name="connsiteY37" fmla="*/ 714018 h 1355716"/>
                <a:gd name="connsiteX38" fmla="*/ 535674 w 853924"/>
                <a:gd name="connsiteY38" fmla="*/ 712027 h 1355716"/>
                <a:gd name="connsiteX39" fmla="*/ 517927 w 853924"/>
                <a:gd name="connsiteY39" fmla="*/ 701246 h 1355716"/>
                <a:gd name="connsiteX40" fmla="*/ 507145 w 853924"/>
                <a:gd name="connsiteY40" fmla="*/ 707549 h 1355716"/>
                <a:gd name="connsiteX41" fmla="*/ 514941 w 853924"/>
                <a:gd name="connsiteY41" fmla="*/ 729112 h 1355716"/>
                <a:gd name="connsiteX42" fmla="*/ 503662 w 853924"/>
                <a:gd name="connsiteY42" fmla="*/ 722311 h 1355716"/>
                <a:gd name="connsiteX43" fmla="*/ 485085 w 853924"/>
                <a:gd name="connsiteY43" fmla="*/ 720818 h 1355716"/>
                <a:gd name="connsiteX44" fmla="*/ 482597 w 853924"/>
                <a:gd name="connsiteY44" fmla="*/ 701744 h 1355716"/>
                <a:gd name="connsiteX45" fmla="*/ 459375 w 853924"/>
                <a:gd name="connsiteY45" fmla="*/ 703568 h 1355716"/>
                <a:gd name="connsiteX46" fmla="*/ 450087 w 853924"/>
                <a:gd name="connsiteY46" fmla="*/ 713022 h 1355716"/>
                <a:gd name="connsiteX47" fmla="*/ 447101 w 853924"/>
                <a:gd name="connsiteY47" fmla="*/ 728282 h 1355716"/>
                <a:gd name="connsiteX48" fmla="*/ 436320 w 853924"/>
                <a:gd name="connsiteY48" fmla="*/ 736078 h 1355716"/>
                <a:gd name="connsiteX49" fmla="*/ 424543 w 853924"/>
                <a:gd name="connsiteY49" fmla="*/ 737571 h 1355716"/>
                <a:gd name="connsiteX50" fmla="*/ 401985 w 853924"/>
                <a:gd name="connsiteY50" fmla="*/ 740557 h 1355716"/>
                <a:gd name="connsiteX51" fmla="*/ 385398 w 853924"/>
                <a:gd name="connsiteY51" fmla="*/ 763115 h 1355716"/>
                <a:gd name="connsiteX52" fmla="*/ 406629 w 853924"/>
                <a:gd name="connsiteY52" fmla="*/ 761622 h 1355716"/>
                <a:gd name="connsiteX53" fmla="*/ 410942 w 853924"/>
                <a:gd name="connsiteY53" fmla="*/ 773399 h 1355716"/>
                <a:gd name="connsiteX54" fmla="*/ 407956 w 853924"/>
                <a:gd name="connsiteY54" fmla="*/ 782190 h 1355716"/>
                <a:gd name="connsiteX55" fmla="*/ 391369 w 853924"/>
                <a:gd name="connsiteY55" fmla="*/ 784180 h 1355716"/>
                <a:gd name="connsiteX56" fmla="*/ 376607 w 853924"/>
                <a:gd name="connsiteY56" fmla="*/ 775389 h 1355716"/>
                <a:gd name="connsiteX57" fmla="*/ 358362 w 853924"/>
                <a:gd name="connsiteY57" fmla="*/ 784180 h 1355716"/>
                <a:gd name="connsiteX58" fmla="*/ 366323 w 853924"/>
                <a:gd name="connsiteY58" fmla="*/ 756646 h 1355716"/>
                <a:gd name="connsiteX59" fmla="*/ 346585 w 853924"/>
                <a:gd name="connsiteY59" fmla="*/ 773233 h 1355716"/>
                <a:gd name="connsiteX60" fmla="*/ 325520 w 853924"/>
                <a:gd name="connsiteY60" fmla="*/ 789820 h 1355716"/>
                <a:gd name="connsiteX61" fmla="*/ 311255 w 853924"/>
                <a:gd name="connsiteY61" fmla="*/ 807402 h 1355716"/>
                <a:gd name="connsiteX62" fmla="*/ 270451 w 853924"/>
                <a:gd name="connsiteY62" fmla="*/ 830125 h 1355716"/>
                <a:gd name="connsiteX63" fmla="*/ 281730 w 853924"/>
                <a:gd name="connsiteY63" fmla="*/ 831121 h 1355716"/>
                <a:gd name="connsiteX64" fmla="*/ 306279 w 853924"/>
                <a:gd name="connsiteY64" fmla="*/ 818847 h 1355716"/>
                <a:gd name="connsiteX65" fmla="*/ 339453 w 853924"/>
                <a:gd name="connsiteY65" fmla="*/ 806904 h 1355716"/>
                <a:gd name="connsiteX66" fmla="*/ 357930 w 853924"/>
                <a:gd name="connsiteY66" fmla="*/ 805544 h 1355716"/>
                <a:gd name="connsiteX67" fmla="*/ 359025 w 853924"/>
                <a:gd name="connsiteY67" fmla="*/ 804084 h 1355716"/>
                <a:gd name="connsiteX68" fmla="*/ 376574 w 853924"/>
                <a:gd name="connsiteY68" fmla="*/ 799838 h 1355716"/>
                <a:gd name="connsiteX69" fmla="*/ 379758 w 853924"/>
                <a:gd name="connsiteY69" fmla="*/ 802592 h 1355716"/>
                <a:gd name="connsiteX70" fmla="*/ 376773 w 853924"/>
                <a:gd name="connsiteY70" fmla="*/ 820339 h 1355716"/>
                <a:gd name="connsiteX71" fmla="*/ 367484 w 853924"/>
                <a:gd name="connsiteY71" fmla="*/ 825647 h 1355716"/>
                <a:gd name="connsiteX72" fmla="*/ 354215 w 853924"/>
                <a:gd name="connsiteY72" fmla="*/ 819344 h 1355716"/>
                <a:gd name="connsiteX73" fmla="*/ 337628 w 853924"/>
                <a:gd name="connsiteY73" fmla="*/ 833111 h 1355716"/>
                <a:gd name="connsiteX74" fmla="*/ 324358 w 853924"/>
                <a:gd name="connsiteY74" fmla="*/ 857162 h 1355716"/>
                <a:gd name="connsiteX75" fmla="*/ 312084 w 853924"/>
                <a:gd name="connsiteY75" fmla="*/ 867446 h 1355716"/>
                <a:gd name="connsiteX76" fmla="*/ 281565 w 853924"/>
                <a:gd name="connsiteY76" fmla="*/ 909245 h 1355716"/>
                <a:gd name="connsiteX77" fmla="*/ 276257 w 853924"/>
                <a:gd name="connsiteY77" fmla="*/ 933793 h 1355716"/>
                <a:gd name="connsiteX78" fmla="*/ 250215 w 853924"/>
                <a:gd name="connsiteY78" fmla="*/ 938106 h 1355716"/>
                <a:gd name="connsiteX79" fmla="*/ 245737 w 853924"/>
                <a:gd name="connsiteY79" fmla="*/ 968626 h 1355716"/>
                <a:gd name="connsiteX80" fmla="*/ 245737 w 853924"/>
                <a:gd name="connsiteY80" fmla="*/ 991184 h 1355716"/>
                <a:gd name="connsiteX81" fmla="*/ 225169 w 853924"/>
                <a:gd name="connsiteY81" fmla="*/ 994169 h 1355716"/>
                <a:gd name="connsiteX82" fmla="*/ 201948 w 853924"/>
                <a:gd name="connsiteY82" fmla="*/ 1001467 h 1355716"/>
                <a:gd name="connsiteX83" fmla="*/ 220691 w 853924"/>
                <a:gd name="connsiteY83" fmla="*/ 1022201 h 1355716"/>
                <a:gd name="connsiteX84" fmla="*/ 210407 w 853924"/>
                <a:gd name="connsiteY84" fmla="*/ 1026514 h 1355716"/>
                <a:gd name="connsiteX85" fmla="*/ 180882 w 853924"/>
                <a:gd name="connsiteY85" fmla="*/ 1038456 h 1355716"/>
                <a:gd name="connsiteX86" fmla="*/ 160315 w 853924"/>
                <a:gd name="connsiteY86" fmla="*/ 1059521 h 1355716"/>
                <a:gd name="connsiteX87" fmla="*/ 143728 w 853924"/>
                <a:gd name="connsiteY87" fmla="*/ 1084568 h 1355716"/>
                <a:gd name="connsiteX88" fmla="*/ 125482 w 853924"/>
                <a:gd name="connsiteY88" fmla="*/ 1070303 h 1355716"/>
                <a:gd name="connsiteX89" fmla="*/ 121667 w 853924"/>
                <a:gd name="connsiteY89" fmla="*/ 1089046 h 1355716"/>
                <a:gd name="connsiteX90" fmla="*/ 103422 w 853924"/>
                <a:gd name="connsiteY90" fmla="*/ 1100325 h 1355716"/>
                <a:gd name="connsiteX91" fmla="*/ 71575 w 853924"/>
                <a:gd name="connsiteY91" fmla="*/ 1112102 h 1355716"/>
                <a:gd name="connsiteX92" fmla="*/ 89157 w 853924"/>
                <a:gd name="connsiteY92" fmla="*/ 1125371 h 1355716"/>
                <a:gd name="connsiteX93" fmla="*/ 60628 w 853924"/>
                <a:gd name="connsiteY93" fmla="*/ 1125371 h 1355716"/>
                <a:gd name="connsiteX94" fmla="*/ 43046 w 853924"/>
                <a:gd name="connsiteY94" fmla="*/ 1137148 h 1355716"/>
                <a:gd name="connsiteX95" fmla="*/ 27786 w 853924"/>
                <a:gd name="connsiteY95" fmla="*/ 1152408 h 1355716"/>
                <a:gd name="connsiteX96" fmla="*/ 15512 w 853924"/>
                <a:gd name="connsiteY96" fmla="*/ 1155725 h 1355716"/>
                <a:gd name="connsiteX97" fmla="*/ 252 w 853924"/>
                <a:gd name="connsiteY97" fmla="*/ 1170487 h 1355716"/>
                <a:gd name="connsiteX98" fmla="*/ 13024 w 853924"/>
                <a:gd name="connsiteY98" fmla="*/ 1187074 h 1355716"/>
                <a:gd name="connsiteX99" fmla="*/ 9043 w 853924"/>
                <a:gd name="connsiteY99" fmla="*/ 1199349 h 1355716"/>
                <a:gd name="connsiteX100" fmla="*/ 5726 w 853924"/>
                <a:gd name="connsiteY100" fmla="*/ 1211623 h 1355716"/>
                <a:gd name="connsiteX101" fmla="*/ 5726 w 853924"/>
                <a:gd name="connsiteY101" fmla="*/ 1227380 h 1355716"/>
                <a:gd name="connsiteX102" fmla="*/ 3238 w 853924"/>
                <a:gd name="connsiteY102" fmla="*/ 1247450 h 1355716"/>
                <a:gd name="connsiteX103" fmla="*/ 19824 w 853924"/>
                <a:gd name="connsiteY103" fmla="*/ 1252924 h 1355716"/>
                <a:gd name="connsiteX104" fmla="*/ 43544 w 853924"/>
                <a:gd name="connsiteY104" fmla="*/ 1244133 h 1355716"/>
                <a:gd name="connsiteX105" fmla="*/ 49349 w 853924"/>
                <a:gd name="connsiteY105" fmla="*/ 1254417 h 1355716"/>
                <a:gd name="connsiteX106" fmla="*/ 32762 w 853924"/>
                <a:gd name="connsiteY106" fmla="*/ 1268184 h 1355716"/>
                <a:gd name="connsiteX107" fmla="*/ 19492 w 853924"/>
                <a:gd name="connsiteY107" fmla="*/ 1264700 h 1355716"/>
                <a:gd name="connsiteX108" fmla="*/ 8047 w 853924"/>
                <a:gd name="connsiteY108" fmla="*/ 1274487 h 1355716"/>
                <a:gd name="connsiteX109" fmla="*/ 5726 w 853924"/>
                <a:gd name="connsiteY109" fmla="*/ 1294225 h 1355716"/>
                <a:gd name="connsiteX110" fmla="*/ 24303 w 853924"/>
                <a:gd name="connsiteY110" fmla="*/ 1291737 h 1355716"/>
                <a:gd name="connsiteX111" fmla="*/ 36909 w 853924"/>
                <a:gd name="connsiteY111" fmla="*/ 1287292 h 1355716"/>
                <a:gd name="connsiteX112" fmla="*/ 42051 w 853924"/>
                <a:gd name="connsiteY112" fmla="*/ 1293727 h 1355716"/>
                <a:gd name="connsiteX113" fmla="*/ 33591 w 853924"/>
                <a:gd name="connsiteY113" fmla="*/ 1306997 h 1355716"/>
                <a:gd name="connsiteX114" fmla="*/ 19824 w 853924"/>
                <a:gd name="connsiteY114" fmla="*/ 1317281 h 1355716"/>
                <a:gd name="connsiteX115" fmla="*/ 54822 w 853924"/>
                <a:gd name="connsiteY115" fmla="*/ 1344815 h 1355716"/>
                <a:gd name="connsiteX116" fmla="*/ 93636 w 853924"/>
                <a:gd name="connsiteY116" fmla="*/ 1355099 h 1355716"/>
                <a:gd name="connsiteX117" fmla="*/ 155505 w 853924"/>
                <a:gd name="connsiteY117" fmla="*/ 1309319 h 1355716"/>
                <a:gd name="connsiteX118" fmla="*/ 178560 w 853924"/>
                <a:gd name="connsiteY118" fmla="*/ 1304509 h 1355716"/>
                <a:gd name="connsiteX119" fmla="*/ 187019 w 853924"/>
                <a:gd name="connsiteY119" fmla="*/ 1280458 h 1355716"/>
                <a:gd name="connsiteX120" fmla="*/ 200289 w 853924"/>
                <a:gd name="connsiteY120" fmla="*/ 1298538 h 1355716"/>
                <a:gd name="connsiteX121" fmla="*/ 208085 w 853924"/>
                <a:gd name="connsiteY121" fmla="*/ 1313632 h 1355716"/>
                <a:gd name="connsiteX122" fmla="*/ 218534 w 853924"/>
                <a:gd name="connsiteY122" fmla="*/ 1315125 h 1355716"/>
                <a:gd name="connsiteX123" fmla="*/ 226330 w 853924"/>
                <a:gd name="connsiteY123" fmla="*/ 1293064 h 1355716"/>
                <a:gd name="connsiteX124" fmla="*/ 231141 w 853924"/>
                <a:gd name="connsiteY124" fmla="*/ 1266193 h 1355716"/>
                <a:gd name="connsiteX125" fmla="*/ 253201 w 853924"/>
                <a:gd name="connsiteY125" fmla="*/ 1258398 h 1355716"/>
                <a:gd name="connsiteX126" fmla="*/ 251708 w 853924"/>
                <a:gd name="connsiteY126" fmla="*/ 1226717 h 1355716"/>
                <a:gd name="connsiteX127" fmla="*/ 250049 w 853924"/>
                <a:gd name="connsiteY127" fmla="*/ 1210959 h 1355716"/>
                <a:gd name="connsiteX128" fmla="*/ 262655 w 853924"/>
                <a:gd name="connsiteY128" fmla="*/ 1193543 h 1355716"/>
                <a:gd name="connsiteX129" fmla="*/ 240595 w 853924"/>
                <a:gd name="connsiteY129" fmla="*/ 1169990 h 1355716"/>
                <a:gd name="connsiteX130" fmla="*/ 242088 w 853924"/>
                <a:gd name="connsiteY130" fmla="*/ 1138309 h 1355716"/>
                <a:gd name="connsiteX131" fmla="*/ 242088 w 853924"/>
                <a:gd name="connsiteY131" fmla="*/ 1105135 h 1355716"/>
                <a:gd name="connsiteX132" fmla="*/ 245239 w 853924"/>
                <a:gd name="connsiteY132" fmla="*/ 1071962 h 1355716"/>
                <a:gd name="connsiteX133" fmla="*/ 278413 w 853924"/>
                <a:gd name="connsiteY133" fmla="*/ 1049735 h 1355716"/>
                <a:gd name="connsiteX134" fmla="*/ 300639 w 853924"/>
                <a:gd name="connsiteY134" fmla="*/ 1048242 h 1355716"/>
                <a:gd name="connsiteX135" fmla="*/ 300639 w 853924"/>
                <a:gd name="connsiteY135" fmla="*/ 1029333 h 1355716"/>
                <a:gd name="connsiteX136" fmla="*/ 292678 w 853924"/>
                <a:gd name="connsiteY136" fmla="*/ 1011917 h 1355716"/>
                <a:gd name="connsiteX137" fmla="*/ 314738 w 853924"/>
                <a:gd name="connsiteY137" fmla="*/ 969289 h 1355716"/>
                <a:gd name="connsiteX138" fmla="*/ 316397 w 853924"/>
                <a:gd name="connsiteY138" fmla="*/ 939267 h 1355716"/>
                <a:gd name="connsiteX139" fmla="*/ 341609 w 853924"/>
                <a:gd name="connsiteY139" fmla="*/ 932964 h 1355716"/>
                <a:gd name="connsiteX140" fmla="*/ 347912 w 853924"/>
                <a:gd name="connsiteY140" fmla="*/ 914055 h 1355716"/>
                <a:gd name="connsiteX141" fmla="*/ 364499 w 853924"/>
                <a:gd name="connsiteY141" fmla="*/ 888843 h 1355716"/>
                <a:gd name="connsiteX142" fmla="*/ 372295 w 853924"/>
                <a:gd name="connsiteY142" fmla="*/ 871427 h 1355716"/>
                <a:gd name="connsiteX143" fmla="*/ 381749 w 853924"/>
                <a:gd name="connsiteY143" fmla="*/ 847707 h 1355716"/>
                <a:gd name="connsiteX144" fmla="*/ 407127 w 853924"/>
                <a:gd name="connsiteY144" fmla="*/ 828798 h 1355716"/>
                <a:gd name="connsiteX145" fmla="*/ 432339 w 853924"/>
                <a:gd name="connsiteY145" fmla="*/ 819344 h 1355716"/>
                <a:gd name="connsiteX146" fmla="*/ 440135 w 853924"/>
                <a:gd name="connsiteY146" fmla="*/ 795625 h 1355716"/>
                <a:gd name="connsiteX147" fmla="*/ 474967 w 853924"/>
                <a:gd name="connsiteY147" fmla="*/ 801928 h 1355716"/>
                <a:gd name="connsiteX148" fmla="*/ 497027 w 853924"/>
                <a:gd name="connsiteY148" fmla="*/ 795625 h 1355716"/>
                <a:gd name="connsiteX149" fmla="*/ 515937 w 853924"/>
                <a:gd name="connsiteY149" fmla="*/ 770413 h 1355716"/>
                <a:gd name="connsiteX150" fmla="*/ 519254 w 853924"/>
                <a:gd name="connsiteY150" fmla="*/ 772403 h 1355716"/>
                <a:gd name="connsiteX151" fmla="*/ 541314 w 853924"/>
                <a:gd name="connsiteY151" fmla="*/ 755817 h 1355716"/>
                <a:gd name="connsiteX152" fmla="*/ 577639 w 853924"/>
                <a:gd name="connsiteY152" fmla="*/ 782687 h 1355716"/>
                <a:gd name="connsiteX153" fmla="*/ 613799 w 853924"/>
                <a:gd name="connsiteY153" fmla="*/ 784180 h 1355716"/>
                <a:gd name="connsiteX154" fmla="*/ 639177 w 853924"/>
                <a:gd name="connsiteY154" fmla="*/ 785839 h 1355716"/>
                <a:gd name="connsiteX155" fmla="*/ 658085 w 853924"/>
                <a:gd name="connsiteY155" fmla="*/ 790649 h 1355716"/>
                <a:gd name="connsiteX156" fmla="*/ 672350 w 853924"/>
                <a:gd name="connsiteY156" fmla="*/ 771574 h 1355716"/>
                <a:gd name="connsiteX157" fmla="*/ 678653 w 853924"/>
                <a:gd name="connsiteY157" fmla="*/ 743211 h 1355716"/>
                <a:gd name="connsiteX158" fmla="*/ 699055 w 853924"/>
                <a:gd name="connsiteY158" fmla="*/ 721150 h 1355716"/>
                <a:gd name="connsiteX159" fmla="*/ 732229 w 853924"/>
                <a:gd name="connsiteY159" fmla="*/ 713188 h 1355716"/>
                <a:gd name="connsiteX160" fmla="*/ 759099 w 853924"/>
                <a:gd name="connsiteY160" fmla="*/ 713188 h 1355716"/>
                <a:gd name="connsiteX161" fmla="*/ 793766 w 853924"/>
                <a:gd name="connsiteY161" fmla="*/ 736908 h 1355716"/>
                <a:gd name="connsiteX162" fmla="*/ 793766 w 853924"/>
                <a:gd name="connsiteY162" fmla="*/ 755485 h 1355716"/>
                <a:gd name="connsiteX163" fmla="*/ 809026 w 853924"/>
                <a:gd name="connsiteY163" fmla="*/ 747855 h 1355716"/>
                <a:gd name="connsiteX164" fmla="*/ 836560 w 853924"/>
                <a:gd name="connsiteY164" fmla="*/ 735083 h 1355716"/>
                <a:gd name="connsiteX165" fmla="*/ 853147 w 853924"/>
                <a:gd name="connsiteY165" fmla="*/ 723140 h 1355716"/>
                <a:gd name="connsiteX166" fmla="*/ 828764 w 853924"/>
                <a:gd name="connsiteY166" fmla="*/ 724136 h 1355716"/>
                <a:gd name="connsiteX167" fmla="*/ 234458 w 853924"/>
                <a:gd name="connsiteY167" fmla="*/ 93836 h 1355716"/>
                <a:gd name="connsiteX168" fmla="*/ 215383 w 853924"/>
                <a:gd name="connsiteY168" fmla="*/ 126180 h 1355716"/>
                <a:gd name="connsiteX169" fmla="*/ 248556 w 853924"/>
                <a:gd name="connsiteY169" fmla="*/ 163003 h 1355716"/>
                <a:gd name="connsiteX170" fmla="*/ 295663 w 853924"/>
                <a:gd name="connsiteY170" fmla="*/ 165989 h 1355716"/>
                <a:gd name="connsiteX171" fmla="*/ 314904 w 853924"/>
                <a:gd name="connsiteY171" fmla="*/ 140113 h 1355716"/>
                <a:gd name="connsiteX172" fmla="*/ 331491 w 853924"/>
                <a:gd name="connsiteY172" fmla="*/ 125351 h 1355716"/>
                <a:gd name="connsiteX173" fmla="*/ 334477 w 853924"/>
                <a:gd name="connsiteY173" fmla="*/ 145255 h 1355716"/>
                <a:gd name="connsiteX174" fmla="*/ 363172 w 853924"/>
                <a:gd name="connsiteY174" fmla="*/ 142435 h 1355716"/>
                <a:gd name="connsiteX175" fmla="*/ 376441 w 853924"/>
                <a:gd name="connsiteY175" fmla="*/ 153383 h 1355716"/>
                <a:gd name="connsiteX176" fmla="*/ 336633 w 853924"/>
                <a:gd name="connsiteY176" fmla="*/ 171794 h 1355716"/>
                <a:gd name="connsiteX177" fmla="*/ 284384 w 853924"/>
                <a:gd name="connsiteY177" fmla="*/ 189542 h 1355716"/>
                <a:gd name="connsiteX178" fmla="*/ 314572 w 853924"/>
                <a:gd name="connsiteY178" fmla="*/ 201319 h 1355716"/>
                <a:gd name="connsiteX179" fmla="*/ 380920 w 853924"/>
                <a:gd name="connsiteY179" fmla="*/ 198333 h 1355716"/>
                <a:gd name="connsiteX180" fmla="*/ 350731 w 853924"/>
                <a:gd name="connsiteY180" fmla="*/ 205797 h 1355716"/>
                <a:gd name="connsiteX181" fmla="*/ 322037 w 853924"/>
                <a:gd name="connsiteY181" fmla="*/ 218237 h 1355716"/>
                <a:gd name="connsiteX182" fmla="*/ 288863 w 853924"/>
                <a:gd name="connsiteY182" fmla="*/ 224872 h 1355716"/>
                <a:gd name="connsiteX183" fmla="*/ 322037 w 853924"/>
                <a:gd name="connsiteY183" fmla="*/ 251411 h 1355716"/>
                <a:gd name="connsiteX184" fmla="*/ 354381 w 853924"/>
                <a:gd name="connsiteY184" fmla="*/ 255226 h 1355716"/>
                <a:gd name="connsiteX185" fmla="*/ 337794 w 853924"/>
                <a:gd name="connsiteY185" fmla="*/ 267666 h 1355716"/>
                <a:gd name="connsiteX186" fmla="*/ 364996 w 853924"/>
                <a:gd name="connsiteY186" fmla="*/ 284253 h 1355716"/>
                <a:gd name="connsiteX187" fmla="*/ 387057 w 853924"/>
                <a:gd name="connsiteY187" fmla="*/ 277618 h 1355716"/>
                <a:gd name="connsiteX188" fmla="*/ 425538 w 853924"/>
                <a:gd name="connsiteY188" fmla="*/ 217906 h 1355716"/>
                <a:gd name="connsiteX189" fmla="*/ 437978 w 853924"/>
                <a:gd name="connsiteY189" fmla="*/ 189874 h 1355716"/>
                <a:gd name="connsiteX190" fmla="*/ 453404 w 853924"/>
                <a:gd name="connsiteY190" fmla="*/ 177434 h 1355716"/>
                <a:gd name="connsiteX191" fmla="*/ 465180 w 853924"/>
                <a:gd name="connsiteY191" fmla="*/ 149402 h 1355716"/>
                <a:gd name="connsiteX192" fmla="*/ 504989 w 853924"/>
                <a:gd name="connsiteY192" fmla="*/ 137625 h 1355716"/>
                <a:gd name="connsiteX193" fmla="*/ 511624 w 853924"/>
                <a:gd name="connsiteY193" fmla="*/ 144923 h 1355716"/>
                <a:gd name="connsiteX194" fmla="*/ 516766 w 853924"/>
                <a:gd name="connsiteY194" fmla="*/ 169970 h 1355716"/>
                <a:gd name="connsiteX195" fmla="*/ 528542 w 853924"/>
                <a:gd name="connsiteY195" fmla="*/ 181746 h 1355716"/>
                <a:gd name="connsiteX196" fmla="*/ 522737 w 853924"/>
                <a:gd name="connsiteY196" fmla="*/ 213427 h 1355716"/>
                <a:gd name="connsiteX197" fmla="*/ 554418 w 853924"/>
                <a:gd name="connsiteY197" fmla="*/ 220062 h 1355716"/>
                <a:gd name="connsiteX198" fmla="*/ 572829 w 853924"/>
                <a:gd name="connsiteY198" fmla="*/ 236649 h 1355716"/>
                <a:gd name="connsiteX199" fmla="*/ 614794 w 853924"/>
                <a:gd name="connsiteY199" fmla="*/ 216744 h 1355716"/>
                <a:gd name="connsiteX200" fmla="*/ 643655 w 853924"/>
                <a:gd name="connsiteY200" fmla="*/ 197670 h 1355716"/>
                <a:gd name="connsiteX201" fmla="*/ 619936 w 853924"/>
                <a:gd name="connsiteY201" fmla="*/ 191698 h 1355716"/>
                <a:gd name="connsiteX202" fmla="*/ 592733 w 853924"/>
                <a:gd name="connsiteY202" fmla="*/ 185064 h 1355716"/>
                <a:gd name="connsiteX203" fmla="*/ 586928 w 853924"/>
                <a:gd name="connsiteY203" fmla="*/ 171794 h 1355716"/>
                <a:gd name="connsiteX204" fmla="*/ 561052 w 853924"/>
                <a:gd name="connsiteY204" fmla="*/ 162340 h 1355716"/>
                <a:gd name="connsiteX205" fmla="*/ 542641 w 853924"/>
                <a:gd name="connsiteY205" fmla="*/ 143928 h 1355716"/>
                <a:gd name="connsiteX206" fmla="*/ 536007 w 853924"/>
                <a:gd name="connsiteY206" fmla="*/ 124688 h 1355716"/>
                <a:gd name="connsiteX207" fmla="*/ 512453 w 853924"/>
                <a:gd name="connsiteY207" fmla="*/ 109925 h 1355716"/>
                <a:gd name="connsiteX208" fmla="*/ 495866 w 853924"/>
                <a:gd name="connsiteY208" fmla="*/ 106276 h 1355716"/>
                <a:gd name="connsiteX209" fmla="*/ 486146 w 853924"/>
                <a:gd name="connsiteY209" fmla="*/ 108947 h 1355716"/>
                <a:gd name="connsiteX210" fmla="*/ 482597 w 853924"/>
                <a:gd name="connsiteY210" fmla="*/ 101798 h 1355716"/>
                <a:gd name="connsiteX211" fmla="*/ 451580 w 853924"/>
                <a:gd name="connsiteY211" fmla="*/ 95992 h 1355716"/>
                <a:gd name="connsiteX212" fmla="*/ 438310 w 853924"/>
                <a:gd name="connsiteY212" fmla="*/ 70117 h 1355716"/>
                <a:gd name="connsiteX213" fmla="*/ 411108 w 853924"/>
                <a:gd name="connsiteY213" fmla="*/ 81894 h 1355716"/>
                <a:gd name="connsiteX214" fmla="*/ 419899 w 853924"/>
                <a:gd name="connsiteY214" fmla="*/ 58340 h 1355716"/>
                <a:gd name="connsiteX215" fmla="*/ 385232 w 853924"/>
                <a:gd name="connsiteY215" fmla="*/ 46564 h 1355716"/>
                <a:gd name="connsiteX216" fmla="*/ 367484 w 853924"/>
                <a:gd name="connsiteY216" fmla="*/ 31138 h 1355716"/>
                <a:gd name="connsiteX217" fmla="*/ 359522 w 853924"/>
                <a:gd name="connsiteY217" fmla="*/ 47725 h 1355716"/>
                <a:gd name="connsiteX218" fmla="*/ 355044 w 853924"/>
                <a:gd name="connsiteY218" fmla="*/ 63150 h 1355716"/>
                <a:gd name="connsiteX219" fmla="*/ 375612 w 853924"/>
                <a:gd name="connsiteY219" fmla="*/ 112911 h 1355716"/>
                <a:gd name="connsiteX220" fmla="*/ 338789 w 853924"/>
                <a:gd name="connsiteY220" fmla="*/ 70946 h 1355716"/>
                <a:gd name="connsiteX221" fmla="*/ 315899 w 853924"/>
                <a:gd name="connsiteY221" fmla="*/ 54359 h 1355716"/>
                <a:gd name="connsiteX222" fmla="*/ 302796 w 853924"/>
                <a:gd name="connsiteY222" fmla="*/ 80732 h 1355716"/>
                <a:gd name="connsiteX223" fmla="*/ 293839 w 853924"/>
                <a:gd name="connsiteY223" fmla="*/ 86704 h 1355716"/>
                <a:gd name="connsiteX224" fmla="*/ 268792 w 853924"/>
                <a:gd name="connsiteY224" fmla="*/ 66799 h 1355716"/>
                <a:gd name="connsiteX225" fmla="*/ 296824 w 853924"/>
                <a:gd name="connsiteY225" fmla="*/ 56516 h 1355716"/>
                <a:gd name="connsiteX226" fmla="*/ 277583 w 853924"/>
                <a:gd name="connsiteY226" fmla="*/ 49881 h 1355716"/>
                <a:gd name="connsiteX227" fmla="*/ 249718 w 853924"/>
                <a:gd name="connsiteY227" fmla="*/ 54359 h 1355716"/>
                <a:gd name="connsiteX228" fmla="*/ 226165 w 853924"/>
                <a:gd name="connsiteY228" fmla="*/ 52037 h 1355716"/>
                <a:gd name="connsiteX229" fmla="*/ 199626 w 853924"/>
                <a:gd name="connsiteY229" fmla="*/ 63814 h 1355716"/>
                <a:gd name="connsiteX230" fmla="*/ 199626 w 853924"/>
                <a:gd name="connsiteY230" fmla="*/ 96988 h 1355716"/>
                <a:gd name="connsiteX231" fmla="*/ 233628 w 853924"/>
                <a:gd name="connsiteY231" fmla="*/ 94334 h 1355716"/>
                <a:gd name="connsiteX232" fmla="*/ 203440 w 853924"/>
                <a:gd name="connsiteY232" fmla="*/ 154544 h 1355716"/>
                <a:gd name="connsiteX233" fmla="*/ 226994 w 853924"/>
                <a:gd name="connsiteY233" fmla="*/ 171131 h 1355716"/>
                <a:gd name="connsiteX234" fmla="*/ 204934 w 853924"/>
                <a:gd name="connsiteY234" fmla="*/ 142435 h 1355716"/>
                <a:gd name="connsiteX235" fmla="*/ 182873 w 853924"/>
                <a:gd name="connsiteY235" fmla="*/ 125849 h 1355716"/>
                <a:gd name="connsiteX236" fmla="*/ 203440 w 853924"/>
                <a:gd name="connsiteY236" fmla="*/ 154544 h 1355716"/>
                <a:gd name="connsiteX237" fmla="*/ 437812 w 853924"/>
                <a:gd name="connsiteY237" fmla="*/ 35284 h 1355716"/>
                <a:gd name="connsiteX238" fmla="*/ 434163 w 853924"/>
                <a:gd name="connsiteY238" fmla="*/ 47725 h 1355716"/>
                <a:gd name="connsiteX239" fmla="*/ 554915 w 853924"/>
                <a:gd name="connsiteY239" fmla="*/ 51374 h 1355716"/>
                <a:gd name="connsiteX240" fmla="*/ 485748 w 853924"/>
                <a:gd name="connsiteY240" fmla="*/ 75093 h 1355716"/>
                <a:gd name="connsiteX241" fmla="*/ 563872 w 853924"/>
                <a:gd name="connsiteY241" fmla="*/ 85377 h 1355716"/>
                <a:gd name="connsiteX242" fmla="*/ 603681 w 853924"/>
                <a:gd name="connsiteY242" fmla="*/ 98646 h 1355716"/>
                <a:gd name="connsiteX243" fmla="*/ 641167 w 853924"/>
                <a:gd name="connsiteY243" fmla="*/ 89026 h 1355716"/>
                <a:gd name="connsiteX244" fmla="*/ 683961 w 853924"/>
                <a:gd name="connsiteY244" fmla="*/ 70615 h 1355716"/>
                <a:gd name="connsiteX245" fmla="*/ 729575 w 853924"/>
                <a:gd name="connsiteY245" fmla="*/ 32962 h 1355716"/>
                <a:gd name="connsiteX246" fmla="*/ 664057 w 853924"/>
                <a:gd name="connsiteY246" fmla="*/ 21186 h 1355716"/>
                <a:gd name="connsiteX247" fmla="*/ 614296 w 853924"/>
                <a:gd name="connsiteY247" fmla="*/ 16044 h 1355716"/>
                <a:gd name="connsiteX248" fmla="*/ 595885 w 853924"/>
                <a:gd name="connsiteY248" fmla="*/ 24835 h 1355716"/>
                <a:gd name="connsiteX249" fmla="*/ 576810 w 853924"/>
                <a:gd name="connsiteY249" fmla="*/ 3604 h 1355716"/>
                <a:gd name="connsiteX250" fmla="*/ 570839 w 853924"/>
                <a:gd name="connsiteY250" fmla="*/ 36777 h 1355716"/>
                <a:gd name="connsiteX251" fmla="*/ 544300 w 853924"/>
                <a:gd name="connsiteY251" fmla="*/ 22015 h 1355716"/>
                <a:gd name="connsiteX252" fmla="*/ 517097 w 853924"/>
                <a:gd name="connsiteY252" fmla="*/ 20522 h 1355716"/>
                <a:gd name="connsiteX253" fmla="*/ 480938 w 853924"/>
                <a:gd name="connsiteY253" fmla="*/ -45 h 1355716"/>
                <a:gd name="connsiteX254" fmla="*/ 483095 w 853924"/>
                <a:gd name="connsiteY254" fmla="*/ 14717 h 1355716"/>
                <a:gd name="connsiteX255" fmla="*/ 458878 w 853924"/>
                <a:gd name="connsiteY255" fmla="*/ 8082 h 1355716"/>
                <a:gd name="connsiteX256" fmla="*/ 458878 w 853924"/>
                <a:gd name="connsiteY256" fmla="*/ 26493 h 1355716"/>
                <a:gd name="connsiteX257" fmla="*/ 433832 w 853924"/>
                <a:gd name="connsiteY257" fmla="*/ 8746 h 1355716"/>
                <a:gd name="connsiteX258" fmla="*/ 419899 w 853924"/>
                <a:gd name="connsiteY258" fmla="*/ 21352 h 1355716"/>
                <a:gd name="connsiteX259" fmla="*/ 437812 w 853924"/>
                <a:gd name="connsiteY259" fmla="*/ 34621 h 135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853924" h="1355716">
                  <a:moveTo>
                    <a:pt x="828764" y="724136"/>
                  </a:moveTo>
                  <a:cubicBezTo>
                    <a:pt x="826774" y="731434"/>
                    <a:pt x="813504" y="729941"/>
                    <a:pt x="814001" y="722643"/>
                  </a:cubicBezTo>
                  <a:cubicBezTo>
                    <a:pt x="814500" y="715345"/>
                    <a:pt x="793434" y="709373"/>
                    <a:pt x="792439" y="706056"/>
                  </a:cubicBezTo>
                  <a:cubicBezTo>
                    <a:pt x="791444" y="702739"/>
                    <a:pt x="801230" y="703071"/>
                    <a:pt x="809026" y="707549"/>
                  </a:cubicBezTo>
                  <a:cubicBezTo>
                    <a:pt x="816821" y="712027"/>
                    <a:pt x="822461" y="709042"/>
                    <a:pt x="831252" y="700748"/>
                  </a:cubicBezTo>
                  <a:cubicBezTo>
                    <a:pt x="840043" y="692455"/>
                    <a:pt x="852318" y="699255"/>
                    <a:pt x="853810" y="691791"/>
                  </a:cubicBezTo>
                  <a:cubicBezTo>
                    <a:pt x="855303" y="684327"/>
                    <a:pt x="839545" y="679517"/>
                    <a:pt x="837223" y="675205"/>
                  </a:cubicBezTo>
                  <a:cubicBezTo>
                    <a:pt x="830837" y="668321"/>
                    <a:pt x="821416" y="665136"/>
                    <a:pt x="812177" y="666745"/>
                  </a:cubicBezTo>
                  <a:cubicBezTo>
                    <a:pt x="801396" y="668736"/>
                    <a:pt x="800898" y="664257"/>
                    <a:pt x="794595" y="658452"/>
                  </a:cubicBezTo>
                  <a:cubicBezTo>
                    <a:pt x="788292" y="652646"/>
                    <a:pt x="768554" y="662433"/>
                    <a:pt x="768554" y="676200"/>
                  </a:cubicBezTo>
                  <a:cubicBezTo>
                    <a:pt x="768554" y="689967"/>
                    <a:pt x="756280" y="686484"/>
                    <a:pt x="760592" y="679019"/>
                  </a:cubicBezTo>
                  <a:cubicBezTo>
                    <a:pt x="764905" y="671555"/>
                    <a:pt x="754787" y="662433"/>
                    <a:pt x="764573" y="660442"/>
                  </a:cubicBezTo>
                  <a:cubicBezTo>
                    <a:pt x="774359" y="658452"/>
                    <a:pt x="769051" y="643855"/>
                    <a:pt x="750806" y="641699"/>
                  </a:cubicBezTo>
                  <a:cubicBezTo>
                    <a:pt x="732561" y="639543"/>
                    <a:pt x="725760" y="655466"/>
                    <a:pt x="730238" y="660442"/>
                  </a:cubicBezTo>
                  <a:cubicBezTo>
                    <a:pt x="734716" y="665418"/>
                    <a:pt x="717964" y="686484"/>
                    <a:pt x="710500" y="686484"/>
                  </a:cubicBezTo>
                  <a:cubicBezTo>
                    <a:pt x="703036" y="686484"/>
                    <a:pt x="711495" y="668238"/>
                    <a:pt x="710500" y="658452"/>
                  </a:cubicBezTo>
                  <a:cubicBezTo>
                    <a:pt x="709505" y="648665"/>
                    <a:pt x="703202" y="653973"/>
                    <a:pt x="689435" y="669731"/>
                  </a:cubicBezTo>
                  <a:cubicBezTo>
                    <a:pt x="675667" y="685488"/>
                    <a:pt x="665384" y="699753"/>
                    <a:pt x="657422" y="701246"/>
                  </a:cubicBezTo>
                  <a:cubicBezTo>
                    <a:pt x="649460" y="702739"/>
                    <a:pt x="650622" y="686981"/>
                    <a:pt x="663393" y="680015"/>
                  </a:cubicBezTo>
                  <a:cubicBezTo>
                    <a:pt x="676165" y="673048"/>
                    <a:pt x="676663" y="654471"/>
                    <a:pt x="684956" y="654471"/>
                  </a:cubicBezTo>
                  <a:cubicBezTo>
                    <a:pt x="693249" y="654471"/>
                    <a:pt x="693249" y="644685"/>
                    <a:pt x="680975" y="641699"/>
                  </a:cubicBezTo>
                  <a:cubicBezTo>
                    <a:pt x="668701" y="638714"/>
                    <a:pt x="666711" y="652481"/>
                    <a:pt x="662896" y="656461"/>
                  </a:cubicBezTo>
                  <a:cubicBezTo>
                    <a:pt x="659081" y="660442"/>
                    <a:pt x="638845" y="649661"/>
                    <a:pt x="639177" y="653476"/>
                  </a:cubicBezTo>
                  <a:cubicBezTo>
                    <a:pt x="639508" y="657291"/>
                    <a:pt x="628395" y="658949"/>
                    <a:pt x="633371" y="666248"/>
                  </a:cubicBezTo>
                  <a:cubicBezTo>
                    <a:pt x="638347" y="673546"/>
                    <a:pt x="630883" y="680015"/>
                    <a:pt x="626073" y="671224"/>
                  </a:cubicBezTo>
                  <a:cubicBezTo>
                    <a:pt x="621263" y="662433"/>
                    <a:pt x="609486" y="669233"/>
                    <a:pt x="602851" y="679019"/>
                  </a:cubicBezTo>
                  <a:cubicBezTo>
                    <a:pt x="596217" y="688806"/>
                    <a:pt x="589084" y="688474"/>
                    <a:pt x="595056" y="691791"/>
                  </a:cubicBezTo>
                  <a:cubicBezTo>
                    <a:pt x="599783" y="695988"/>
                    <a:pt x="600214" y="703220"/>
                    <a:pt x="596017" y="707947"/>
                  </a:cubicBezTo>
                  <a:cubicBezTo>
                    <a:pt x="594807" y="709324"/>
                    <a:pt x="593281" y="710369"/>
                    <a:pt x="591573" y="711032"/>
                  </a:cubicBezTo>
                  <a:cubicBezTo>
                    <a:pt x="582782" y="713520"/>
                    <a:pt x="586265" y="686981"/>
                    <a:pt x="579298" y="689469"/>
                  </a:cubicBezTo>
                  <a:cubicBezTo>
                    <a:pt x="572332" y="691957"/>
                    <a:pt x="576810" y="676697"/>
                    <a:pt x="586265" y="676697"/>
                  </a:cubicBezTo>
                  <a:cubicBezTo>
                    <a:pt x="594890" y="675121"/>
                    <a:pt x="601773" y="668619"/>
                    <a:pt x="603847" y="660110"/>
                  </a:cubicBezTo>
                  <a:cubicBezTo>
                    <a:pt x="602188" y="654305"/>
                    <a:pt x="592070" y="655632"/>
                    <a:pt x="592070" y="663096"/>
                  </a:cubicBezTo>
                  <a:cubicBezTo>
                    <a:pt x="592070" y="670560"/>
                    <a:pt x="577308" y="668901"/>
                    <a:pt x="565034" y="668404"/>
                  </a:cubicBezTo>
                  <a:cubicBezTo>
                    <a:pt x="552759" y="667906"/>
                    <a:pt x="553257" y="682669"/>
                    <a:pt x="567024" y="690464"/>
                  </a:cubicBezTo>
                  <a:cubicBezTo>
                    <a:pt x="580791" y="698260"/>
                    <a:pt x="564536" y="703402"/>
                    <a:pt x="557735" y="697431"/>
                  </a:cubicBezTo>
                  <a:cubicBezTo>
                    <a:pt x="550055" y="692704"/>
                    <a:pt x="540369" y="692704"/>
                    <a:pt x="532689" y="697431"/>
                  </a:cubicBezTo>
                  <a:cubicBezTo>
                    <a:pt x="525225" y="700914"/>
                    <a:pt x="550437" y="709705"/>
                    <a:pt x="551266" y="714018"/>
                  </a:cubicBezTo>
                  <a:cubicBezTo>
                    <a:pt x="552096" y="718330"/>
                    <a:pt x="538494" y="708544"/>
                    <a:pt x="535674" y="712027"/>
                  </a:cubicBezTo>
                  <a:cubicBezTo>
                    <a:pt x="532855" y="715511"/>
                    <a:pt x="519088" y="709539"/>
                    <a:pt x="517927" y="701246"/>
                  </a:cubicBezTo>
                  <a:cubicBezTo>
                    <a:pt x="516766" y="692953"/>
                    <a:pt x="494871" y="704563"/>
                    <a:pt x="507145" y="707549"/>
                  </a:cubicBezTo>
                  <a:cubicBezTo>
                    <a:pt x="519420" y="710535"/>
                    <a:pt x="514941" y="718330"/>
                    <a:pt x="514941" y="729112"/>
                  </a:cubicBezTo>
                  <a:cubicBezTo>
                    <a:pt x="514941" y="739893"/>
                    <a:pt x="500677" y="731600"/>
                    <a:pt x="503662" y="722311"/>
                  </a:cubicBezTo>
                  <a:cubicBezTo>
                    <a:pt x="506648" y="713022"/>
                    <a:pt x="494871" y="715013"/>
                    <a:pt x="485085" y="720818"/>
                  </a:cubicBezTo>
                  <a:cubicBezTo>
                    <a:pt x="475299" y="726624"/>
                    <a:pt x="486578" y="710037"/>
                    <a:pt x="482597" y="701744"/>
                  </a:cubicBezTo>
                  <a:cubicBezTo>
                    <a:pt x="478616" y="693450"/>
                    <a:pt x="469825" y="701744"/>
                    <a:pt x="459375" y="703568"/>
                  </a:cubicBezTo>
                  <a:cubicBezTo>
                    <a:pt x="448926" y="705393"/>
                    <a:pt x="443784" y="706056"/>
                    <a:pt x="450087" y="713022"/>
                  </a:cubicBezTo>
                  <a:cubicBezTo>
                    <a:pt x="456389" y="719989"/>
                    <a:pt x="455560" y="729609"/>
                    <a:pt x="447101" y="728282"/>
                  </a:cubicBezTo>
                  <a:cubicBezTo>
                    <a:pt x="438642" y="726955"/>
                    <a:pt x="435324" y="728282"/>
                    <a:pt x="436320" y="736078"/>
                  </a:cubicBezTo>
                  <a:cubicBezTo>
                    <a:pt x="437315" y="743874"/>
                    <a:pt x="425538" y="744372"/>
                    <a:pt x="424543" y="737571"/>
                  </a:cubicBezTo>
                  <a:cubicBezTo>
                    <a:pt x="423548" y="730770"/>
                    <a:pt x="406961" y="732595"/>
                    <a:pt x="401985" y="740557"/>
                  </a:cubicBezTo>
                  <a:cubicBezTo>
                    <a:pt x="397009" y="748518"/>
                    <a:pt x="383242" y="754324"/>
                    <a:pt x="385398" y="763115"/>
                  </a:cubicBezTo>
                  <a:cubicBezTo>
                    <a:pt x="387554" y="771906"/>
                    <a:pt x="397672" y="758636"/>
                    <a:pt x="406629" y="761622"/>
                  </a:cubicBezTo>
                  <a:cubicBezTo>
                    <a:pt x="415586" y="764608"/>
                    <a:pt x="406629" y="768920"/>
                    <a:pt x="410942" y="773399"/>
                  </a:cubicBezTo>
                  <a:cubicBezTo>
                    <a:pt x="415254" y="777877"/>
                    <a:pt x="414922" y="788658"/>
                    <a:pt x="407956" y="782190"/>
                  </a:cubicBezTo>
                  <a:cubicBezTo>
                    <a:pt x="400989" y="775721"/>
                    <a:pt x="392365" y="773896"/>
                    <a:pt x="391369" y="784180"/>
                  </a:cubicBezTo>
                  <a:cubicBezTo>
                    <a:pt x="390374" y="794464"/>
                    <a:pt x="382412" y="782687"/>
                    <a:pt x="376607" y="775389"/>
                  </a:cubicBezTo>
                  <a:cubicBezTo>
                    <a:pt x="370802" y="768091"/>
                    <a:pt x="364830" y="789156"/>
                    <a:pt x="358362" y="784180"/>
                  </a:cubicBezTo>
                  <a:cubicBezTo>
                    <a:pt x="351893" y="779204"/>
                    <a:pt x="371133" y="764110"/>
                    <a:pt x="366323" y="756646"/>
                  </a:cubicBezTo>
                  <a:cubicBezTo>
                    <a:pt x="361513" y="749182"/>
                    <a:pt x="357864" y="761124"/>
                    <a:pt x="346585" y="773233"/>
                  </a:cubicBezTo>
                  <a:cubicBezTo>
                    <a:pt x="335306" y="785341"/>
                    <a:pt x="320046" y="784014"/>
                    <a:pt x="325520" y="789820"/>
                  </a:cubicBezTo>
                  <a:cubicBezTo>
                    <a:pt x="330993" y="795625"/>
                    <a:pt x="314241" y="798113"/>
                    <a:pt x="311255" y="807402"/>
                  </a:cubicBezTo>
                  <a:cubicBezTo>
                    <a:pt x="308269" y="816690"/>
                    <a:pt x="285214" y="820339"/>
                    <a:pt x="270451" y="830125"/>
                  </a:cubicBezTo>
                  <a:cubicBezTo>
                    <a:pt x="255689" y="839912"/>
                    <a:pt x="273437" y="840409"/>
                    <a:pt x="281730" y="831121"/>
                  </a:cubicBezTo>
                  <a:cubicBezTo>
                    <a:pt x="290024" y="821832"/>
                    <a:pt x="293175" y="827140"/>
                    <a:pt x="306279" y="818847"/>
                  </a:cubicBezTo>
                  <a:cubicBezTo>
                    <a:pt x="319383" y="810553"/>
                    <a:pt x="333813" y="803587"/>
                    <a:pt x="339453" y="806904"/>
                  </a:cubicBezTo>
                  <a:cubicBezTo>
                    <a:pt x="344926" y="811631"/>
                    <a:pt x="353203" y="811018"/>
                    <a:pt x="357930" y="805544"/>
                  </a:cubicBezTo>
                  <a:cubicBezTo>
                    <a:pt x="358328" y="805079"/>
                    <a:pt x="358693" y="804598"/>
                    <a:pt x="359025" y="804084"/>
                  </a:cubicBezTo>
                  <a:cubicBezTo>
                    <a:pt x="362707" y="798063"/>
                    <a:pt x="370570" y="796172"/>
                    <a:pt x="376574" y="799838"/>
                  </a:cubicBezTo>
                  <a:cubicBezTo>
                    <a:pt x="377785" y="800584"/>
                    <a:pt x="378863" y="801513"/>
                    <a:pt x="379758" y="802592"/>
                  </a:cubicBezTo>
                  <a:cubicBezTo>
                    <a:pt x="386061" y="807899"/>
                    <a:pt x="368977" y="812378"/>
                    <a:pt x="376773" y="820339"/>
                  </a:cubicBezTo>
                  <a:cubicBezTo>
                    <a:pt x="384569" y="828301"/>
                    <a:pt x="367484" y="832448"/>
                    <a:pt x="367484" y="825647"/>
                  </a:cubicBezTo>
                  <a:cubicBezTo>
                    <a:pt x="367484" y="818847"/>
                    <a:pt x="357698" y="812875"/>
                    <a:pt x="354215" y="819344"/>
                  </a:cubicBezTo>
                  <a:cubicBezTo>
                    <a:pt x="351047" y="826194"/>
                    <a:pt x="344943" y="831253"/>
                    <a:pt x="337628" y="833111"/>
                  </a:cubicBezTo>
                  <a:cubicBezTo>
                    <a:pt x="331325" y="833111"/>
                    <a:pt x="324358" y="845385"/>
                    <a:pt x="324358" y="857162"/>
                  </a:cubicBezTo>
                  <a:cubicBezTo>
                    <a:pt x="324358" y="868939"/>
                    <a:pt x="313080" y="857162"/>
                    <a:pt x="312084" y="867446"/>
                  </a:cubicBezTo>
                  <a:cubicBezTo>
                    <a:pt x="305599" y="883734"/>
                    <a:pt x="295099" y="898115"/>
                    <a:pt x="281565" y="909245"/>
                  </a:cubicBezTo>
                  <a:cubicBezTo>
                    <a:pt x="267963" y="922514"/>
                    <a:pt x="280569" y="925832"/>
                    <a:pt x="276257" y="933793"/>
                  </a:cubicBezTo>
                  <a:cubicBezTo>
                    <a:pt x="271944" y="941755"/>
                    <a:pt x="255523" y="934788"/>
                    <a:pt x="250215" y="938106"/>
                  </a:cubicBezTo>
                  <a:cubicBezTo>
                    <a:pt x="244907" y="941423"/>
                    <a:pt x="253201" y="962323"/>
                    <a:pt x="245737" y="968626"/>
                  </a:cubicBezTo>
                  <a:cubicBezTo>
                    <a:pt x="238273" y="974929"/>
                    <a:pt x="245737" y="983885"/>
                    <a:pt x="245737" y="991184"/>
                  </a:cubicBezTo>
                  <a:cubicBezTo>
                    <a:pt x="245737" y="998482"/>
                    <a:pt x="226662" y="986871"/>
                    <a:pt x="225169" y="994169"/>
                  </a:cubicBezTo>
                  <a:cubicBezTo>
                    <a:pt x="223676" y="1001467"/>
                    <a:pt x="206924" y="999643"/>
                    <a:pt x="201948" y="1001467"/>
                  </a:cubicBezTo>
                  <a:cubicBezTo>
                    <a:pt x="196972" y="1003292"/>
                    <a:pt x="211900" y="1015235"/>
                    <a:pt x="220691" y="1022201"/>
                  </a:cubicBezTo>
                  <a:cubicBezTo>
                    <a:pt x="229482" y="1029167"/>
                    <a:pt x="212397" y="1034475"/>
                    <a:pt x="210407" y="1026514"/>
                  </a:cubicBezTo>
                  <a:cubicBezTo>
                    <a:pt x="208417" y="1018552"/>
                    <a:pt x="196142" y="1031490"/>
                    <a:pt x="180882" y="1038456"/>
                  </a:cubicBezTo>
                  <a:cubicBezTo>
                    <a:pt x="165622" y="1045423"/>
                    <a:pt x="172091" y="1059024"/>
                    <a:pt x="160315" y="1059521"/>
                  </a:cubicBezTo>
                  <a:cubicBezTo>
                    <a:pt x="148538" y="1060019"/>
                    <a:pt x="151855" y="1078596"/>
                    <a:pt x="143728" y="1084568"/>
                  </a:cubicBezTo>
                  <a:cubicBezTo>
                    <a:pt x="135600" y="1090539"/>
                    <a:pt x="137923" y="1070801"/>
                    <a:pt x="125482" y="1070303"/>
                  </a:cubicBezTo>
                  <a:cubicBezTo>
                    <a:pt x="113042" y="1069805"/>
                    <a:pt x="114204" y="1078596"/>
                    <a:pt x="121667" y="1089046"/>
                  </a:cubicBezTo>
                  <a:cubicBezTo>
                    <a:pt x="129132" y="1099496"/>
                    <a:pt x="110388" y="1091534"/>
                    <a:pt x="103422" y="1100325"/>
                  </a:cubicBezTo>
                  <a:cubicBezTo>
                    <a:pt x="96456" y="1109116"/>
                    <a:pt x="76883" y="1104638"/>
                    <a:pt x="71575" y="1112102"/>
                  </a:cubicBezTo>
                  <a:cubicBezTo>
                    <a:pt x="66267" y="1119566"/>
                    <a:pt x="86172" y="1119400"/>
                    <a:pt x="89157" y="1125371"/>
                  </a:cubicBezTo>
                  <a:cubicBezTo>
                    <a:pt x="92143" y="1131342"/>
                    <a:pt x="71575" y="1128357"/>
                    <a:pt x="60628" y="1125371"/>
                  </a:cubicBezTo>
                  <a:cubicBezTo>
                    <a:pt x="49681" y="1122386"/>
                    <a:pt x="52832" y="1139138"/>
                    <a:pt x="43046" y="1137148"/>
                  </a:cubicBezTo>
                  <a:cubicBezTo>
                    <a:pt x="33260" y="1135157"/>
                    <a:pt x="20985" y="1145441"/>
                    <a:pt x="27786" y="1152408"/>
                  </a:cubicBezTo>
                  <a:cubicBezTo>
                    <a:pt x="34586" y="1159374"/>
                    <a:pt x="22312" y="1160204"/>
                    <a:pt x="15512" y="1155725"/>
                  </a:cubicBezTo>
                  <a:cubicBezTo>
                    <a:pt x="8711" y="1151247"/>
                    <a:pt x="2740" y="1162194"/>
                    <a:pt x="252" y="1170487"/>
                  </a:cubicBezTo>
                  <a:cubicBezTo>
                    <a:pt x="-2236" y="1178781"/>
                    <a:pt x="13521" y="1183259"/>
                    <a:pt x="13024" y="1187074"/>
                  </a:cubicBezTo>
                  <a:cubicBezTo>
                    <a:pt x="12526" y="1190889"/>
                    <a:pt x="252" y="1197358"/>
                    <a:pt x="9043" y="1199349"/>
                  </a:cubicBezTo>
                  <a:cubicBezTo>
                    <a:pt x="17834" y="1201339"/>
                    <a:pt x="11531" y="1209135"/>
                    <a:pt x="5726" y="1211623"/>
                  </a:cubicBezTo>
                  <a:cubicBezTo>
                    <a:pt x="-80" y="1214111"/>
                    <a:pt x="-246" y="1220082"/>
                    <a:pt x="5726" y="1227380"/>
                  </a:cubicBezTo>
                  <a:cubicBezTo>
                    <a:pt x="11697" y="1234678"/>
                    <a:pt x="-4724" y="1236171"/>
                    <a:pt x="3238" y="1247450"/>
                  </a:cubicBezTo>
                  <a:cubicBezTo>
                    <a:pt x="11199" y="1258729"/>
                    <a:pt x="17004" y="1244630"/>
                    <a:pt x="19824" y="1252924"/>
                  </a:cubicBezTo>
                  <a:cubicBezTo>
                    <a:pt x="22644" y="1261217"/>
                    <a:pt x="32596" y="1253919"/>
                    <a:pt x="43544" y="1244133"/>
                  </a:cubicBezTo>
                  <a:cubicBezTo>
                    <a:pt x="54491" y="1234347"/>
                    <a:pt x="58306" y="1254914"/>
                    <a:pt x="49349" y="1254417"/>
                  </a:cubicBezTo>
                  <a:cubicBezTo>
                    <a:pt x="40392" y="1253919"/>
                    <a:pt x="30274" y="1259227"/>
                    <a:pt x="32762" y="1268184"/>
                  </a:cubicBezTo>
                  <a:cubicBezTo>
                    <a:pt x="35250" y="1277141"/>
                    <a:pt x="18995" y="1275482"/>
                    <a:pt x="19492" y="1264700"/>
                  </a:cubicBezTo>
                  <a:cubicBezTo>
                    <a:pt x="19990" y="1253919"/>
                    <a:pt x="1247" y="1266691"/>
                    <a:pt x="8047" y="1274487"/>
                  </a:cubicBezTo>
                  <a:cubicBezTo>
                    <a:pt x="14848" y="1282283"/>
                    <a:pt x="5726" y="1286761"/>
                    <a:pt x="5726" y="1294225"/>
                  </a:cubicBezTo>
                  <a:cubicBezTo>
                    <a:pt x="5726" y="1301689"/>
                    <a:pt x="18995" y="1300030"/>
                    <a:pt x="24303" y="1291737"/>
                  </a:cubicBezTo>
                  <a:cubicBezTo>
                    <a:pt x="26558" y="1287026"/>
                    <a:pt x="32198" y="1285036"/>
                    <a:pt x="36909" y="1287292"/>
                  </a:cubicBezTo>
                  <a:cubicBezTo>
                    <a:pt x="39513" y="1288536"/>
                    <a:pt x="41404" y="1290908"/>
                    <a:pt x="42051" y="1293727"/>
                  </a:cubicBezTo>
                  <a:cubicBezTo>
                    <a:pt x="45534" y="1302021"/>
                    <a:pt x="33591" y="1295718"/>
                    <a:pt x="33591" y="1306997"/>
                  </a:cubicBezTo>
                  <a:cubicBezTo>
                    <a:pt x="33591" y="1318276"/>
                    <a:pt x="26293" y="1308490"/>
                    <a:pt x="19824" y="1317281"/>
                  </a:cubicBezTo>
                  <a:cubicBezTo>
                    <a:pt x="13355" y="1326072"/>
                    <a:pt x="45036" y="1342327"/>
                    <a:pt x="54822" y="1344815"/>
                  </a:cubicBezTo>
                  <a:cubicBezTo>
                    <a:pt x="64609" y="1347303"/>
                    <a:pt x="73897" y="1358084"/>
                    <a:pt x="93636" y="1355099"/>
                  </a:cubicBezTo>
                  <a:cubicBezTo>
                    <a:pt x="113374" y="1352113"/>
                    <a:pt x="150528" y="1315788"/>
                    <a:pt x="155505" y="1309319"/>
                  </a:cubicBezTo>
                  <a:cubicBezTo>
                    <a:pt x="160480" y="1302850"/>
                    <a:pt x="171262" y="1310480"/>
                    <a:pt x="178560" y="1304509"/>
                  </a:cubicBezTo>
                  <a:cubicBezTo>
                    <a:pt x="185858" y="1298538"/>
                    <a:pt x="181546" y="1283444"/>
                    <a:pt x="187019" y="1280458"/>
                  </a:cubicBezTo>
                  <a:cubicBezTo>
                    <a:pt x="192493" y="1277472"/>
                    <a:pt x="195313" y="1297045"/>
                    <a:pt x="200289" y="1298538"/>
                  </a:cubicBezTo>
                  <a:cubicBezTo>
                    <a:pt x="205265" y="1300030"/>
                    <a:pt x="207919" y="1303845"/>
                    <a:pt x="208085" y="1313632"/>
                  </a:cubicBezTo>
                  <a:cubicBezTo>
                    <a:pt x="211634" y="1312852"/>
                    <a:pt x="215350" y="1313383"/>
                    <a:pt x="218534" y="1315125"/>
                  </a:cubicBezTo>
                  <a:cubicBezTo>
                    <a:pt x="224837" y="1319935"/>
                    <a:pt x="226330" y="1298538"/>
                    <a:pt x="226330" y="1293064"/>
                  </a:cubicBezTo>
                  <a:cubicBezTo>
                    <a:pt x="226330" y="1287590"/>
                    <a:pt x="232633" y="1274155"/>
                    <a:pt x="231141" y="1266193"/>
                  </a:cubicBezTo>
                  <a:cubicBezTo>
                    <a:pt x="229648" y="1258232"/>
                    <a:pt x="250049" y="1264700"/>
                    <a:pt x="253201" y="1258398"/>
                  </a:cubicBezTo>
                  <a:cubicBezTo>
                    <a:pt x="256352" y="1252095"/>
                    <a:pt x="258011" y="1229868"/>
                    <a:pt x="251708" y="1226717"/>
                  </a:cubicBezTo>
                  <a:cubicBezTo>
                    <a:pt x="245405" y="1223565"/>
                    <a:pt x="243747" y="1210959"/>
                    <a:pt x="250049" y="1210959"/>
                  </a:cubicBezTo>
                  <a:cubicBezTo>
                    <a:pt x="256352" y="1210959"/>
                    <a:pt x="264314" y="1206149"/>
                    <a:pt x="262655" y="1193543"/>
                  </a:cubicBezTo>
                  <a:cubicBezTo>
                    <a:pt x="260997" y="1180937"/>
                    <a:pt x="242088" y="1182596"/>
                    <a:pt x="240595" y="1169990"/>
                  </a:cubicBezTo>
                  <a:cubicBezTo>
                    <a:pt x="239102" y="1157384"/>
                    <a:pt x="250049" y="1153403"/>
                    <a:pt x="242088" y="1138309"/>
                  </a:cubicBezTo>
                  <a:cubicBezTo>
                    <a:pt x="234126" y="1123215"/>
                    <a:pt x="245239" y="1113097"/>
                    <a:pt x="242088" y="1105135"/>
                  </a:cubicBezTo>
                  <a:cubicBezTo>
                    <a:pt x="236880" y="1094354"/>
                    <a:pt x="238107" y="1081565"/>
                    <a:pt x="245239" y="1071962"/>
                  </a:cubicBezTo>
                  <a:cubicBezTo>
                    <a:pt x="251907" y="1059488"/>
                    <a:pt x="264347" y="1051162"/>
                    <a:pt x="278413" y="1049735"/>
                  </a:cubicBezTo>
                  <a:cubicBezTo>
                    <a:pt x="284716" y="1051394"/>
                    <a:pt x="295000" y="1057697"/>
                    <a:pt x="300639" y="1048242"/>
                  </a:cubicBezTo>
                  <a:cubicBezTo>
                    <a:pt x="306279" y="1038788"/>
                    <a:pt x="305284" y="1031656"/>
                    <a:pt x="300639" y="1029333"/>
                  </a:cubicBezTo>
                  <a:cubicBezTo>
                    <a:pt x="295995" y="1027011"/>
                    <a:pt x="283223" y="1024523"/>
                    <a:pt x="292678" y="1011917"/>
                  </a:cubicBezTo>
                  <a:cubicBezTo>
                    <a:pt x="303393" y="999726"/>
                    <a:pt x="310973" y="985080"/>
                    <a:pt x="314738" y="969289"/>
                  </a:cubicBezTo>
                  <a:cubicBezTo>
                    <a:pt x="316397" y="955024"/>
                    <a:pt x="311587" y="944077"/>
                    <a:pt x="316397" y="939267"/>
                  </a:cubicBezTo>
                  <a:cubicBezTo>
                    <a:pt x="321207" y="934457"/>
                    <a:pt x="332154" y="939267"/>
                    <a:pt x="341609" y="932964"/>
                  </a:cubicBezTo>
                  <a:cubicBezTo>
                    <a:pt x="351063" y="926661"/>
                    <a:pt x="343268" y="918699"/>
                    <a:pt x="347912" y="914055"/>
                  </a:cubicBezTo>
                  <a:cubicBezTo>
                    <a:pt x="352556" y="909410"/>
                    <a:pt x="359025" y="893487"/>
                    <a:pt x="364499" y="888843"/>
                  </a:cubicBezTo>
                  <a:cubicBezTo>
                    <a:pt x="369972" y="884199"/>
                    <a:pt x="377104" y="877730"/>
                    <a:pt x="372295" y="871427"/>
                  </a:cubicBezTo>
                  <a:cubicBezTo>
                    <a:pt x="367484" y="865124"/>
                    <a:pt x="381749" y="858821"/>
                    <a:pt x="381749" y="847707"/>
                  </a:cubicBezTo>
                  <a:cubicBezTo>
                    <a:pt x="381749" y="836594"/>
                    <a:pt x="398336" y="828798"/>
                    <a:pt x="407127" y="828798"/>
                  </a:cubicBezTo>
                  <a:cubicBezTo>
                    <a:pt x="415918" y="828798"/>
                    <a:pt x="432339" y="828798"/>
                    <a:pt x="432339" y="819344"/>
                  </a:cubicBezTo>
                  <a:cubicBezTo>
                    <a:pt x="432339" y="809889"/>
                    <a:pt x="426036" y="789322"/>
                    <a:pt x="440135" y="795625"/>
                  </a:cubicBezTo>
                  <a:cubicBezTo>
                    <a:pt x="454234" y="801928"/>
                    <a:pt x="465513" y="793966"/>
                    <a:pt x="474967" y="801928"/>
                  </a:cubicBezTo>
                  <a:cubicBezTo>
                    <a:pt x="484421" y="809889"/>
                    <a:pt x="497027" y="808231"/>
                    <a:pt x="497027" y="795625"/>
                  </a:cubicBezTo>
                  <a:cubicBezTo>
                    <a:pt x="497027" y="783019"/>
                    <a:pt x="501838" y="762451"/>
                    <a:pt x="515937" y="770413"/>
                  </a:cubicBezTo>
                  <a:cubicBezTo>
                    <a:pt x="517081" y="771010"/>
                    <a:pt x="518192" y="771673"/>
                    <a:pt x="519254" y="772403"/>
                  </a:cubicBezTo>
                  <a:cubicBezTo>
                    <a:pt x="522256" y="762700"/>
                    <a:pt x="531147" y="755999"/>
                    <a:pt x="541314" y="755817"/>
                  </a:cubicBezTo>
                  <a:cubicBezTo>
                    <a:pt x="553920" y="757475"/>
                    <a:pt x="561716" y="779536"/>
                    <a:pt x="577639" y="782687"/>
                  </a:cubicBezTo>
                  <a:cubicBezTo>
                    <a:pt x="593563" y="785839"/>
                    <a:pt x="609155" y="792142"/>
                    <a:pt x="613799" y="784180"/>
                  </a:cubicBezTo>
                  <a:cubicBezTo>
                    <a:pt x="618443" y="776218"/>
                    <a:pt x="630386" y="788990"/>
                    <a:pt x="639177" y="785839"/>
                  </a:cubicBezTo>
                  <a:cubicBezTo>
                    <a:pt x="647968" y="782687"/>
                    <a:pt x="648631" y="802425"/>
                    <a:pt x="658085" y="790649"/>
                  </a:cubicBezTo>
                  <a:cubicBezTo>
                    <a:pt x="667540" y="778872"/>
                    <a:pt x="656427" y="770081"/>
                    <a:pt x="672350" y="771574"/>
                  </a:cubicBezTo>
                  <a:cubicBezTo>
                    <a:pt x="688274" y="773067"/>
                    <a:pt x="678653" y="754987"/>
                    <a:pt x="678653" y="743211"/>
                  </a:cubicBezTo>
                  <a:cubicBezTo>
                    <a:pt x="678653" y="731434"/>
                    <a:pt x="699055" y="730604"/>
                    <a:pt x="699055" y="721150"/>
                  </a:cubicBezTo>
                  <a:cubicBezTo>
                    <a:pt x="699055" y="711695"/>
                    <a:pt x="727584" y="719491"/>
                    <a:pt x="732229" y="713188"/>
                  </a:cubicBezTo>
                  <a:cubicBezTo>
                    <a:pt x="736873" y="706885"/>
                    <a:pt x="752797" y="702241"/>
                    <a:pt x="759099" y="713188"/>
                  </a:cubicBezTo>
                  <a:cubicBezTo>
                    <a:pt x="765402" y="724136"/>
                    <a:pt x="792273" y="727453"/>
                    <a:pt x="793766" y="736908"/>
                  </a:cubicBezTo>
                  <a:cubicBezTo>
                    <a:pt x="794264" y="743094"/>
                    <a:pt x="794264" y="749298"/>
                    <a:pt x="793766" y="755485"/>
                  </a:cubicBezTo>
                  <a:cubicBezTo>
                    <a:pt x="797730" y="751139"/>
                    <a:pt x="803171" y="748419"/>
                    <a:pt x="809026" y="747855"/>
                  </a:cubicBezTo>
                  <a:cubicBezTo>
                    <a:pt x="818978" y="747855"/>
                    <a:pt x="827769" y="733093"/>
                    <a:pt x="836560" y="735083"/>
                  </a:cubicBezTo>
                  <a:cubicBezTo>
                    <a:pt x="845351" y="737073"/>
                    <a:pt x="851322" y="735083"/>
                    <a:pt x="853147" y="723140"/>
                  </a:cubicBezTo>
                  <a:cubicBezTo>
                    <a:pt x="845351" y="718496"/>
                    <a:pt x="829759" y="717501"/>
                    <a:pt x="828764" y="724136"/>
                  </a:cubicBezTo>
                  <a:close/>
                  <a:moveTo>
                    <a:pt x="234458" y="93836"/>
                  </a:moveTo>
                  <a:cubicBezTo>
                    <a:pt x="248556" y="96656"/>
                    <a:pt x="219696" y="112247"/>
                    <a:pt x="215383" y="126180"/>
                  </a:cubicBezTo>
                  <a:cubicBezTo>
                    <a:pt x="211071" y="140113"/>
                    <a:pt x="237444" y="152719"/>
                    <a:pt x="248556" y="163003"/>
                  </a:cubicBezTo>
                  <a:cubicBezTo>
                    <a:pt x="262755" y="171860"/>
                    <a:pt x="280453" y="172972"/>
                    <a:pt x="295663" y="165989"/>
                  </a:cubicBezTo>
                  <a:cubicBezTo>
                    <a:pt x="305284" y="160018"/>
                    <a:pt x="302298" y="139450"/>
                    <a:pt x="314904" y="140113"/>
                  </a:cubicBezTo>
                  <a:cubicBezTo>
                    <a:pt x="327510" y="140777"/>
                    <a:pt x="320709" y="129166"/>
                    <a:pt x="331491" y="125351"/>
                  </a:cubicBezTo>
                  <a:cubicBezTo>
                    <a:pt x="342272" y="121536"/>
                    <a:pt x="343268" y="134971"/>
                    <a:pt x="334477" y="145255"/>
                  </a:cubicBezTo>
                  <a:cubicBezTo>
                    <a:pt x="325686" y="155539"/>
                    <a:pt x="349902" y="154876"/>
                    <a:pt x="363172" y="142435"/>
                  </a:cubicBezTo>
                  <a:cubicBezTo>
                    <a:pt x="376441" y="129995"/>
                    <a:pt x="379758" y="142435"/>
                    <a:pt x="376441" y="153383"/>
                  </a:cubicBezTo>
                  <a:cubicBezTo>
                    <a:pt x="373124" y="164330"/>
                    <a:pt x="346253" y="158525"/>
                    <a:pt x="336633" y="171794"/>
                  </a:cubicBezTo>
                  <a:cubicBezTo>
                    <a:pt x="327012" y="185064"/>
                    <a:pt x="297654" y="174780"/>
                    <a:pt x="284384" y="189542"/>
                  </a:cubicBezTo>
                  <a:cubicBezTo>
                    <a:pt x="271115" y="204304"/>
                    <a:pt x="296161" y="204968"/>
                    <a:pt x="314572" y="201319"/>
                  </a:cubicBezTo>
                  <a:cubicBezTo>
                    <a:pt x="336434" y="197205"/>
                    <a:pt x="358776" y="196193"/>
                    <a:pt x="380920" y="198333"/>
                  </a:cubicBezTo>
                  <a:cubicBezTo>
                    <a:pt x="394189" y="201319"/>
                    <a:pt x="372792" y="205797"/>
                    <a:pt x="350731" y="205797"/>
                  </a:cubicBezTo>
                  <a:cubicBezTo>
                    <a:pt x="328671" y="205797"/>
                    <a:pt x="321207" y="212432"/>
                    <a:pt x="322037" y="218237"/>
                  </a:cubicBezTo>
                  <a:cubicBezTo>
                    <a:pt x="322866" y="224043"/>
                    <a:pt x="291019" y="211603"/>
                    <a:pt x="288863" y="224872"/>
                  </a:cubicBezTo>
                  <a:cubicBezTo>
                    <a:pt x="286707" y="238141"/>
                    <a:pt x="318387" y="243449"/>
                    <a:pt x="322037" y="251411"/>
                  </a:cubicBezTo>
                  <a:cubicBezTo>
                    <a:pt x="325686" y="259373"/>
                    <a:pt x="346419" y="251411"/>
                    <a:pt x="354381" y="255226"/>
                  </a:cubicBezTo>
                  <a:cubicBezTo>
                    <a:pt x="362342" y="259041"/>
                    <a:pt x="341111" y="264017"/>
                    <a:pt x="337794" y="267666"/>
                  </a:cubicBezTo>
                  <a:cubicBezTo>
                    <a:pt x="334477" y="271315"/>
                    <a:pt x="360684" y="276457"/>
                    <a:pt x="364996" y="284253"/>
                  </a:cubicBezTo>
                  <a:cubicBezTo>
                    <a:pt x="369309" y="292049"/>
                    <a:pt x="387886" y="287902"/>
                    <a:pt x="387057" y="277618"/>
                  </a:cubicBezTo>
                  <a:cubicBezTo>
                    <a:pt x="386227" y="264680"/>
                    <a:pt x="403643" y="226033"/>
                    <a:pt x="425538" y="217906"/>
                  </a:cubicBezTo>
                  <a:cubicBezTo>
                    <a:pt x="447433" y="209778"/>
                    <a:pt x="434993" y="202480"/>
                    <a:pt x="437978" y="189874"/>
                  </a:cubicBezTo>
                  <a:cubicBezTo>
                    <a:pt x="440964" y="177268"/>
                    <a:pt x="458546" y="187718"/>
                    <a:pt x="453404" y="177434"/>
                  </a:cubicBezTo>
                  <a:cubicBezTo>
                    <a:pt x="448262" y="167150"/>
                    <a:pt x="451248" y="162671"/>
                    <a:pt x="465180" y="149402"/>
                  </a:cubicBezTo>
                  <a:cubicBezTo>
                    <a:pt x="479114" y="136132"/>
                    <a:pt x="488070" y="145587"/>
                    <a:pt x="504989" y="137625"/>
                  </a:cubicBezTo>
                  <a:cubicBezTo>
                    <a:pt x="521908" y="129664"/>
                    <a:pt x="530035" y="143431"/>
                    <a:pt x="511624" y="144923"/>
                  </a:cubicBezTo>
                  <a:cubicBezTo>
                    <a:pt x="493212" y="146416"/>
                    <a:pt x="503496" y="164828"/>
                    <a:pt x="516766" y="169970"/>
                  </a:cubicBezTo>
                  <a:cubicBezTo>
                    <a:pt x="530035" y="175111"/>
                    <a:pt x="518259" y="179590"/>
                    <a:pt x="528542" y="181746"/>
                  </a:cubicBezTo>
                  <a:cubicBezTo>
                    <a:pt x="538826" y="183902"/>
                    <a:pt x="536007" y="199494"/>
                    <a:pt x="522737" y="213427"/>
                  </a:cubicBezTo>
                  <a:cubicBezTo>
                    <a:pt x="509468" y="227360"/>
                    <a:pt x="526386" y="230014"/>
                    <a:pt x="554418" y="220062"/>
                  </a:cubicBezTo>
                  <a:cubicBezTo>
                    <a:pt x="582449" y="210110"/>
                    <a:pt x="564701" y="229019"/>
                    <a:pt x="572829" y="236649"/>
                  </a:cubicBezTo>
                  <a:cubicBezTo>
                    <a:pt x="580957" y="244279"/>
                    <a:pt x="603017" y="230843"/>
                    <a:pt x="614794" y="216744"/>
                  </a:cubicBezTo>
                  <a:cubicBezTo>
                    <a:pt x="626570" y="202646"/>
                    <a:pt x="644319" y="205134"/>
                    <a:pt x="643655" y="197670"/>
                  </a:cubicBezTo>
                  <a:cubicBezTo>
                    <a:pt x="642991" y="190206"/>
                    <a:pt x="630386" y="187386"/>
                    <a:pt x="619936" y="191698"/>
                  </a:cubicBezTo>
                  <a:cubicBezTo>
                    <a:pt x="609486" y="196011"/>
                    <a:pt x="583942" y="193191"/>
                    <a:pt x="592733" y="185064"/>
                  </a:cubicBezTo>
                  <a:cubicBezTo>
                    <a:pt x="601524" y="176936"/>
                    <a:pt x="600031" y="170467"/>
                    <a:pt x="586928" y="171794"/>
                  </a:cubicBezTo>
                  <a:cubicBezTo>
                    <a:pt x="573825" y="173121"/>
                    <a:pt x="549939" y="166652"/>
                    <a:pt x="561052" y="162340"/>
                  </a:cubicBezTo>
                  <a:cubicBezTo>
                    <a:pt x="572166" y="158027"/>
                    <a:pt x="552925" y="143099"/>
                    <a:pt x="542641" y="143928"/>
                  </a:cubicBezTo>
                  <a:cubicBezTo>
                    <a:pt x="532357" y="144758"/>
                    <a:pt x="535343" y="132815"/>
                    <a:pt x="536007" y="124688"/>
                  </a:cubicBezTo>
                  <a:cubicBezTo>
                    <a:pt x="536670" y="116560"/>
                    <a:pt x="506482" y="112911"/>
                    <a:pt x="512453" y="109925"/>
                  </a:cubicBezTo>
                  <a:cubicBezTo>
                    <a:pt x="518425" y="106940"/>
                    <a:pt x="499847" y="100305"/>
                    <a:pt x="495866" y="106276"/>
                  </a:cubicBezTo>
                  <a:cubicBezTo>
                    <a:pt x="493925" y="109693"/>
                    <a:pt x="489563" y="110904"/>
                    <a:pt x="486146" y="108947"/>
                  </a:cubicBezTo>
                  <a:cubicBezTo>
                    <a:pt x="483609" y="107520"/>
                    <a:pt x="482215" y="104684"/>
                    <a:pt x="482597" y="101798"/>
                  </a:cubicBezTo>
                  <a:cubicBezTo>
                    <a:pt x="482597" y="93007"/>
                    <a:pt x="460371" y="95163"/>
                    <a:pt x="451580" y="95992"/>
                  </a:cubicBezTo>
                  <a:cubicBezTo>
                    <a:pt x="442789" y="96822"/>
                    <a:pt x="447101" y="76752"/>
                    <a:pt x="438310" y="70117"/>
                  </a:cubicBezTo>
                  <a:cubicBezTo>
                    <a:pt x="429519" y="63482"/>
                    <a:pt x="417742" y="83386"/>
                    <a:pt x="411108" y="81894"/>
                  </a:cubicBezTo>
                  <a:cubicBezTo>
                    <a:pt x="404473" y="80401"/>
                    <a:pt x="416250" y="67131"/>
                    <a:pt x="419899" y="58340"/>
                  </a:cubicBezTo>
                  <a:cubicBezTo>
                    <a:pt x="423548" y="49549"/>
                    <a:pt x="388881" y="37773"/>
                    <a:pt x="385232" y="46564"/>
                  </a:cubicBezTo>
                  <a:cubicBezTo>
                    <a:pt x="381583" y="55355"/>
                    <a:pt x="374949" y="33294"/>
                    <a:pt x="367484" y="31138"/>
                  </a:cubicBezTo>
                  <a:cubicBezTo>
                    <a:pt x="360020" y="28982"/>
                    <a:pt x="366157" y="45900"/>
                    <a:pt x="359522" y="47725"/>
                  </a:cubicBezTo>
                  <a:cubicBezTo>
                    <a:pt x="352888" y="49549"/>
                    <a:pt x="343931" y="55686"/>
                    <a:pt x="355044" y="63150"/>
                  </a:cubicBezTo>
                  <a:cubicBezTo>
                    <a:pt x="366871" y="77216"/>
                    <a:pt x="374053" y="94599"/>
                    <a:pt x="375612" y="112911"/>
                  </a:cubicBezTo>
                  <a:cubicBezTo>
                    <a:pt x="374285" y="118882"/>
                    <a:pt x="340282" y="86372"/>
                    <a:pt x="338789" y="70946"/>
                  </a:cubicBezTo>
                  <a:cubicBezTo>
                    <a:pt x="337296" y="55520"/>
                    <a:pt x="320378" y="42914"/>
                    <a:pt x="315899" y="54359"/>
                  </a:cubicBezTo>
                  <a:cubicBezTo>
                    <a:pt x="311421" y="65804"/>
                    <a:pt x="299312" y="69785"/>
                    <a:pt x="302796" y="80732"/>
                  </a:cubicBezTo>
                  <a:cubicBezTo>
                    <a:pt x="306279" y="91680"/>
                    <a:pt x="293839" y="95495"/>
                    <a:pt x="293839" y="86704"/>
                  </a:cubicBezTo>
                  <a:cubicBezTo>
                    <a:pt x="293839" y="77913"/>
                    <a:pt x="275428" y="67463"/>
                    <a:pt x="268792" y="66799"/>
                  </a:cubicBezTo>
                  <a:cubicBezTo>
                    <a:pt x="262158" y="66136"/>
                    <a:pt x="285379" y="61658"/>
                    <a:pt x="296824" y="56516"/>
                  </a:cubicBezTo>
                  <a:cubicBezTo>
                    <a:pt x="308269" y="51374"/>
                    <a:pt x="287204" y="43910"/>
                    <a:pt x="277583" y="49881"/>
                  </a:cubicBezTo>
                  <a:cubicBezTo>
                    <a:pt x="267963" y="55852"/>
                    <a:pt x="255523" y="46232"/>
                    <a:pt x="249718" y="54359"/>
                  </a:cubicBezTo>
                  <a:cubicBezTo>
                    <a:pt x="243912" y="62487"/>
                    <a:pt x="236448" y="54359"/>
                    <a:pt x="226165" y="52037"/>
                  </a:cubicBezTo>
                  <a:cubicBezTo>
                    <a:pt x="215880" y="49715"/>
                    <a:pt x="206924" y="66799"/>
                    <a:pt x="199626" y="63814"/>
                  </a:cubicBezTo>
                  <a:cubicBezTo>
                    <a:pt x="192327" y="60828"/>
                    <a:pt x="187683" y="78576"/>
                    <a:pt x="199626" y="96988"/>
                  </a:cubicBezTo>
                  <a:cubicBezTo>
                    <a:pt x="211568" y="115399"/>
                    <a:pt x="219696" y="91348"/>
                    <a:pt x="233628" y="94334"/>
                  </a:cubicBezTo>
                  <a:close/>
                  <a:moveTo>
                    <a:pt x="203440" y="154544"/>
                  </a:moveTo>
                  <a:cubicBezTo>
                    <a:pt x="212397" y="156866"/>
                    <a:pt x="218866" y="171131"/>
                    <a:pt x="226994" y="171131"/>
                  </a:cubicBezTo>
                  <a:cubicBezTo>
                    <a:pt x="230643" y="171131"/>
                    <a:pt x="214554" y="152719"/>
                    <a:pt x="204934" y="142435"/>
                  </a:cubicBezTo>
                  <a:cubicBezTo>
                    <a:pt x="195313" y="132152"/>
                    <a:pt x="196142" y="121702"/>
                    <a:pt x="182873" y="125849"/>
                  </a:cubicBezTo>
                  <a:cubicBezTo>
                    <a:pt x="169604" y="129995"/>
                    <a:pt x="194649" y="151724"/>
                    <a:pt x="203440" y="154544"/>
                  </a:cubicBezTo>
                  <a:close/>
                  <a:moveTo>
                    <a:pt x="437812" y="35284"/>
                  </a:moveTo>
                  <a:cubicBezTo>
                    <a:pt x="444447" y="40426"/>
                    <a:pt x="426865" y="40592"/>
                    <a:pt x="434163" y="47725"/>
                  </a:cubicBezTo>
                  <a:cubicBezTo>
                    <a:pt x="456224" y="69785"/>
                    <a:pt x="543139" y="44739"/>
                    <a:pt x="554915" y="51374"/>
                  </a:cubicBezTo>
                  <a:cubicBezTo>
                    <a:pt x="566692" y="58008"/>
                    <a:pt x="482099" y="66136"/>
                    <a:pt x="485748" y="75093"/>
                  </a:cubicBezTo>
                  <a:cubicBezTo>
                    <a:pt x="489398" y="84050"/>
                    <a:pt x="558730" y="91680"/>
                    <a:pt x="563872" y="85377"/>
                  </a:cubicBezTo>
                  <a:cubicBezTo>
                    <a:pt x="569014" y="79074"/>
                    <a:pt x="580459" y="97153"/>
                    <a:pt x="603681" y="98646"/>
                  </a:cubicBezTo>
                  <a:cubicBezTo>
                    <a:pt x="626902" y="100139"/>
                    <a:pt x="624249" y="89689"/>
                    <a:pt x="641167" y="89026"/>
                  </a:cubicBezTo>
                  <a:cubicBezTo>
                    <a:pt x="658085" y="88362"/>
                    <a:pt x="683298" y="80235"/>
                    <a:pt x="683961" y="70615"/>
                  </a:cubicBezTo>
                  <a:cubicBezTo>
                    <a:pt x="684624" y="60994"/>
                    <a:pt x="733721" y="49217"/>
                    <a:pt x="729575" y="32962"/>
                  </a:cubicBezTo>
                  <a:cubicBezTo>
                    <a:pt x="725428" y="16707"/>
                    <a:pt x="677326" y="27820"/>
                    <a:pt x="664057" y="21186"/>
                  </a:cubicBezTo>
                  <a:cubicBezTo>
                    <a:pt x="650787" y="14551"/>
                    <a:pt x="619770" y="5760"/>
                    <a:pt x="614296" y="16044"/>
                  </a:cubicBezTo>
                  <a:cubicBezTo>
                    <a:pt x="608822" y="26328"/>
                    <a:pt x="600364" y="29313"/>
                    <a:pt x="595885" y="24835"/>
                  </a:cubicBezTo>
                  <a:cubicBezTo>
                    <a:pt x="591406" y="20356"/>
                    <a:pt x="598207" y="-3031"/>
                    <a:pt x="576810" y="3604"/>
                  </a:cubicBezTo>
                  <a:cubicBezTo>
                    <a:pt x="555413" y="10238"/>
                    <a:pt x="575317" y="32962"/>
                    <a:pt x="570839" y="36777"/>
                  </a:cubicBezTo>
                  <a:cubicBezTo>
                    <a:pt x="566360" y="40592"/>
                    <a:pt x="545793" y="32299"/>
                    <a:pt x="544300" y="22015"/>
                  </a:cubicBezTo>
                  <a:cubicBezTo>
                    <a:pt x="542807" y="11731"/>
                    <a:pt x="520083" y="33128"/>
                    <a:pt x="517097" y="20522"/>
                  </a:cubicBezTo>
                  <a:cubicBezTo>
                    <a:pt x="514112" y="7916"/>
                    <a:pt x="486910" y="-875"/>
                    <a:pt x="480938" y="-45"/>
                  </a:cubicBezTo>
                  <a:cubicBezTo>
                    <a:pt x="474967" y="784"/>
                    <a:pt x="486910" y="8746"/>
                    <a:pt x="483095" y="14717"/>
                  </a:cubicBezTo>
                  <a:cubicBezTo>
                    <a:pt x="479279" y="20688"/>
                    <a:pt x="464683" y="8746"/>
                    <a:pt x="458878" y="8082"/>
                  </a:cubicBezTo>
                  <a:cubicBezTo>
                    <a:pt x="453072" y="7419"/>
                    <a:pt x="462527" y="20522"/>
                    <a:pt x="458878" y="26493"/>
                  </a:cubicBezTo>
                  <a:cubicBezTo>
                    <a:pt x="455229" y="32465"/>
                    <a:pt x="444281" y="8746"/>
                    <a:pt x="433832" y="8746"/>
                  </a:cubicBezTo>
                  <a:cubicBezTo>
                    <a:pt x="423382" y="8746"/>
                    <a:pt x="427197" y="20522"/>
                    <a:pt x="419899" y="21352"/>
                  </a:cubicBezTo>
                  <a:cubicBezTo>
                    <a:pt x="412600" y="22181"/>
                    <a:pt x="430680" y="29313"/>
                    <a:pt x="437812" y="34621"/>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2" name="Freeform: Shape 581">
              <a:extLst>
                <a:ext uri="{FF2B5EF4-FFF2-40B4-BE49-F238E27FC236}">
                  <a16:creationId xmlns:a16="http://schemas.microsoft.com/office/drawing/2014/main" id="{5B5EEC19-1C44-490B-B0EA-53C426D7F494}"/>
                </a:ext>
              </a:extLst>
            </p:cNvPr>
            <p:cNvSpPr/>
            <p:nvPr/>
          </p:nvSpPr>
          <p:spPr>
            <a:xfrm>
              <a:off x="8993453" y="3322397"/>
              <a:ext cx="482040" cy="469072"/>
            </a:xfrm>
            <a:custGeom>
              <a:avLst/>
              <a:gdLst>
                <a:gd name="connsiteX0" fmla="*/ 533490 w 563710"/>
                <a:gd name="connsiteY0" fmla="*/ 53132 h 559279"/>
                <a:gd name="connsiteX1" fmla="*/ 500317 w 563710"/>
                <a:gd name="connsiteY1" fmla="*/ 61094 h 559279"/>
                <a:gd name="connsiteX2" fmla="*/ 427666 w 563710"/>
                <a:gd name="connsiteY2" fmla="*/ 8016 h 559279"/>
                <a:gd name="connsiteX3" fmla="*/ 405938 w 563710"/>
                <a:gd name="connsiteY3" fmla="*/ 17802 h 559279"/>
                <a:gd name="connsiteX4" fmla="*/ 403947 w 563710"/>
                <a:gd name="connsiteY4" fmla="*/ 52137 h 559279"/>
                <a:gd name="connsiteX5" fmla="*/ 394162 w 563710"/>
                <a:gd name="connsiteY5" fmla="*/ 81662 h 559279"/>
                <a:gd name="connsiteX6" fmla="*/ 366627 w 563710"/>
                <a:gd name="connsiteY6" fmla="*/ 93438 h 559279"/>
                <a:gd name="connsiteX7" fmla="*/ 353855 w 563710"/>
                <a:gd name="connsiteY7" fmla="*/ 113177 h 559279"/>
                <a:gd name="connsiteX8" fmla="*/ 348050 w 563710"/>
                <a:gd name="connsiteY8" fmla="*/ 132749 h 559279"/>
                <a:gd name="connsiteX9" fmla="*/ 348050 w 563710"/>
                <a:gd name="connsiteY9" fmla="*/ 158293 h 559279"/>
                <a:gd name="connsiteX10" fmla="*/ 364637 w 563710"/>
                <a:gd name="connsiteY10" fmla="*/ 151492 h 559279"/>
                <a:gd name="connsiteX11" fmla="*/ 382385 w 563710"/>
                <a:gd name="connsiteY11" fmla="*/ 147511 h 559279"/>
                <a:gd name="connsiteX12" fmla="*/ 362646 w 563710"/>
                <a:gd name="connsiteY12" fmla="*/ 122963 h 559279"/>
                <a:gd name="connsiteX13" fmla="*/ 390180 w 563710"/>
                <a:gd name="connsiteY13" fmla="*/ 119977 h 559279"/>
                <a:gd name="connsiteX14" fmla="*/ 439940 w 563710"/>
                <a:gd name="connsiteY14" fmla="*/ 131754 h 559279"/>
                <a:gd name="connsiteX15" fmla="*/ 461504 w 563710"/>
                <a:gd name="connsiteY15" fmla="*/ 123958 h 559279"/>
                <a:gd name="connsiteX16" fmla="*/ 509605 w 563710"/>
                <a:gd name="connsiteY16" fmla="*/ 101400 h 559279"/>
                <a:gd name="connsiteX17" fmla="*/ 527353 w 563710"/>
                <a:gd name="connsiteY17" fmla="*/ 85643 h 559279"/>
                <a:gd name="connsiteX18" fmla="*/ 563678 w 563710"/>
                <a:gd name="connsiteY18" fmla="*/ 44341 h 559279"/>
                <a:gd name="connsiteX19" fmla="*/ 533490 w 563710"/>
                <a:gd name="connsiteY19" fmla="*/ 53132 h 559279"/>
                <a:gd name="connsiteX20" fmla="*/ 352694 w 563710"/>
                <a:gd name="connsiteY20" fmla="*/ 187817 h 559279"/>
                <a:gd name="connsiteX21" fmla="*/ 346888 w 563710"/>
                <a:gd name="connsiteY21" fmla="*/ 231938 h 559279"/>
                <a:gd name="connsiteX22" fmla="*/ 330302 w 563710"/>
                <a:gd name="connsiteY22" fmla="*/ 276225 h 559279"/>
                <a:gd name="connsiteX23" fmla="*/ 309734 w 563710"/>
                <a:gd name="connsiteY23" fmla="*/ 309399 h 559279"/>
                <a:gd name="connsiteX24" fmla="*/ 279214 w 563710"/>
                <a:gd name="connsiteY24" fmla="*/ 332952 h 559279"/>
                <a:gd name="connsiteX25" fmla="*/ 257651 w 563710"/>
                <a:gd name="connsiteY25" fmla="*/ 322171 h 559279"/>
                <a:gd name="connsiteX26" fmla="*/ 233103 w 563710"/>
                <a:gd name="connsiteY26" fmla="*/ 348710 h 559279"/>
                <a:gd name="connsiteX27" fmla="*/ 212370 w 563710"/>
                <a:gd name="connsiteY27" fmla="*/ 381883 h 559279"/>
                <a:gd name="connsiteX28" fmla="*/ 191802 w 563710"/>
                <a:gd name="connsiteY28" fmla="*/ 388684 h 559279"/>
                <a:gd name="connsiteX29" fmla="*/ 151496 w 563710"/>
                <a:gd name="connsiteY29" fmla="*/ 393660 h 559279"/>
                <a:gd name="connsiteX30" fmla="*/ 101736 w 563710"/>
                <a:gd name="connsiteY30" fmla="*/ 396646 h 559279"/>
                <a:gd name="connsiteX31" fmla="*/ 50648 w 563710"/>
                <a:gd name="connsiteY31" fmla="*/ 434961 h 559279"/>
                <a:gd name="connsiteX32" fmla="*/ 50648 w 563710"/>
                <a:gd name="connsiteY32" fmla="*/ 454534 h 559279"/>
                <a:gd name="connsiteX33" fmla="*/ 86973 w 563710"/>
                <a:gd name="connsiteY33" fmla="*/ 445743 h 559279"/>
                <a:gd name="connsiteX34" fmla="*/ 169907 w 563710"/>
                <a:gd name="connsiteY34" fmla="*/ 425175 h 559279"/>
                <a:gd name="connsiteX35" fmla="*/ 183675 w 563710"/>
                <a:gd name="connsiteY35" fmla="*/ 454534 h 559279"/>
                <a:gd name="connsiteX36" fmla="*/ 222985 w 563710"/>
                <a:gd name="connsiteY36" fmla="*/ 452709 h 559279"/>
                <a:gd name="connsiteX37" fmla="*/ 234761 w 563710"/>
                <a:gd name="connsiteY37" fmla="*/ 429985 h 559279"/>
                <a:gd name="connsiteX38" fmla="*/ 244714 w 563710"/>
                <a:gd name="connsiteY38" fmla="*/ 425175 h 559279"/>
                <a:gd name="connsiteX39" fmla="*/ 282664 w 563710"/>
                <a:gd name="connsiteY39" fmla="*/ 427000 h 559279"/>
                <a:gd name="connsiteX40" fmla="*/ 286844 w 563710"/>
                <a:gd name="connsiteY40" fmla="*/ 422189 h 559279"/>
                <a:gd name="connsiteX41" fmla="*/ 311392 w 563710"/>
                <a:gd name="connsiteY41" fmla="*/ 424180 h 559279"/>
                <a:gd name="connsiteX42" fmla="*/ 331131 w 563710"/>
                <a:gd name="connsiteY42" fmla="*/ 404441 h 559279"/>
                <a:gd name="connsiteX43" fmla="*/ 362646 w 563710"/>
                <a:gd name="connsiteY43" fmla="*/ 399631 h 559279"/>
                <a:gd name="connsiteX44" fmla="*/ 371437 w 563710"/>
                <a:gd name="connsiteY44" fmla="*/ 352359 h 559279"/>
                <a:gd name="connsiteX45" fmla="*/ 379233 w 563710"/>
                <a:gd name="connsiteY45" fmla="*/ 301271 h 559279"/>
                <a:gd name="connsiteX46" fmla="*/ 409752 w 563710"/>
                <a:gd name="connsiteY46" fmla="*/ 264946 h 559279"/>
                <a:gd name="connsiteX47" fmla="*/ 393996 w 563710"/>
                <a:gd name="connsiteY47" fmla="*/ 176538 h 559279"/>
                <a:gd name="connsiteX48" fmla="*/ 352694 w 563710"/>
                <a:gd name="connsiteY48" fmla="*/ 187817 h 559279"/>
                <a:gd name="connsiteX49" fmla="*/ 137066 w 563710"/>
                <a:gd name="connsiteY49" fmla="*/ 443254 h 559279"/>
                <a:gd name="connsiteX50" fmla="*/ 105550 w 563710"/>
                <a:gd name="connsiteY50" fmla="*/ 452211 h 559279"/>
                <a:gd name="connsiteX51" fmla="*/ 100740 w 563710"/>
                <a:gd name="connsiteY51" fmla="*/ 496332 h 559279"/>
                <a:gd name="connsiteX52" fmla="*/ 119318 w 563710"/>
                <a:gd name="connsiteY52" fmla="*/ 487541 h 559279"/>
                <a:gd name="connsiteX53" fmla="*/ 145989 w 563710"/>
                <a:gd name="connsiteY53" fmla="*/ 475914 h 559279"/>
                <a:gd name="connsiteX54" fmla="*/ 147847 w 563710"/>
                <a:gd name="connsiteY54" fmla="*/ 476760 h 559279"/>
                <a:gd name="connsiteX55" fmla="*/ 170570 w 563710"/>
                <a:gd name="connsiteY55" fmla="*/ 447235 h 559279"/>
                <a:gd name="connsiteX56" fmla="*/ 136568 w 563710"/>
                <a:gd name="connsiteY56" fmla="*/ 443254 h 559279"/>
                <a:gd name="connsiteX57" fmla="*/ 69225 w 563710"/>
                <a:gd name="connsiteY57" fmla="*/ 481570 h 559279"/>
                <a:gd name="connsiteX58" fmla="*/ 46667 w 563710"/>
                <a:gd name="connsiteY58" fmla="*/ 464984 h 559279"/>
                <a:gd name="connsiteX59" fmla="*/ 16147 w 563710"/>
                <a:gd name="connsiteY59" fmla="*/ 471784 h 559279"/>
                <a:gd name="connsiteX60" fmla="*/ 2380 w 563710"/>
                <a:gd name="connsiteY60" fmla="*/ 495337 h 559279"/>
                <a:gd name="connsiteX61" fmla="*/ 21123 w 563710"/>
                <a:gd name="connsiteY61" fmla="*/ 485551 h 559279"/>
                <a:gd name="connsiteX62" fmla="*/ 26100 w 563710"/>
                <a:gd name="connsiteY62" fmla="*/ 518725 h 559279"/>
                <a:gd name="connsiteX63" fmla="*/ 38871 w 563710"/>
                <a:gd name="connsiteY63" fmla="*/ 559031 h 559279"/>
                <a:gd name="connsiteX64" fmla="*/ 76191 w 563710"/>
                <a:gd name="connsiteY64" fmla="*/ 502967 h 559279"/>
                <a:gd name="connsiteX65" fmla="*/ 68727 w 563710"/>
                <a:gd name="connsiteY65" fmla="*/ 481570 h 55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63710" h="559279">
                  <a:moveTo>
                    <a:pt x="533490" y="53132"/>
                  </a:moveTo>
                  <a:cubicBezTo>
                    <a:pt x="526690" y="44341"/>
                    <a:pt x="514913" y="58108"/>
                    <a:pt x="500317" y="61094"/>
                  </a:cubicBezTo>
                  <a:cubicBezTo>
                    <a:pt x="485720" y="64080"/>
                    <a:pt x="439443" y="25598"/>
                    <a:pt x="427666" y="8016"/>
                  </a:cubicBezTo>
                  <a:cubicBezTo>
                    <a:pt x="415890" y="-9566"/>
                    <a:pt x="396152" y="5030"/>
                    <a:pt x="405938" y="17802"/>
                  </a:cubicBezTo>
                  <a:cubicBezTo>
                    <a:pt x="415724" y="30574"/>
                    <a:pt x="403947" y="34389"/>
                    <a:pt x="403947" y="52137"/>
                  </a:cubicBezTo>
                  <a:cubicBezTo>
                    <a:pt x="403947" y="69885"/>
                    <a:pt x="392170" y="69885"/>
                    <a:pt x="394162" y="81662"/>
                  </a:cubicBezTo>
                  <a:cubicBezTo>
                    <a:pt x="396152" y="93438"/>
                    <a:pt x="378404" y="91448"/>
                    <a:pt x="366627" y="93438"/>
                  </a:cubicBezTo>
                  <a:cubicBezTo>
                    <a:pt x="354850" y="95429"/>
                    <a:pt x="367622" y="107205"/>
                    <a:pt x="353855" y="113177"/>
                  </a:cubicBezTo>
                  <a:cubicBezTo>
                    <a:pt x="340088" y="119148"/>
                    <a:pt x="341084" y="128768"/>
                    <a:pt x="348050" y="132749"/>
                  </a:cubicBezTo>
                  <a:cubicBezTo>
                    <a:pt x="355016" y="136730"/>
                    <a:pt x="350040" y="149336"/>
                    <a:pt x="348050" y="158293"/>
                  </a:cubicBezTo>
                  <a:cubicBezTo>
                    <a:pt x="346059" y="167250"/>
                    <a:pt x="356841" y="160283"/>
                    <a:pt x="364637" y="151492"/>
                  </a:cubicBezTo>
                  <a:cubicBezTo>
                    <a:pt x="372432" y="142701"/>
                    <a:pt x="381223" y="155639"/>
                    <a:pt x="382385" y="147511"/>
                  </a:cubicBezTo>
                  <a:cubicBezTo>
                    <a:pt x="383546" y="139384"/>
                    <a:pt x="361817" y="132749"/>
                    <a:pt x="362646" y="122963"/>
                  </a:cubicBezTo>
                  <a:cubicBezTo>
                    <a:pt x="363475" y="113177"/>
                    <a:pt x="379233" y="125948"/>
                    <a:pt x="390180" y="119977"/>
                  </a:cubicBezTo>
                  <a:cubicBezTo>
                    <a:pt x="407696" y="115250"/>
                    <a:pt x="426406" y="119679"/>
                    <a:pt x="439940" y="131754"/>
                  </a:cubicBezTo>
                  <a:cubicBezTo>
                    <a:pt x="454537" y="144526"/>
                    <a:pt x="458518" y="139715"/>
                    <a:pt x="461504" y="123958"/>
                  </a:cubicBezTo>
                  <a:cubicBezTo>
                    <a:pt x="464490" y="108201"/>
                    <a:pt x="487047" y="101400"/>
                    <a:pt x="509605" y="101400"/>
                  </a:cubicBezTo>
                  <a:cubicBezTo>
                    <a:pt x="532163" y="101400"/>
                    <a:pt x="534153" y="90453"/>
                    <a:pt x="527353" y="85643"/>
                  </a:cubicBezTo>
                  <a:cubicBezTo>
                    <a:pt x="520553" y="80832"/>
                    <a:pt x="564674" y="52469"/>
                    <a:pt x="563678" y="44341"/>
                  </a:cubicBezTo>
                  <a:cubicBezTo>
                    <a:pt x="562683" y="36214"/>
                    <a:pt x="540457" y="62089"/>
                    <a:pt x="533490" y="53132"/>
                  </a:cubicBezTo>
                  <a:close/>
                  <a:moveTo>
                    <a:pt x="352694" y="187817"/>
                  </a:moveTo>
                  <a:cubicBezTo>
                    <a:pt x="342908" y="192793"/>
                    <a:pt x="336108" y="223147"/>
                    <a:pt x="346888" y="231938"/>
                  </a:cubicBezTo>
                  <a:cubicBezTo>
                    <a:pt x="357670" y="240729"/>
                    <a:pt x="329140" y="257648"/>
                    <a:pt x="330302" y="276225"/>
                  </a:cubicBezTo>
                  <a:cubicBezTo>
                    <a:pt x="331463" y="294802"/>
                    <a:pt x="312554" y="294968"/>
                    <a:pt x="309734" y="309399"/>
                  </a:cubicBezTo>
                  <a:cubicBezTo>
                    <a:pt x="306915" y="323829"/>
                    <a:pt x="295967" y="320180"/>
                    <a:pt x="279214" y="332952"/>
                  </a:cubicBezTo>
                  <a:cubicBezTo>
                    <a:pt x="262462" y="345724"/>
                    <a:pt x="253671" y="330962"/>
                    <a:pt x="257651" y="322171"/>
                  </a:cubicBezTo>
                  <a:cubicBezTo>
                    <a:pt x="261632" y="313380"/>
                    <a:pt x="232108" y="326981"/>
                    <a:pt x="233103" y="348710"/>
                  </a:cubicBezTo>
                  <a:cubicBezTo>
                    <a:pt x="234098" y="370438"/>
                    <a:pt x="205568" y="372263"/>
                    <a:pt x="212370" y="381883"/>
                  </a:cubicBezTo>
                  <a:cubicBezTo>
                    <a:pt x="219170" y="391504"/>
                    <a:pt x="190807" y="398470"/>
                    <a:pt x="191802" y="388684"/>
                  </a:cubicBezTo>
                  <a:cubicBezTo>
                    <a:pt x="192797" y="378898"/>
                    <a:pt x="174054" y="384869"/>
                    <a:pt x="151496" y="393660"/>
                  </a:cubicBezTo>
                  <a:cubicBezTo>
                    <a:pt x="128937" y="402451"/>
                    <a:pt x="115171" y="383874"/>
                    <a:pt x="101736" y="396646"/>
                  </a:cubicBezTo>
                  <a:cubicBezTo>
                    <a:pt x="88300" y="409418"/>
                    <a:pt x="67235" y="431975"/>
                    <a:pt x="50648" y="434961"/>
                  </a:cubicBezTo>
                  <a:cubicBezTo>
                    <a:pt x="34061" y="437947"/>
                    <a:pt x="43516" y="458183"/>
                    <a:pt x="50648" y="454534"/>
                  </a:cubicBezTo>
                  <a:cubicBezTo>
                    <a:pt x="62425" y="448728"/>
                    <a:pt x="81002" y="454534"/>
                    <a:pt x="86973" y="445743"/>
                  </a:cubicBezTo>
                  <a:cubicBezTo>
                    <a:pt x="92944" y="436952"/>
                    <a:pt x="141046" y="426170"/>
                    <a:pt x="169907" y="425175"/>
                  </a:cubicBezTo>
                  <a:cubicBezTo>
                    <a:pt x="198768" y="424180"/>
                    <a:pt x="181683" y="438942"/>
                    <a:pt x="183675" y="454534"/>
                  </a:cubicBezTo>
                  <a:cubicBezTo>
                    <a:pt x="185665" y="470125"/>
                    <a:pt x="210213" y="467305"/>
                    <a:pt x="222985" y="452709"/>
                  </a:cubicBezTo>
                  <a:cubicBezTo>
                    <a:pt x="235757" y="438112"/>
                    <a:pt x="245709" y="438942"/>
                    <a:pt x="234761" y="429985"/>
                  </a:cubicBezTo>
                  <a:cubicBezTo>
                    <a:pt x="223814" y="421028"/>
                    <a:pt x="236752" y="413398"/>
                    <a:pt x="244714" y="425175"/>
                  </a:cubicBezTo>
                  <a:cubicBezTo>
                    <a:pt x="254699" y="436155"/>
                    <a:pt x="271684" y="436985"/>
                    <a:pt x="282664" y="427000"/>
                  </a:cubicBezTo>
                  <a:cubicBezTo>
                    <a:pt x="284257" y="425573"/>
                    <a:pt x="285650" y="423948"/>
                    <a:pt x="286844" y="422189"/>
                  </a:cubicBezTo>
                  <a:cubicBezTo>
                    <a:pt x="296796" y="406432"/>
                    <a:pt x="299616" y="425175"/>
                    <a:pt x="311392" y="424180"/>
                  </a:cubicBezTo>
                  <a:cubicBezTo>
                    <a:pt x="323169" y="423184"/>
                    <a:pt x="330136" y="393660"/>
                    <a:pt x="331131" y="404441"/>
                  </a:cubicBezTo>
                  <a:cubicBezTo>
                    <a:pt x="332126" y="415223"/>
                    <a:pt x="350703" y="412403"/>
                    <a:pt x="362646" y="399631"/>
                  </a:cubicBezTo>
                  <a:cubicBezTo>
                    <a:pt x="374588" y="386859"/>
                    <a:pt x="362646" y="364135"/>
                    <a:pt x="371437" y="352359"/>
                  </a:cubicBezTo>
                  <a:cubicBezTo>
                    <a:pt x="381821" y="337464"/>
                    <a:pt x="384690" y="318588"/>
                    <a:pt x="379233" y="301271"/>
                  </a:cubicBezTo>
                  <a:cubicBezTo>
                    <a:pt x="371437" y="286509"/>
                    <a:pt x="396981" y="276723"/>
                    <a:pt x="409752" y="264946"/>
                  </a:cubicBezTo>
                  <a:cubicBezTo>
                    <a:pt x="422524" y="253169"/>
                    <a:pt x="394991" y="194120"/>
                    <a:pt x="393996" y="176538"/>
                  </a:cubicBezTo>
                  <a:cubicBezTo>
                    <a:pt x="393000" y="158956"/>
                    <a:pt x="362480" y="182841"/>
                    <a:pt x="352694" y="187817"/>
                  </a:cubicBezTo>
                  <a:close/>
                  <a:moveTo>
                    <a:pt x="137066" y="443254"/>
                  </a:moveTo>
                  <a:cubicBezTo>
                    <a:pt x="133084" y="454036"/>
                    <a:pt x="120479" y="449226"/>
                    <a:pt x="105550" y="452211"/>
                  </a:cubicBezTo>
                  <a:cubicBezTo>
                    <a:pt x="90622" y="455197"/>
                    <a:pt x="88963" y="492517"/>
                    <a:pt x="100740" y="496332"/>
                  </a:cubicBezTo>
                  <a:cubicBezTo>
                    <a:pt x="109531" y="499318"/>
                    <a:pt x="117327" y="499318"/>
                    <a:pt x="119318" y="487541"/>
                  </a:cubicBezTo>
                  <a:cubicBezTo>
                    <a:pt x="123464" y="476976"/>
                    <a:pt x="135406" y="471767"/>
                    <a:pt x="145989" y="475914"/>
                  </a:cubicBezTo>
                  <a:cubicBezTo>
                    <a:pt x="146620" y="476163"/>
                    <a:pt x="147233" y="476445"/>
                    <a:pt x="147847" y="476760"/>
                  </a:cubicBezTo>
                  <a:cubicBezTo>
                    <a:pt x="157799" y="481570"/>
                    <a:pt x="170570" y="461998"/>
                    <a:pt x="170570" y="447235"/>
                  </a:cubicBezTo>
                  <a:cubicBezTo>
                    <a:pt x="170570" y="432473"/>
                    <a:pt x="140714" y="432473"/>
                    <a:pt x="136568" y="443254"/>
                  </a:cubicBezTo>
                  <a:close/>
                  <a:moveTo>
                    <a:pt x="69225" y="481570"/>
                  </a:moveTo>
                  <a:cubicBezTo>
                    <a:pt x="69225" y="471784"/>
                    <a:pt x="47662" y="473775"/>
                    <a:pt x="46667" y="464984"/>
                  </a:cubicBezTo>
                  <a:cubicBezTo>
                    <a:pt x="45672" y="456193"/>
                    <a:pt x="30910" y="461002"/>
                    <a:pt x="16147" y="471784"/>
                  </a:cubicBezTo>
                  <a:cubicBezTo>
                    <a:pt x="1385" y="482566"/>
                    <a:pt x="-3425" y="484556"/>
                    <a:pt x="2380" y="495337"/>
                  </a:cubicBezTo>
                  <a:cubicBezTo>
                    <a:pt x="8186" y="506119"/>
                    <a:pt x="17142" y="496332"/>
                    <a:pt x="21123" y="485551"/>
                  </a:cubicBezTo>
                  <a:cubicBezTo>
                    <a:pt x="25105" y="474770"/>
                    <a:pt x="34890" y="501308"/>
                    <a:pt x="26100" y="518725"/>
                  </a:cubicBezTo>
                  <a:cubicBezTo>
                    <a:pt x="17308" y="536141"/>
                    <a:pt x="27095" y="561353"/>
                    <a:pt x="38871" y="559031"/>
                  </a:cubicBezTo>
                  <a:cubicBezTo>
                    <a:pt x="50648" y="556709"/>
                    <a:pt x="61429" y="521710"/>
                    <a:pt x="76191" y="502967"/>
                  </a:cubicBezTo>
                  <a:cubicBezTo>
                    <a:pt x="90954" y="484224"/>
                    <a:pt x="68727" y="491357"/>
                    <a:pt x="68727" y="481570"/>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3" name="Freeform: Shape 582">
              <a:extLst>
                <a:ext uri="{FF2B5EF4-FFF2-40B4-BE49-F238E27FC236}">
                  <a16:creationId xmlns:a16="http://schemas.microsoft.com/office/drawing/2014/main" id="{9B9D6B7B-C979-4B84-BAA8-C59E1CD12097}"/>
                </a:ext>
              </a:extLst>
            </p:cNvPr>
            <p:cNvSpPr/>
            <p:nvPr/>
          </p:nvSpPr>
          <p:spPr>
            <a:xfrm>
              <a:off x="8638449" y="4168868"/>
              <a:ext cx="264820" cy="371751"/>
            </a:xfrm>
            <a:custGeom>
              <a:avLst/>
              <a:gdLst>
                <a:gd name="connsiteX0" fmla="*/ 166573 w 309687"/>
                <a:gd name="connsiteY0" fmla="*/ 167137 h 443242"/>
                <a:gd name="connsiteX1" fmla="*/ 206879 w 309687"/>
                <a:gd name="connsiteY1" fmla="*/ 196496 h 443242"/>
                <a:gd name="connsiteX2" fmla="*/ 216664 w 309687"/>
                <a:gd name="connsiteY2" fmla="*/ 226020 h 443242"/>
                <a:gd name="connsiteX3" fmla="*/ 230432 w 309687"/>
                <a:gd name="connsiteY3" fmla="*/ 240783 h 443242"/>
                <a:gd name="connsiteX4" fmla="*/ 247018 w 309687"/>
                <a:gd name="connsiteY4" fmla="*/ 282084 h 443242"/>
                <a:gd name="connsiteX5" fmla="*/ 257800 w 309687"/>
                <a:gd name="connsiteY5" fmla="*/ 273128 h 443242"/>
                <a:gd name="connsiteX6" fmla="*/ 272562 w 309687"/>
                <a:gd name="connsiteY6" fmla="*/ 253555 h 443242"/>
                <a:gd name="connsiteX7" fmla="*/ 263605 w 309687"/>
                <a:gd name="connsiteY7" fmla="*/ 213249 h 443242"/>
                <a:gd name="connsiteX8" fmla="*/ 226285 w 309687"/>
                <a:gd name="connsiteY8" fmla="*/ 186710 h 443242"/>
                <a:gd name="connsiteX9" fmla="*/ 203727 w 309687"/>
                <a:gd name="connsiteY9" fmla="*/ 157185 h 443242"/>
                <a:gd name="connsiteX10" fmla="*/ 157781 w 309687"/>
                <a:gd name="connsiteY10" fmla="*/ 149555 h 443242"/>
                <a:gd name="connsiteX11" fmla="*/ 141194 w 309687"/>
                <a:gd name="connsiteY11" fmla="*/ 119036 h 443242"/>
                <a:gd name="connsiteX12" fmla="*/ 163752 w 309687"/>
                <a:gd name="connsiteY12" fmla="*/ 71929 h 443242"/>
                <a:gd name="connsiteX13" fmla="*/ 161762 w 309687"/>
                <a:gd name="connsiteY13" fmla="*/ 17856 h 443242"/>
                <a:gd name="connsiteX14" fmla="*/ 155957 w 309687"/>
                <a:gd name="connsiteY14" fmla="*/ 6079 h 443242"/>
                <a:gd name="connsiteX15" fmla="*/ 107855 w 309687"/>
                <a:gd name="connsiteY15" fmla="*/ 2098 h 443242"/>
                <a:gd name="connsiteX16" fmla="*/ 100888 w 309687"/>
                <a:gd name="connsiteY16" fmla="*/ 79725 h 443242"/>
                <a:gd name="connsiteX17" fmla="*/ 85131 w 309687"/>
                <a:gd name="connsiteY17" fmla="*/ 75910 h 443242"/>
                <a:gd name="connsiteX18" fmla="*/ 93922 w 309687"/>
                <a:gd name="connsiteY18" fmla="*/ 121026 h 443242"/>
                <a:gd name="connsiteX19" fmla="*/ 102879 w 309687"/>
                <a:gd name="connsiteY19" fmla="*/ 146570 h 443242"/>
                <a:gd name="connsiteX20" fmla="*/ 136052 w 309687"/>
                <a:gd name="connsiteY20" fmla="*/ 157351 h 443242"/>
                <a:gd name="connsiteX21" fmla="*/ 166573 w 309687"/>
                <a:gd name="connsiteY21" fmla="*/ 167137 h 443242"/>
                <a:gd name="connsiteX22" fmla="*/ 103708 w 309687"/>
                <a:gd name="connsiteY22" fmla="*/ 175928 h 443242"/>
                <a:gd name="connsiteX23" fmla="*/ 135057 w 309687"/>
                <a:gd name="connsiteY23" fmla="*/ 211258 h 443242"/>
                <a:gd name="connsiteX24" fmla="*/ 103708 w 309687"/>
                <a:gd name="connsiteY24" fmla="*/ 175928 h 443242"/>
                <a:gd name="connsiteX25" fmla="*/ 158610 w 309687"/>
                <a:gd name="connsiteY25" fmla="*/ 271137 h 443242"/>
                <a:gd name="connsiteX26" fmla="*/ 176358 w 309687"/>
                <a:gd name="connsiteY26" fmla="*/ 261351 h 443242"/>
                <a:gd name="connsiteX27" fmla="*/ 179344 w 309687"/>
                <a:gd name="connsiteY27" fmla="*/ 287890 h 443242"/>
                <a:gd name="connsiteX28" fmla="*/ 184320 w 309687"/>
                <a:gd name="connsiteY28" fmla="*/ 324215 h 443242"/>
                <a:gd name="connsiteX29" fmla="*/ 219650 w 309687"/>
                <a:gd name="connsiteY29" fmla="*/ 271137 h 443242"/>
                <a:gd name="connsiteX30" fmla="*/ 206879 w 309687"/>
                <a:gd name="connsiteY30" fmla="*/ 265332 h 443242"/>
                <a:gd name="connsiteX31" fmla="*/ 157118 w 309687"/>
                <a:gd name="connsiteY31" fmla="*/ 226020 h 443242"/>
                <a:gd name="connsiteX32" fmla="*/ 158610 w 309687"/>
                <a:gd name="connsiteY32" fmla="*/ 271137 h 443242"/>
                <a:gd name="connsiteX33" fmla="*/ 42502 w 309687"/>
                <a:gd name="connsiteY33" fmla="*/ 289880 h 443242"/>
                <a:gd name="connsiteX34" fmla="*/ 372 w 309687"/>
                <a:gd name="connsiteY34" fmla="*/ 344948 h 443242"/>
                <a:gd name="connsiteX35" fmla="*/ 60251 w 309687"/>
                <a:gd name="connsiteY35" fmla="*/ 288885 h 443242"/>
                <a:gd name="connsiteX36" fmla="*/ 71612 w 309687"/>
                <a:gd name="connsiteY36" fmla="*/ 257818 h 443242"/>
                <a:gd name="connsiteX37" fmla="*/ 69042 w 309687"/>
                <a:gd name="connsiteY37" fmla="*/ 253555 h 443242"/>
                <a:gd name="connsiteX38" fmla="*/ 42669 w 309687"/>
                <a:gd name="connsiteY38" fmla="*/ 289880 h 443242"/>
                <a:gd name="connsiteX39" fmla="*/ 217493 w 309687"/>
                <a:gd name="connsiteY39" fmla="*/ 309453 h 443242"/>
                <a:gd name="connsiteX40" fmla="*/ 242043 w 309687"/>
                <a:gd name="connsiteY40" fmla="*/ 293861 h 443242"/>
                <a:gd name="connsiteX41" fmla="*/ 217659 w 309687"/>
                <a:gd name="connsiteY41" fmla="*/ 309453 h 443242"/>
                <a:gd name="connsiteX42" fmla="*/ 305901 w 309687"/>
                <a:gd name="connsiteY42" fmla="*/ 386249 h 443242"/>
                <a:gd name="connsiteX43" fmla="*/ 298106 w 309687"/>
                <a:gd name="connsiteY43" fmla="*/ 312438 h 443242"/>
                <a:gd name="connsiteX44" fmla="*/ 274387 w 309687"/>
                <a:gd name="connsiteY44" fmla="*/ 310448 h 443242"/>
                <a:gd name="connsiteX45" fmla="*/ 255809 w 309687"/>
                <a:gd name="connsiteY45" fmla="*/ 328195 h 443242"/>
                <a:gd name="connsiteX46" fmla="*/ 236071 w 309687"/>
                <a:gd name="connsiteY46" fmla="*/ 342958 h 443242"/>
                <a:gd name="connsiteX47" fmla="*/ 206713 w 309687"/>
                <a:gd name="connsiteY47" fmla="*/ 336157 h 443242"/>
                <a:gd name="connsiteX48" fmla="*/ 168397 w 309687"/>
                <a:gd name="connsiteY48" fmla="*/ 358715 h 443242"/>
                <a:gd name="connsiteX49" fmla="*/ 155625 w 309687"/>
                <a:gd name="connsiteY49" fmla="*/ 393050 h 443242"/>
                <a:gd name="connsiteX50" fmla="*/ 184984 w 309687"/>
                <a:gd name="connsiteY50" fmla="*/ 377293 h 443242"/>
                <a:gd name="connsiteX51" fmla="*/ 209698 w 309687"/>
                <a:gd name="connsiteY51" fmla="*/ 368502 h 443242"/>
                <a:gd name="connsiteX52" fmla="*/ 237067 w 309687"/>
                <a:gd name="connsiteY52" fmla="*/ 425561 h 443242"/>
                <a:gd name="connsiteX53" fmla="*/ 271567 w 309687"/>
                <a:gd name="connsiteY53" fmla="*/ 443143 h 443242"/>
                <a:gd name="connsiteX54" fmla="*/ 270571 w 309687"/>
                <a:gd name="connsiteY54" fmla="*/ 400846 h 443242"/>
                <a:gd name="connsiteX55" fmla="*/ 306067 w 309687"/>
                <a:gd name="connsiteY55" fmla="*/ 386249 h 443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9687" h="443242">
                  <a:moveTo>
                    <a:pt x="166573" y="167137"/>
                  </a:moveTo>
                  <a:cubicBezTo>
                    <a:pt x="185315" y="164152"/>
                    <a:pt x="210693" y="187705"/>
                    <a:pt x="206879" y="196496"/>
                  </a:cubicBezTo>
                  <a:cubicBezTo>
                    <a:pt x="203063" y="205287"/>
                    <a:pt x="207874" y="233816"/>
                    <a:pt x="216664" y="226020"/>
                  </a:cubicBezTo>
                  <a:cubicBezTo>
                    <a:pt x="225456" y="218225"/>
                    <a:pt x="239222" y="228011"/>
                    <a:pt x="230432" y="240783"/>
                  </a:cubicBezTo>
                  <a:cubicBezTo>
                    <a:pt x="221640" y="253555"/>
                    <a:pt x="244199" y="266327"/>
                    <a:pt x="247018" y="282084"/>
                  </a:cubicBezTo>
                  <a:cubicBezTo>
                    <a:pt x="249838" y="297842"/>
                    <a:pt x="259791" y="284904"/>
                    <a:pt x="257800" y="273128"/>
                  </a:cubicBezTo>
                  <a:cubicBezTo>
                    <a:pt x="255809" y="261351"/>
                    <a:pt x="259791" y="262346"/>
                    <a:pt x="272562" y="253555"/>
                  </a:cubicBezTo>
                  <a:cubicBezTo>
                    <a:pt x="285334" y="244764"/>
                    <a:pt x="271567" y="230002"/>
                    <a:pt x="263605" y="213249"/>
                  </a:cubicBezTo>
                  <a:cubicBezTo>
                    <a:pt x="255644" y="196496"/>
                    <a:pt x="226285" y="202467"/>
                    <a:pt x="226285" y="186710"/>
                  </a:cubicBezTo>
                  <a:cubicBezTo>
                    <a:pt x="226285" y="170953"/>
                    <a:pt x="204722" y="166142"/>
                    <a:pt x="203727" y="157185"/>
                  </a:cubicBezTo>
                  <a:cubicBezTo>
                    <a:pt x="202732" y="148229"/>
                    <a:pt x="174368" y="139603"/>
                    <a:pt x="157781" y="149555"/>
                  </a:cubicBezTo>
                  <a:cubicBezTo>
                    <a:pt x="141194" y="159508"/>
                    <a:pt x="152805" y="131807"/>
                    <a:pt x="141194" y="119036"/>
                  </a:cubicBezTo>
                  <a:cubicBezTo>
                    <a:pt x="129583" y="106264"/>
                    <a:pt x="149986" y="87686"/>
                    <a:pt x="163752" y="71929"/>
                  </a:cubicBezTo>
                  <a:cubicBezTo>
                    <a:pt x="177520" y="56171"/>
                    <a:pt x="159772" y="29632"/>
                    <a:pt x="161762" y="17856"/>
                  </a:cubicBezTo>
                  <a:cubicBezTo>
                    <a:pt x="163752" y="6079"/>
                    <a:pt x="162757" y="2098"/>
                    <a:pt x="155957" y="6079"/>
                  </a:cubicBezTo>
                  <a:cubicBezTo>
                    <a:pt x="149156" y="10060"/>
                    <a:pt x="120461" y="-5697"/>
                    <a:pt x="107855" y="2098"/>
                  </a:cubicBezTo>
                  <a:cubicBezTo>
                    <a:pt x="95248" y="9894"/>
                    <a:pt x="106859" y="74915"/>
                    <a:pt x="100888" y="79725"/>
                  </a:cubicBezTo>
                  <a:cubicBezTo>
                    <a:pt x="94917" y="84535"/>
                    <a:pt x="87287" y="69275"/>
                    <a:pt x="85131" y="75910"/>
                  </a:cubicBezTo>
                  <a:cubicBezTo>
                    <a:pt x="82974" y="82545"/>
                    <a:pt x="86126" y="121026"/>
                    <a:pt x="93922" y="121026"/>
                  </a:cubicBezTo>
                  <a:cubicBezTo>
                    <a:pt x="101718" y="121026"/>
                    <a:pt x="107855" y="130812"/>
                    <a:pt x="102879" y="146570"/>
                  </a:cubicBezTo>
                  <a:cubicBezTo>
                    <a:pt x="97903" y="162327"/>
                    <a:pt x="117641" y="164318"/>
                    <a:pt x="136052" y="157351"/>
                  </a:cubicBezTo>
                  <a:cubicBezTo>
                    <a:pt x="154464" y="150385"/>
                    <a:pt x="147829" y="169957"/>
                    <a:pt x="166573" y="167137"/>
                  </a:cubicBezTo>
                  <a:close/>
                  <a:moveTo>
                    <a:pt x="103708" y="175928"/>
                  </a:moveTo>
                  <a:cubicBezTo>
                    <a:pt x="106693" y="189696"/>
                    <a:pt x="113495" y="218225"/>
                    <a:pt x="135057" y="211258"/>
                  </a:cubicBezTo>
                  <a:cubicBezTo>
                    <a:pt x="156620" y="204292"/>
                    <a:pt x="101552" y="166142"/>
                    <a:pt x="103708" y="175928"/>
                  </a:cubicBezTo>
                  <a:close/>
                  <a:moveTo>
                    <a:pt x="158610" y="271137"/>
                  </a:moveTo>
                  <a:cubicBezTo>
                    <a:pt x="163586" y="270308"/>
                    <a:pt x="175197" y="271137"/>
                    <a:pt x="176358" y="261351"/>
                  </a:cubicBezTo>
                  <a:cubicBezTo>
                    <a:pt x="177520" y="251564"/>
                    <a:pt x="188135" y="279099"/>
                    <a:pt x="179344" y="287890"/>
                  </a:cubicBezTo>
                  <a:cubicBezTo>
                    <a:pt x="170553" y="296681"/>
                    <a:pt x="170387" y="321063"/>
                    <a:pt x="184320" y="324215"/>
                  </a:cubicBezTo>
                  <a:cubicBezTo>
                    <a:pt x="198253" y="327366"/>
                    <a:pt x="223465" y="280094"/>
                    <a:pt x="219650" y="271137"/>
                  </a:cubicBezTo>
                  <a:cubicBezTo>
                    <a:pt x="215835" y="262180"/>
                    <a:pt x="203063" y="277108"/>
                    <a:pt x="206879" y="265332"/>
                  </a:cubicBezTo>
                  <a:cubicBezTo>
                    <a:pt x="210693" y="253555"/>
                    <a:pt x="171382" y="223035"/>
                    <a:pt x="157118" y="226020"/>
                  </a:cubicBezTo>
                  <a:cubicBezTo>
                    <a:pt x="142853" y="229007"/>
                    <a:pt x="147165" y="273625"/>
                    <a:pt x="158610" y="271137"/>
                  </a:cubicBezTo>
                  <a:close/>
                  <a:moveTo>
                    <a:pt x="42502" y="289880"/>
                  </a:moveTo>
                  <a:cubicBezTo>
                    <a:pt x="28901" y="307628"/>
                    <a:pt x="-3940" y="336986"/>
                    <a:pt x="372" y="344948"/>
                  </a:cubicBezTo>
                  <a:cubicBezTo>
                    <a:pt x="6177" y="355730"/>
                    <a:pt x="42502" y="301657"/>
                    <a:pt x="60251" y="288885"/>
                  </a:cubicBezTo>
                  <a:cubicBezTo>
                    <a:pt x="71961" y="283444"/>
                    <a:pt x="77053" y="269528"/>
                    <a:pt x="71612" y="257818"/>
                  </a:cubicBezTo>
                  <a:cubicBezTo>
                    <a:pt x="70900" y="256308"/>
                    <a:pt x="70053" y="254882"/>
                    <a:pt x="69042" y="253555"/>
                  </a:cubicBezTo>
                  <a:cubicBezTo>
                    <a:pt x="63402" y="241778"/>
                    <a:pt x="56436" y="272298"/>
                    <a:pt x="42669" y="289880"/>
                  </a:cubicBezTo>
                  <a:close/>
                  <a:moveTo>
                    <a:pt x="217493" y="309453"/>
                  </a:moveTo>
                  <a:cubicBezTo>
                    <a:pt x="221475" y="319404"/>
                    <a:pt x="249838" y="303647"/>
                    <a:pt x="242043" y="293861"/>
                  </a:cubicBezTo>
                  <a:cubicBezTo>
                    <a:pt x="234246" y="284074"/>
                    <a:pt x="214674" y="302155"/>
                    <a:pt x="217659" y="309453"/>
                  </a:cubicBezTo>
                  <a:close/>
                  <a:moveTo>
                    <a:pt x="305901" y="386249"/>
                  </a:moveTo>
                  <a:cubicBezTo>
                    <a:pt x="317678" y="372483"/>
                    <a:pt x="298106" y="336489"/>
                    <a:pt x="298106" y="312438"/>
                  </a:cubicBezTo>
                  <a:cubicBezTo>
                    <a:pt x="298106" y="288387"/>
                    <a:pt x="264932" y="295851"/>
                    <a:pt x="274387" y="310448"/>
                  </a:cubicBezTo>
                  <a:cubicBezTo>
                    <a:pt x="283841" y="325044"/>
                    <a:pt x="257800" y="313433"/>
                    <a:pt x="255809" y="328195"/>
                  </a:cubicBezTo>
                  <a:cubicBezTo>
                    <a:pt x="253819" y="342958"/>
                    <a:pt x="235075" y="331181"/>
                    <a:pt x="236071" y="342958"/>
                  </a:cubicBezTo>
                  <a:cubicBezTo>
                    <a:pt x="237067" y="354734"/>
                    <a:pt x="216498" y="342958"/>
                    <a:pt x="206713" y="336157"/>
                  </a:cubicBezTo>
                  <a:cubicBezTo>
                    <a:pt x="196926" y="329357"/>
                    <a:pt x="183160" y="354734"/>
                    <a:pt x="168397" y="358715"/>
                  </a:cubicBezTo>
                  <a:cubicBezTo>
                    <a:pt x="153634" y="362696"/>
                    <a:pt x="145839" y="393880"/>
                    <a:pt x="155625" y="393050"/>
                  </a:cubicBezTo>
                  <a:cubicBezTo>
                    <a:pt x="165411" y="392221"/>
                    <a:pt x="173207" y="376463"/>
                    <a:pt x="184984" y="377293"/>
                  </a:cubicBezTo>
                  <a:cubicBezTo>
                    <a:pt x="196760" y="378122"/>
                    <a:pt x="192945" y="365516"/>
                    <a:pt x="209698" y="368502"/>
                  </a:cubicBezTo>
                  <a:cubicBezTo>
                    <a:pt x="226451" y="371487"/>
                    <a:pt x="214508" y="421579"/>
                    <a:pt x="237067" y="425561"/>
                  </a:cubicBezTo>
                  <a:cubicBezTo>
                    <a:pt x="259625" y="429541"/>
                    <a:pt x="260786" y="443143"/>
                    <a:pt x="271567" y="443143"/>
                  </a:cubicBezTo>
                  <a:cubicBezTo>
                    <a:pt x="282348" y="443143"/>
                    <a:pt x="269576" y="411793"/>
                    <a:pt x="270571" y="400846"/>
                  </a:cubicBezTo>
                  <a:cubicBezTo>
                    <a:pt x="271567" y="389898"/>
                    <a:pt x="294290" y="400017"/>
                    <a:pt x="306067" y="386249"/>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4" name="Freeform: Shape 583">
              <a:extLst>
                <a:ext uri="{FF2B5EF4-FFF2-40B4-BE49-F238E27FC236}">
                  <a16:creationId xmlns:a16="http://schemas.microsoft.com/office/drawing/2014/main" id="{94E59FDB-53C7-4797-8161-51A34E39F67E}"/>
                </a:ext>
              </a:extLst>
            </p:cNvPr>
            <p:cNvSpPr/>
            <p:nvPr/>
          </p:nvSpPr>
          <p:spPr>
            <a:xfrm>
              <a:off x="9314351" y="4771967"/>
              <a:ext cx="352215" cy="224842"/>
            </a:xfrm>
            <a:custGeom>
              <a:avLst/>
              <a:gdLst>
                <a:gd name="connsiteX0" fmla="*/ 302695 w 411890"/>
                <a:gd name="connsiteY0" fmla="*/ 246879 h 268081"/>
                <a:gd name="connsiteX1" fmla="*/ 279141 w 411890"/>
                <a:gd name="connsiteY1" fmla="*/ 224320 h 268081"/>
                <a:gd name="connsiteX2" fmla="*/ 245967 w 411890"/>
                <a:gd name="connsiteY2" fmla="*/ 208563 h 268081"/>
                <a:gd name="connsiteX3" fmla="*/ 222248 w 411890"/>
                <a:gd name="connsiteY3" fmla="*/ 164276 h 268081"/>
                <a:gd name="connsiteX4" fmla="*/ 214453 w 411890"/>
                <a:gd name="connsiteY4" fmla="*/ 136742 h 268081"/>
                <a:gd name="connsiteX5" fmla="*/ 221419 w 411890"/>
                <a:gd name="connsiteY5" fmla="*/ 115179 h 268081"/>
                <a:gd name="connsiteX6" fmla="*/ 155071 w 411890"/>
                <a:gd name="connsiteY6" fmla="*/ 78854 h 268081"/>
                <a:gd name="connsiteX7" fmla="*/ 24533 w 411890"/>
                <a:gd name="connsiteY7" fmla="*/ 7033 h 268081"/>
                <a:gd name="connsiteX8" fmla="*/ -15 w 411890"/>
                <a:gd name="connsiteY8" fmla="*/ -100 h 268081"/>
                <a:gd name="connsiteX9" fmla="*/ -15 w 411890"/>
                <a:gd name="connsiteY9" fmla="*/ 210056 h 268081"/>
                <a:gd name="connsiteX10" fmla="*/ 35315 w 411890"/>
                <a:gd name="connsiteY10" fmla="*/ 221832 h 268081"/>
                <a:gd name="connsiteX11" fmla="*/ 75621 w 411890"/>
                <a:gd name="connsiteY11" fmla="*/ 199275 h 268081"/>
                <a:gd name="connsiteX12" fmla="*/ 95193 w 411890"/>
                <a:gd name="connsiteY12" fmla="*/ 174560 h 268081"/>
                <a:gd name="connsiteX13" fmla="*/ 165024 w 411890"/>
                <a:gd name="connsiteY13" fmla="*/ 190317 h 268081"/>
                <a:gd name="connsiteX14" fmla="*/ 237674 w 411890"/>
                <a:gd name="connsiteY14" fmla="*/ 255172 h 268081"/>
                <a:gd name="connsiteX15" fmla="*/ 307505 w 411890"/>
                <a:gd name="connsiteY15" fmla="*/ 267944 h 268081"/>
                <a:gd name="connsiteX16" fmla="*/ 302695 w 411890"/>
                <a:gd name="connsiteY16" fmla="*/ 246879 h 268081"/>
                <a:gd name="connsiteX17" fmla="*/ 358758 w 411890"/>
                <a:gd name="connsiteY17" fmla="*/ 71888 h 268081"/>
                <a:gd name="connsiteX18" fmla="*/ 318452 w 411890"/>
                <a:gd name="connsiteY18" fmla="*/ 95441 h 268081"/>
                <a:gd name="connsiteX19" fmla="*/ 247626 w 411890"/>
                <a:gd name="connsiteY19" fmla="*/ 98426 h 268081"/>
                <a:gd name="connsiteX20" fmla="*/ 301700 w 411890"/>
                <a:gd name="connsiteY20" fmla="*/ 122975 h 268081"/>
                <a:gd name="connsiteX21" fmla="*/ 370534 w 411890"/>
                <a:gd name="connsiteY21" fmla="*/ 88640 h 268081"/>
                <a:gd name="connsiteX22" fmla="*/ 380321 w 411890"/>
                <a:gd name="connsiteY22" fmla="*/ 59116 h 268081"/>
                <a:gd name="connsiteX23" fmla="*/ 358758 w 411890"/>
                <a:gd name="connsiteY23" fmla="*/ 71888 h 268081"/>
                <a:gd name="connsiteX24" fmla="*/ 391932 w 411890"/>
                <a:gd name="connsiteY24" fmla="*/ 34567 h 268081"/>
                <a:gd name="connsiteX25" fmla="*/ 382145 w 411890"/>
                <a:gd name="connsiteY25" fmla="*/ 36558 h 268081"/>
                <a:gd name="connsiteX26" fmla="*/ 402713 w 411890"/>
                <a:gd name="connsiteY26" fmla="*/ 68073 h 268081"/>
                <a:gd name="connsiteX27" fmla="*/ 392098 w 411890"/>
                <a:gd name="connsiteY27" fmla="*/ 34567 h 26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1890" h="268081">
                  <a:moveTo>
                    <a:pt x="302695" y="246879"/>
                  </a:moveTo>
                  <a:cubicBezTo>
                    <a:pt x="295894" y="243893"/>
                    <a:pt x="278145" y="232116"/>
                    <a:pt x="279141" y="224320"/>
                  </a:cubicBezTo>
                  <a:cubicBezTo>
                    <a:pt x="280137" y="216525"/>
                    <a:pt x="259568" y="217354"/>
                    <a:pt x="245967" y="208563"/>
                  </a:cubicBezTo>
                  <a:cubicBezTo>
                    <a:pt x="232367" y="199772"/>
                    <a:pt x="237010" y="171243"/>
                    <a:pt x="222248" y="164276"/>
                  </a:cubicBezTo>
                  <a:cubicBezTo>
                    <a:pt x="207486" y="157310"/>
                    <a:pt x="196705" y="135747"/>
                    <a:pt x="214453" y="136742"/>
                  </a:cubicBezTo>
                  <a:cubicBezTo>
                    <a:pt x="232201" y="137738"/>
                    <a:pt x="235020" y="127951"/>
                    <a:pt x="221419" y="115179"/>
                  </a:cubicBezTo>
                  <a:cubicBezTo>
                    <a:pt x="207817" y="102407"/>
                    <a:pt x="157394" y="97431"/>
                    <a:pt x="155071" y="78854"/>
                  </a:cubicBezTo>
                  <a:cubicBezTo>
                    <a:pt x="152749" y="60277"/>
                    <a:pt x="63844" y="15990"/>
                    <a:pt x="24533" y="7033"/>
                  </a:cubicBezTo>
                  <a:cubicBezTo>
                    <a:pt x="17567" y="5540"/>
                    <a:pt x="9108" y="2886"/>
                    <a:pt x="-15" y="-100"/>
                  </a:cubicBezTo>
                  <a:lnTo>
                    <a:pt x="-15" y="210056"/>
                  </a:lnTo>
                  <a:cubicBezTo>
                    <a:pt x="10401" y="217271"/>
                    <a:pt x="22659" y="221368"/>
                    <a:pt x="35315" y="221832"/>
                  </a:cubicBezTo>
                  <a:cubicBezTo>
                    <a:pt x="78440" y="223823"/>
                    <a:pt x="68489" y="199275"/>
                    <a:pt x="75621" y="199275"/>
                  </a:cubicBezTo>
                  <a:cubicBezTo>
                    <a:pt x="82753" y="199275"/>
                    <a:pt x="86402" y="185507"/>
                    <a:pt x="95193" y="174560"/>
                  </a:cubicBezTo>
                  <a:cubicBezTo>
                    <a:pt x="103984" y="163613"/>
                    <a:pt x="142465" y="172735"/>
                    <a:pt x="165024" y="190317"/>
                  </a:cubicBezTo>
                  <a:cubicBezTo>
                    <a:pt x="187582" y="207899"/>
                    <a:pt x="214785" y="260148"/>
                    <a:pt x="237674" y="255172"/>
                  </a:cubicBezTo>
                  <a:cubicBezTo>
                    <a:pt x="260563" y="250196"/>
                    <a:pt x="285942" y="268939"/>
                    <a:pt x="307505" y="267944"/>
                  </a:cubicBezTo>
                  <a:cubicBezTo>
                    <a:pt x="329067" y="266949"/>
                    <a:pt x="309661" y="249864"/>
                    <a:pt x="302695" y="246879"/>
                  </a:cubicBezTo>
                  <a:close/>
                  <a:moveTo>
                    <a:pt x="358758" y="71888"/>
                  </a:moveTo>
                  <a:cubicBezTo>
                    <a:pt x="358758" y="80844"/>
                    <a:pt x="343001" y="85655"/>
                    <a:pt x="318452" y="95441"/>
                  </a:cubicBezTo>
                  <a:cubicBezTo>
                    <a:pt x="293903" y="105227"/>
                    <a:pt x="249285" y="84162"/>
                    <a:pt x="247626" y="98426"/>
                  </a:cubicBezTo>
                  <a:cubicBezTo>
                    <a:pt x="246797" y="107383"/>
                    <a:pt x="275160" y="122975"/>
                    <a:pt x="301700" y="122975"/>
                  </a:cubicBezTo>
                  <a:cubicBezTo>
                    <a:pt x="328238" y="122975"/>
                    <a:pt x="370534" y="96436"/>
                    <a:pt x="370534" y="88640"/>
                  </a:cubicBezTo>
                  <a:cubicBezTo>
                    <a:pt x="370534" y="80844"/>
                    <a:pt x="387121" y="67077"/>
                    <a:pt x="380321" y="59116"/>
                  </a:cubicBezTo>
                  <a:cubicBezTo>
                    <a:pt x="373520" y="51154"/>
                    <a:pt x="358758" y="63097"/>
                    <a:pt x="358758" y="71888"/>
                  </a:cubicBezTo>
                  <a:close/>
                  <a:moveTo>
                    <a:pt x="391932" y="34567"/>
                  </a:moveTo>
                  <a:cubicBezTo>
                    <a:pt x="376340" y="24781"/>
                    <a:pt x="362573" y="17981"/>
                    <a:pt x="382145" y="36558"/>
                  </a:cubicBezTo>
                  <a:cubicBezTo>
                    <a:pt x="401718" y="55135"/>
                    <a:pt x="391268" y="71058"/>
                    <a:pt x="402713" y="68073"/>
                  </a:cubicBezTo>
                  <a:cubicBezTo>
                    <a:pt x="421622" y="63097"/>
                    <a:pt x="407855" y="44188"/>
                    <a:pt x="392098" y="34567"/>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5" name="Freeform: Shape 584">
              <a:extLst>
                <a:ext uri="{FF2B5EF4-FFF2-40B4-BE49-F238E27FC236}">
                  <a16:creationId xmlns:a16="http://schemas.microsoft.com/office/drawing/2014/main" id="{2847385E-7D9B-418A-83F3-AB7B0C99DA6D}"/>
                </a:ext>
              </a:extLst>
            </p:cNvPr>
            <p:cNvSpPr/>
            <p:nvPr/>
          </p:nvSpPr>
          <p:spPr>
            <a:xfrm>
              <a:off x="6827409" y="3413329"/>
              <a:ext cx="402074" cy="246476"/>
            </a:xfrm>
            <a:custGeom>
              <a:avLst/>
              <a:gdLst>
                <a:gd name="connsiteX0" fmla="*/ 467694 w 470196"/>
                <a:gd name="connsiteY0" fmla="*/ 186550 h 293875"/>
                <a:gd name="connsiteX1" fmla="*/ 438335 w 470196"/>
                <a:gd name="connsiteY1" fmla="*/ 176598 h 293875"/>
                <a:gd name="connsiteX2" fmla="*/ 403835 w 470196"/>
                <a:gd name="connsiteY2" fmla="*/ 154040 h 293875"/>
                <a:gd name="connsiteX3" fmla="*/ 365519 w 470196"/>
                <a:gd name="connsiteY3" fmla="*/ 131482 h 293875"/>
                <a:gd name="connsiteX4" fmla="*/ 332345 w 470196"/>
                <a:gd name="connsiteY4" fmla="*/ 106933 h 293875"/>
                <a:gd name="connsiteX5" fmla="*/ 317583 w 470196"/>
                <a:gd name="connsiteY5" fmla="*/ 79399 h 293875"/>
                <a:gd name="connsiteX6" fmla="*/ 303816 w 470196"/>
                <a:gd name="connsiteY6" fmla="*/ 57836 h 293875"/>
                <a:gd name="connsiteX7" fmla="*/ 254056 w 470196"/>
                <a:gd name="connsiteY7" fmla="*/ 51865 h 293875"/>
                <a:gd name="connsiteX8" fmla="*/ 242279 w 470196"/>
                <a:gd name="connsiteY8" fmla="*/ 16535 h 293875"/>
                <a:gd name="connsiteX9" fmla="*/ 216735 w 470196"/>
                <a:gd name="connsiteY9" fmla="*/ 7744 h 293875"/>
                <a:gd name="connsiteX10" fmla="*/ 193016 w 470196"/>
                <a:gd name="connsiteY10" fmla="*/ 1772 h 293875"/>
                <a:gd name="connsiteX11" fmla="*/ 179415 w 470196"/>
                <a:gd name="connsiteY11" fmla="*/ 8573 h 293875"/>
                <a:gd name="connsiteX12" fmla="*/ 167472 w 470196"/>
                <a:gd name="connsiteY12" fmla="*/ 21345 h 293875"/>
                <a:gd name="connsiteX13" fmla="*/ 144251 w 470196"/>
                <a:gd name="connsiteY13" fmla="*/ 38595 h 293875"/>
                <a:gd name="connsiteX14" fmla="*/ 132474 w 470196"/>
                <a:gd name="connsiteY14" fmla="*/ 54353 h 293875"/>
                <a:gd name="connsiteX15" fmla="*/ 109087 w 470196"/>
                <a:gd name="connsiteY15" fmla="*/ 48713 h 293875"/>
                <a:gd name="connsiteX16" fmla="*/ 85865 w 470196"/>
                <a:gd name="connsiteY16" fmla="*/ 43239 h 293875"/>
                <a:gd name="connsiteX17" fmla="*/ 45227 w 470196"/>
                <a:gd name="connsiteY17" fmla="*/ 11725 h 293875"/>
                <a:gd name="connsiteX18" fmla="*/ 10893 w 470196"/>
                <a:gd name="connsiteY18" fmla="*/ 29804 h 293875"/>
                <a:gd name="connsiteX19" fmla="*/ 26319 w 470196"/>
                <a:gd name="connsiteY19" fmla="*/ 23833 h 293875"/>
                <a:gd name="connsiteX20" fmla="*/ 51862 w 470196"/>
                <a:gd name="connsiteY20" fmla="*/ 54353 h 293875"/>
                <a:gd name="connsiteX21" fmla="*/ 67620 w 470196"/>
                <a:gd name="connsiteY21" fmla="*/ 73925 h 293875"/>
                <a:gd name="connsiteX22" fmla="*/ 34446 w 470196"/>
                <a:gd name="connsiteY22" fmla="*/ 80892 h 293875"/>
                <a:gd name="connsiteX23" fmla="*/ 3926 w 470196"/>
                <a:gd name="connsiteY23" fmla="*/ 80892 h 293875"/>
                <a:gd name="connsiteX24" fmla="*/ 10893 w 470196"/>
                <a:gd name="connsiteY24" fmla="*/ 108426 h 293875"/>
                <a:gd name="connsiteX25" fmla="*/ 12717 w 470196"/>
                <a:gd name="connsiteY25" fmla="*/ 128993 h 293875"/>
                <a:gd name="connsiteX26" fmla="*/ 31461 w 470196"/>
                <a:gd name="connsiteY26" fmla="*/ 136955 h 293875"/>
                <a:gd name="connsiteX27" fmla="*/ 38427 w 470196"/>
                <a:gd name="connsiteY27" fmla="*/ 163328 h 293875"/>
                <a:gd name="connsiteX28" fmla="*/ 38427 w 470196"/>
                <a:gd name="connsiteY28" fmla="*/ 207947 h 293875"/>
                <a:gd name="connsiteX29" fmla="*/ 65795 w 470196"/>
                <a:gd name="connsiteY29" fmla="*/ 202639 h 293875"/>
                <a:gd name="connsiteX30" fmla="*/ 95319 w 470196"/>
                <a:gd name="connsiteY30" fmla="*/ 182071 h 293875"/>
                <a:gd name="connsiteX31" fmla="*/ 118873 w 470196"/>
                <a:gd name="connsiteY31" fmla="*/ 179086 h 293875"/>
                <a:gd name="connsiteX32" fmla="*/ 157189 w 470196"/>
                <a:gd name="connsiteY32" fmla="*/ 180081 h 293875"/>
                <a:gd name="connsiteX33" fmla="*/ 181737 w 470196"/>
                <a:gd name="connsiteY33" fmla="*/ 190862 h 293875"/>
                <a:gd name="connsiteX34" fmla="*/ 197494 w 470196"/>
                <a:gd name="connsiteY34" fmla="*/ 198824 h 293875"/>
                <a:gd name="connsiteX35" fmla="*/ 226024 w 470196"/>
                <a:gd name="connsiteY35" fmla="*/ 207615 h 293875"/>
                <a:gd name="connsiteX36" fmla="*/ 240786 w 470196"/>
                <a:gd name="connsiteY36" fmla="*/ 219392 h 293875"/>
                <a:gd name="connsiteX37" fmla="*/ 263344 w 470196"/>
                <a:gd name="connsiteY37" fmla="*/ 238135 h 293875"/>
                <a:gd name="connsiteX38" fmla="*/ 286898 w 470196"/>
                <a:gd name="connsiteY38" fmla="*/ 241950 h 293875"/>
                <a:gd name="connsiteX39" fmla="*/ 292869 w 470196"/>
                <a:gd name="connsiteY39" fmla="*/ 282753 h 293875"/>
                <a:gd name="connsiteX40" fmla="*/ 300001 w 470196"/>
                <a:gd name="connsiteY40" fmla="*/ 282753 h 293875"/>
                <a:gd name="connsiteX41" fmla="*/ 323554 w 470196"/>
                <a:gd name="connsiteY41" fmla="*/ 289222 h 293875"/>
                <a:gd name="connsiteX42" fmla="*/ 352415 w 470196"/>
                <a:gd name="connsiteY42" fmla="*/ 278772 h 293875"/>
                <a:gd name="connsiteX43" fmla="*/ 399688 w 470196"/>
                <a:gd name="connsiteY43" fmla="*/ 251238 h 293875"/>
                <a:gd name="connsiteX44" fmla="*/ 419260 w 470196"/>
                <a:gd name="connsiteY44" fmla="*/ 218065 h 293875"/>
                <a:gd name="connsiteX45" fmla="*/ 445634 w 470196"/>
                <a:gd name="connsiteY45" fmla="*/ 201478 h 293875"/>
                <a:gd name="connsiteX46" fmla="*/ 470182 w 470196"/>
                <a:gd name="connsiteY46" fmla="*/ 207449 h 29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70196" h="293875">
                  <a:moveTo>
                    <a:pt x="467694" y="186550"/>
                  </a:moveTo>
                  <a:cubicBezTo>
                    <a:pt x="458521" y="181657"/>
                    <a:pt x="448603" y="178289"/>
                    <a:pt x="438335" y="176598"/>
                  </a:cubicBezTo>
                  <a:cubicBezTo>
                    <a:pt x="430374" y="177593"/>
                    <a:pt x="417602" y="159016"/>
                    <a:pt x="403835" y="154040"/>
                  </a:cubicBezTo>
                  <a:cubicBezTo>
                    <a:pt x="389371" y="149843"/>
                    <a:pt x="376201" y="142080"/>
                    <a:pt x="365519" y="131482"/>
                  </a:cubicBezTo>
                  <a:cubicBezTo>
                    <a:pt x="359714" y="122691"/>
                    <a:pt x="335165" y="113734"/>
                    <a:pt x="332345" y="106933"/>
                  </a:cubicBezTo>
                  <a:cubicBezTo>
                    <a:pt x="328547" y="97197"/>
                    <a:pt x="323588" y="87941"/>
                    <a:pt x="317583" y="79399"/>
                  </a:cubicBezTo>
                  <a:cubicBezTo>
                    <a:pt x="310617" y="70442"/>
                    <a:pt x="310617" y="58665"/>
                    <a:pt x="303816" y="57836"/>
                  </a:cubicBezTo>
                  <a:cubicBezTo>
                    <a:pt x="297015" y="57007"/>
                    <a:pt x="254056" y="57836"/>
                    <a:pt x="254056" y="51865"/>
                  </a:cubicBezTo>
                  <a:cubicBezTo>
                    <a:pt x="254056" y="45893"/>
                    <a:pt x="251070" y="18691"/>
                    <a:pt x="242279" y="16535"/>
                  </a:cubicBezTo>
                  <a:cubicBezTo>
                    <a:pt x="233206" y="15556"/>
                    <a:pt x="224481" y="12554"/>
                    <a:pt x="216735" y="7744"/>
                  </a:cubicBezTo>
                  <a:cubicBezTo>
                    <a:pt x="211759" y="2768"/>
                    <a:pt x="196002" y="-3204"/>
                    <a:pt x="193016" y="1772"/>
                  </a:cubicBezTo>
                  <a:cubicBezTo>
                    <a:pt x="189715" y="5952"/>
                    <a:pt x="184739" y="8440"/>
                    <a:pt x="179415" y="8573"/>
                  </a:cubicBezTo>
                  <a:cubicBezTo>
                    <a:pt x="176429" y="8573"/>
                    <a:pt x="177424" y="22340"/>
                    <a:pt x="167472" y="21345"/>
                  </a:cubicBezTo>
                  <a:cubicBezTo>
                    <a:pt x="156956" y="21876"/>
                    <a:pt x="147800" y="28676"/>
                    <a:pt x="144251" y="38595"/>
                  </a:cubicBezTo>
                  <a:cubicBezTo>
                    <a:pt x="144251" y="45562"/>
                    <a:pt x="145246" y="55182"/>
                    <a:pt x="132474" y="54353"/>
                  </a:cubicBezTo>
                  <a:cubicBezTo>
                    <a:pt x="124413" y="53872"/>
                    <a:pt x="116484" y="51964"/>
                    <a:pt x="109087" y="48713"/>
                  </a:cubicBezTo>
                  <a:cubicBezTo>
                    <a:pt x="107262" y="50206"/>
                    <a:pt x="96647" y="57670"/>
                    <a:pt x="85865" y="43239"/>
                  </a:cubicBezTo>
                  <a:cubicBezTo>
                    <a:pt x="75084" y="28809"/>
                    <a:pt x="55677" y="11725"/>
                    <a:pt x="45227" y="11725"/>
                  </a:cubicBezTo>
                  <a:cubicBezTo>
                    <a:pt x="34778" y="11725"/>
                    <a:pt x="3263" y="11725"/>
                    <a:pt x="10893" y="29804"/>
                  </a:cubicBezTo>
                  <a:cubicBezTo>
                    <a:pt x="13215" y="25823"/>
                    <a:pt x="17527" y="23170"/>
                    <a:pt x="26319" y="23833"/>
                  </a:cubicBezTo>
                  <a:cubicBezTo>
                    <a:pt x="50038" y="25823"/>
                    <a:pt x="39090" y="53357"/>
                    <a:pt x="51862" y="54353"/>
                  </a:cubicBezTo>
                  <a:cubicBezTo>
                    <a:pt x="64634" y="55348"/>
                    <a:pt x="79396" y="74920"/>
                    <a:pt x="67620" y="73925"/>
                  </a:cubicBezTo>
                  <a:cubicBezTo>
                    <a:pt x="55843" y="72930"/>
                    <a:pt x="46057" y="84707"/>
                    <a:pt x="34446" y="80892"/>
                  </a:cubicBezTo>
                  <a:cubicBezTo>
                    <a:pt x="22835" y="77077"/>
                    <a:pt x="7907" y="67125"/>
                    <a:pt x="3926" y="80892"/>
                  </a:cubicBezTo>
                  <a:cubicBezTo>
                    <a:pt x="-55" y="94659"/>
                    <a:pt x="-4865" y="109255"/>
                    <a:pt x="10893" y="108426"/>
                  </a:cubicBezTo>
                  <a:cubicBezTo>
                    <a:pt x="26650" y="107596"/>
                    <a:pt x="23665" y="118212"/>
                    <a:pt x="12717" y="128993"/>
                  </a:cubicBezTo>
                  <a:cubicBezTo>
                    <a:pt x="1770" y="139775"/>
                    <a:pt x="29304" y="127003"/>
                    <a:pt x="31461" y="136955"/>
                  </a:cubicBezTo>
                  <a:cubicBezTo>
                    <a:pt x="33616" y="146907"/>
                    <a:pt x="42242" y="147737"/>
                    <a:pt x="38427" y="163328"/>
                  </a:cubicBezTo>
                  <a:cubicBezTo>
                    <a:pt x="36752" y="178157"/>
                    <a:pt x="36752" y="193118"/>
                    <a:pt x="38427" y="207947"/>
                  </a:cubicBezTo>
                  <a:cubicBezTo>
                    <a:pt x="48877" y="207947"/>
                    <a:pt x="62809" y="206951"/>
                    <a:pt x="65795" y="202639"/>
                  </a:cubicBezTo>
                  <a:cubicBezTo>
                    <a:pt x="68781" y="198326"/>
                    <a:pt x="86528" y="182071"/>
                    <a:pt x="95319" y="182071"/>
                  </a:cubicBezTo>
                  <a:cubicBezTo>
                    <a:pt x="104110" y="182071"/>
                    <a:pt x="114063" y="186052"/>
                    <a:pt x="118873" y="179086"/>
                  </a:cubicBezTo>
                  <a:cubicBezTo>
                    <a:pt x="123683" y="172119"/>
                    <a:pt x="152047" y="174275"/>
                    <a:pt x="157189" y="180081"/>
                  </a:cubicBezTo>
                  <a:cubicBezTo>
                    <a:pt x="164188" y="185919"/>
                    <a:pt x="172697" y="189651"/>
                    <a:pt x="181737" y="190862"/>
                  </a:cubicBezTo>
                  <a:cubicBezTo>
                    <a:pt x="185718" y="190862"/>
                    <a:pt x="187708" y="199819"/>
                    <a:pt x="197494" y="198824"/>
                  </a:cubicBezTo>
                  <a:cubicBezTo>
                    <a:pt x="207281" y="197829"/>
                    <a:pt x="226024" y="201810"/>
                    <a:pt x="226024" y="207615"/>
                  </a:cubicBezTo>
                  <a:cubicBezTo>
                    <a:pt x="227202" y="214747"/>
                    <a:pt x="233571" y="219823"/>
                    <a:pt x="240786" y="219392"/>
                  </a:cubicBezTo>
                  <a:cubicBezTo>
                    <a:pt x="248582" y="219392"/>
                    <a:pt x="255548" y="239130"/>
                    <a:pt x="263344" y="238135"/>
                  </a:cubicBezTo>
                  <a:cubicBezTo>
                    <a:pt x="271140" y="237140"/>
                    <a:pt x="286898" y="237140"/>
                    <a:pt x="286898" y="241950"/>
                  </a:cubicBezTo>
                  <a:cubicBezTo>
                    <a:pt x="287312" y="255733"/>
                    <a:pt x="289303" y="269434"/>
                    <a:pt x="292869" y="282753"/>
                  </a:cubicBezTo>
                  <a:cubicBezTo>
                    <a:pt x="295075" y="281476"/>
                    <a:pt x="297795" y="281476"/>
                    <a:pt x="300001" y="282753"/>
                  </a:cubicBezTo>
                  <a:cubicBezTo>
                    <a:pt x="303816" y="285241"/>
                    <a:pt x="320900" y="280099"/>
                    <a:pt x="323554" y="289222"/>
                  </a:cubicBezTo>
                  <a:cubicBezTo>
                    <a:pt x="326208" y="298345"/>
                    <a:pt x="353743" y="293203"/>
                    <a:pt x="352415" y="278772"/>
                  </a:cubicBezTo>
                  <a:cubicBezTo>
                    <a:pt x="351089" y="264342"/>
                    <a:pt x="395707" y="264342"/>
                    <a:pt x="399688" y="251238"/>
                  </a:cubicBezTo>
                  <a:cubicBezTo>
                    <a:pt x="403669" y="238135"/>
                    <a:pt x="408811" y="214416"/>
                    <a:pt x="419260" y="218065"/>
                  </a:cubicBezTo>
                  <a:cubicBezTo>
                    <a:pt x="429710" y="221714"/>
                    <a:pt x="435847" y="201478"/>
                    <a:pt x="445634" y="201478"/>
                  </a:cubicBezTo>
                  <a:cubicBezTo>
                    <a:pt x="455420" y="201478"/>
                    <a:pt x="460230" y="209274"/>
                    <a:pt x="470182" y="207449"/>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6" name="Freeform: Shape 585">
              <a:extLst>
                <a:ext uri="{FF2B5EF4-FFF2-40B4-BE49-F238E27FC236}">
                  <a16:creationId xmlns:a16="http://schemas.microsoft.com/office/drawing/2014/main" id="{4F6EBE6F-FA8F-47D1-B59A-02E9A387CFAA}"/>
                </a:ext>
              </a:extLst>
            </p:cNvPr>
            <p:cNvSpPr/>
            <p:nvPr/>
          </p:nvSpPr>
          <p:spPr>
            <a:xfrm>
              <a:off x="6649109" y="2953071"/>
              <a:ext cx="1155950" cy="529370"/>
            </a:xfrm>
            <a:custGeom>
              <a:avLst/>
              <a:gdLst>
                <a:gd name="connsiteX0" fmla="*/ 1345150 w 1351798"/>
                <a:gd name="connsiteY0" fmla="*/ 257785 h 631173"/>
                <a:gd name="connsiteX1" fmla="*/ 1333373 w 1351798"/>
                <a:gd name="connsiteY1" fmla="*/ 256790 h 631173"/>
                <a:gd name="connsiteX2" fmla="*/ 1306834 w 1351798"/>
                <a:gd name="connsiteY2" fmla="*/ 261600 h 631173"/>
                <a:gd name="connsiteX3" fmla="*/ 1290247 w 1351798"/>
                <a:gd name="connsiteY3" fmla="*/ 247833 h 631173"/>
                <a:gd name="connsiteX4" fmla="*/ 1283115 w 1351798"/>
                <a:gd name="connsiteY4" fmla="*/ 235393 h 631173"/>
                <a:gd name="connsiteX5" fmla="*/ 1262381 w 1351798"/>
                <a:gd name="connsiteY5" fmla="*/ 218806 h 631173"/>
                <a:gd name="connsiteX6" fmla="*/ 1240984 w 1351798"/>
                <a:gd name="connsiteY6" fmla="*/ 201058 h 631173"/>
                <a:gd name="connsiteX7" fmla="*/ 1207810 w 1351798"/>
                <a:gd name="connsiteY7" fmla="*/ 210678 h 631173"/>
                <a:gd name="connsiteX8" fmla="*/ 1174637 w 1351798"/>
                <a:gd name="connsiteY8" fmla="*/ 205536 h 631173"/>
                <a:gd name="connsiteX9" fmla="*/ 1148927 w 1351798"/>
                <a:gd name="connsiteY9" fmla="*/ 186959 h 631173"/>
                <a:gd name="connsiteX10" fmla="*/ 1129687 w 1351798"/>
                <a:gd name="connsiteY10" fmla="*/ 208356 h 631173"/>
                <a:gd name="connsiteX11" fmla="*/ 1095020 w 1351798"/>
                <a:gd name="connsiteY11" fmla="*/ 148644 h 631173"/>
                <a:gd name="connsiteX12" fmla="*/ 1033980 w 1351798"/>
                <a:gd name="connsiteY12" fmla="*/ 76491 h 631173"/>
                <a:gd name="connsiteX13" fmla="*/ 1024360 w 1351798"/>
                <a:gd name="connsiteY13" fmla="*/ 51445 h 631173"/>
                <a:gd name="connsiteX14" fmla="*/ 1002134 w 1351798"/>
                <a:gd name="connsiteY14" fmla="*/ 49289 h 631173"/>
                <a:gd name="connsiteX15" fmla="*/ 971945 w 1351798"/>
                <a:gd name="connsiteY15" fmla="*/ 65875 h 631173"/>
                <a:gd name="connsiteX16" fmla="*/ 935952 w 1351798"/>
                <a:gd name="connsiteY16" fmla="*/ 80638 h 631173"/>
                <a:gd name="connsiteX17" fmla="*/ 910906 w 1351798"/>
                <a:gd name="connsiteY17" fmla="*/ 86443 h 631173"/>
                <a:gd name="connsiteX18" fmla="*/ 922683 w 1351798"/>
                <a:gd name="connsiteY18" fmla="*/ 65046 h 631173"/>
                <a:gd name="connsiteX19" fmla="*/ 904935 w 1351798"/>
                <a:gd name="connsiteY19" fmla="*/ 62890 h 631173"/>
                <a:gd name="connsiteX20" fmla="*/ 889509 w 1351798"/>
                <a:gd name="connsiteY20" fmla="*/ 60734 h 631173"/>
                <a:gd name="connsiteX21" fmla="*/ 879889 w 1351798"/>
                <a:gd name="connsiteY21" fmla="*/ 58411 h 631173"/>
                <a:gd name="connsiteX22" fmla="*/ 867283 w 1351798"/>
                <a:gd name="connsiteY22" fmla="*/ 50450 h 631173"/>
                <a:gd name="connsiteX23" fmla="*/ 837095 w 1351798"/>
                <a:gd name="connsiteY23" fmla="*/ 55592 h 631173"/>
                <a:gd name="connsiteX24" fmla="*/ 840910 w 1351798"/>
                <a:gd name="connsiteY24" fmla="*/ 41493 h 631173"/>
                <a:gd name="connsiteX25" fmla="*/ 834939 w 1351798"/>
                <a:gd name="connsiteY25" fmla="*/ 17939 h 631173"/>
                <a:gd name="connsiteX26" fmla="*/ 813541 w 1351798"/>
                <a:gd name="connsiteY26" fmla="*/ 4670 h 631173"/>
                <a:gd name="connsiteX27" fmla="*/ 787666 w 1351798"/>
                <a:gd name="connsiteY27" fmla="*/ 1021 h 631173"/>
                <a:gd name="connsiteX28" fmla="*/ 746530 w 1351798"/>
                <a:gd name="connsiteY28" fmla="*/ 10641 h 631173"/>
                <a:gd name="connsiteX29" fmla="*/ 697765 w 1351798"/>
                <a:gd name="connsiteY29" fmla="*/ 27228 h 631173"/>
                <a:gd name="connsiteX30" fmla="*/ 650659 w 1351798"/>
                <a:gd name="connsiteY30" fmla="*/ 36185 h 631173"/>
                <a:gd name="connsiteX31" fmla="*/ 617485 w 1351798"/>
                <a:gd name="connsiteY31" fmla="*/ 46469 h 631173"/>
                <a:gd name="connsiteX32" fmla="*/ 567724 w 1351798"/>
                <a:gd name="connsiteY32" fmla="*/ 56753 h 631173"/>
                <a:gd name="connsiteX33" fmla="*/ 527916 w 1351798"/>
                <a:gd name="connsiteY33" fmla="*/ 61231 h 631173"/>
                <a:gd name="connsiteX34" fmla="*/ 499884 w 1351798"/>
                <a:gd name="connsiteY34" fmla="*/ 62724 h 631173"/>
                <a:gd name="connsiteX35" fmla="*/ 501377 w 1351798"/>
                <a:gd name="connsiteY35" fmla="*/ 90756 h 631173"/>
                <a:gd name="connsiteX36" fmla="*/ 530736 w 1351798"/>
                <a:gd name="connsiteY36" fmla="*/ 105352 h 631173"/>
                <a:gd name="connsiteX37" fmla="*/ 495406 w 1351798"/>
                <a:gd name="connsiteY37" fmla="*/ 111323 h 631173"/>
                <a:gd name="connsiteX38" fmla="*/ 489601 w 1351798"/>
                <a:gd name="connsiteY38" fmla="*/ 134877 h 631173"/>
                <a:gd name="connsiteX39" fmla="*/ 468867 w 1351798"/>
                <a:gd name="connsiteY39" fmla="*/ 152624 h 631173"/>
                <a:gd name="connsiteX40" fmla="*/ 477824 w 1351798"/>
                <a:gd name="connsiteY40" fmla="*/ 170207 h 631173"/>
                <a:gd name="connsiteX41" fmla="*/ 501377 w 1351798"/>
                <a:gd name="connsiteY41" fmla="*/ 177671 h 631173"/>
                <a:gd name="connsiteX42" fmla="*/ 510168 w 1351798"/>
                <a:gd name="connsiteY42" fmla="*/ 201224 h 631173"/>
                <a:gd name="connsiteX43" fmla="*/ 489601 w 1351798"/>
                <a:gd name="connsiteY43" fmla="*/ 213001 h 631173"/>
                <a:gd name="connsiteX44" fmla="*/ 464554 w 1351798"/>
                <a:gd name="connsiteY44" fmla="*/ 202717 h 631173"/>
                <a:gd name="connsiteX45" fmla="*/ 452778 w 1351798"/>
                <a:gd name="connsiteY45" fmla="*/ 219304 h 631173"/>
                <a:gd name="connsiteX46" fmla="*/ 436191 w 1351798"/>
                <a:gd name="connsiteY46" fmla="*/ 208854 h 631173"/>
                <a:gd name="connsiteX47" fmla="*/ 414131 w 1351798"/>
                <a:gd name="connsiteY47" fmla="*/ 198570 h 631173"/>
                <a:gd name="connsiteX48" fmla="*/ 380957 w 1351798"/>
                <a:gd name="connsiteY48" fmla="*/ 197077 h 631173"/>
                <a:gd name="connsiteX49" fmla="*/ 361716 w 1351798"/>
                <a:gd name="connsiteY49" fmla="*/ 195585 h 631173"/>
                <a:gd name="connsiteX50" fmla="*/ 329372 w 1351798"/>
                <a:gd name="connsiteY50" fmla="*/ 206034 h 631173"/>
                <a:gd name="connsiteX51" fmla="*/ 298354 w 1351798"/>
                <a:gd name="connsiteY51" fmla="*/ 208854 h 631173"/>
                <a:gd name="connsiteX52" fmla="*/ 279280 w 1351798"/>
                <a:gd name="connsiteY52" fmla="*/ 208854 h 631173"/>
                <a:gd name="connsiteX53" fmla="*/ 270323 w 1351798"/>
                <a:gd name="connsiteY53" fmla="*/ 204541 h 631173"/>
                <a:gd name="connsiteX54" fmla="*/ 242457 w 1351798"/>
                <a:gd name="connsiteY54" fmla="*/ 180988 h 631173"/>
                <a:gd name="connsiteX55" fmla="*/ 204141 w 1351798"/>
                <a:gd name="connsiteY55" fmla="*/ 169046 h 631173"/>
                <a:gd name="connsiteX56" fmla="*/ 180422 w 1351798"/>
                <a:gd name="connsiteY56" fmla="*/ 169046 h 631173"/>
                <a:gd name="connsiteX57" fmla="*/ 162840 w 1351798"/>
                <a:gd name="connsiteY57" fmla="*/ 169046 h 631173"/>
                <a:gd name="connsiteX58" fmla="*/ 137794 w 1351798"/>
                <a:gd name="connsiteY58" fmla="*/ 176510 h 631173"/>
                <a:gd name="connsiteX59" fmla="*/ 102464 w 1351798"/>
                <a:gd name="connsiteY59" fmla="*/ 193096 h 631173"/>
                <a:gd name="connsiteX60" fmla="*/ 84716 w 1351798"/>
                <a:gd name="connsiteY60" fmla="*/ 209683 h 631173"/>
                <a:gd name="connsiteX61" fmla="*/ 75925 w 1351798"/>
                <a:gd name="connsiteY61" fmla="*/ 227431 h 631173"/>
                <a:gd name="connsiteX62" fmla="*/ 72940 w 1351798"/>
                <a:gd name="connsiteY62" fmla="*/ 247999 h 631173"/>
                <a:gd name="connsiteX63" fmla="*/ 46400 w 1351798"/>
                <a:gd name="connsiteY63" fmla="*/ 225938 h 631173"/>
                <a:gd name="connsiteX64" fmla="*/ 27160 w 1351798"/>
                <a:gd name="connsiteY64" fmla="*/ 237715 h 631173"/>
                <a:gd name="connsiteX65" fmla="*/ 9578 w 1351798"/>
                <a:gd name="connsiteY65" fmla="*/ 258449 h 631173"/>
                <a:gd name="connsiteX66" fmla="*/ 19861 w 1351798"/>
                <a:gd name="connsiteY66" fmla="*/ 275035 h 631173"/>
                <a:gd name="connsiteX67" fmla="*/ 8085 w 1351798"/>
                <a:gd name="connsiteY67" fmla="*/ 285485 h 631173"/>
                <a:gd name="connsiteX68" fmla="*/ 621 w 1351798"/>
                <a:gd name="connsiteY68" fmla="*/ 306053 h 631173"/>
                <a:gd name="connsiteX69" fmla="*/ 19861 w 1351798"/>
                <a:gd name="connsiteY69" fmla="*/ 319322 h 631173"/>
                <a:gd name="connsiteX70" fmla="*/ 25667 w 1351798"/>
                <a:gd name="connsiteY70" fmla="*/ 337070 h 631173"/>
                <a:gd name="connsiteX71" fmla="*/ 49386 w 1351798"/>
                <a:gd name="connsiteY71" fmla="*/ 335577 h 631173"/>
                <a:gd name="connsiteX72" fmla="*/ 69954 w 1351798"/>
                <a:gd name="connsiteY72" fmla="*/ 359131 h 631173"/>
                <a:gd name="connsiteX73" fmla="*/ 74432 w 1351798"/>
                <a:gd name="connsiteY73" fmla="*/ 379698 h 631173"/>
                <a:gd name="connsiteX74" fmla="*/ 81731 w 1351798"/>
                <a:gd name="connsiteY74" fmla="*/ 394461 h 631173"/>
                <a:gd name="connsiteX75" fmla="*/ 92512 w 1351798"/>
                <a:gd name="connsiteY75" fmla="*/ 400929 h 631173"/>
                <a:gd name="connsiteX76" fmla="*/ 98483 w 1351798"/>
                <a:gd name="connsiteY76" fmla="*/ 396451 h 631173"/>
                <a:gd name="connsiteX77" fmla="*/ 168314 w 1351798"/>
                <a:gd name="connsiteY77" fmla="*/ 373893 h 631173"/>
                <a:gd name="connsiteX78" fmla="*/ 219401 w 1351798"/>
                <a:gd name="connsiteY78" fmla="*/ 383679 h 631173"/>
                <a:gd name="connsiteX79" fmla="*/ 223216 w 1351798"/>
                <a:gd name="connsiteY79" fmla="*/ 433440 h 631173"/>
                <a:gd name="connsiteX80" fmla="*/ 190872 w 1351798"/>
                <a:gd name="connsiteY80" fmla="*/ 442231 h 631173"/>
                <a:gd name="connsiteX81" fmla="*/ 149571 w 1351798"/>
                <a:gd name="connsiteY81" fmla="*/ 456993 h 631173"/>
                <a:gd name="connsiteX82" fmla="*/ 144595 w 1351798"/>
                <a:gd name="connsiteY82" fmla="*/ 475736 h 631173"/>
                <a:gd name="connsiteX83" fmla="*/ 128008 w 1351798"/>
                <a:gd name="connsiteY83" fmla="*/ 486517 h 631173"/>
                <a:gd name="connsiteX84" fmla="*/ 153551 w 1351798"/>
                <a:gd name="connsiteY84" fmla="*/ 508080 h 631173"/>
                <a:gd name="connsiteX85" fmla="*/ 164333 w 1351798"/>
                <a:gd name="connsiteY85" fmla="*/ 533624 h 631173"/>
                <a:gd name="connsiteX86" fmla="*/ 187886 w 1351798"/>
                <a:gd name="connsiteY86" fmla="*/ 547391 h 631173"/>
                <a:gd name="connsiteX87" fmla="*/ 203644 w 1351798"/>
                <a:gd name="connsiteY87" fmla="*/ 563978 h 631173"/>
                <a:gd name="connsiteX88" fmla="*/ 214425 w 1351798"/>
                <a:gd name="connsiteY88" fmla="*/ 604284 h 631173"/>
                <a:gd name="connsiteX89" fmla="*/ 218572 w 1351798"/>
                <a:gd name="connsiteY89" fmla="*/ 581726 h 631173"/>
                <a:gd name="connsiteX90" fmla="*/ 252907 w 1351798"/>
                <a:gd name="connsiteY90" fmla="*/ 563646 h 631173"/>
                <a:gd name="connsiteX91" fmla="*/ 293544 w 1351798"/>
                <a:gd name="connsiteY91" fmla="*/ 595161 h 631173"/>
                <a:gd name="connsiteX92" fmla="*/ 317263 w 1351798"/>
                <a:gd name="connsiteY92" fmla="*/ 600469 h 631173"/>
                <a:gd name="connsiteX93" fmla="*/ 321078 w 1351798"/>
                <a:gd name="connsiteY93" fmla="*/ 453510 h 631173"/>
                <a:gd name="connsiteX94" fmla="*/ 405174 w 1351798"/>
                <a:gd name="connsiteY94" fmla="*/ 431118 h 631173"/>
                <a:gd name="connsiteX95" fmla="*/ 407993 w 1351798"/>
                <a:gd name="connsiteY95" fmla="*/ 425478 h 631173"/>
                <a:gd name="connsiteX96" fmla="*/ 438513 w 1351798"/>
                <a:gd name="connsiteY96" fmla="*/ 426473 h 631173"/>
                <a:gd name="connsiteX97" fmla="*/ 452114 w 1351798"/>
                <a:gd name="connsiteY97" fmla="*/ 410716 h 631173"/>
                <a:gd name="connsiteX98" fmla="*/ 460076 w 1351798"/>
                <a:gd name="connsiteY98" fmla="*/ 430288 h 631173"/>
                <a:gd name="connsiteX99" fmla="*/ 477658 w 1351798"/>
                <a:gd name="connsiteY99" fmla="*/ 473912 h 631173"/>
                <a:gd name="connsiteX100" fmla="*/ 516637 w 1351798"/>
                <a:gd name="connsiteY100" fmla="*/ 516374 h 631173"/>
                <a:gd name="connsiteX101" fmla="*/ 559929 w 1351798"/>
                <a:gd name="connsiteY101" fmla="*/ 513886 h 631173"/>
                <a:gd name="connsiteX102" fmla="*/ 626276 w 1351798"/>
                <a:gd name="connsiteY102" fmla="*/ 516374 h 631173"/>
                <a:gd name="connsiteX103" fmla="*/ 652649 w 1351798"/>
                <a:gd name="connsiteY103" fmla="*/ 536112 h 631173"/>
                <a:gd name="connsiteX104" fmla="*/ 660445 w 1351798"/>
                <a:gd name="connsiteY104" fmla="*/ 567627 h 631173"/>
                <a:gd name="connsiteX105" fmla="*/ 678856 w 1351798"/>
                <a:gd name="connsiteY105" fmla="*/ 601796 h 631173"/>
                <a:gd name="connsiteX106" fmla="*/ 707717 w 1351798"/>
                <a:gd name="connsiteY106" fmla="*/ 609592 h 631173"/>
                <a:gd name="connsiteX107" fmla="*/ 735252 w 1351798"/>
                <a:gd name="connsiteY107" fmla="*/ 626179 h 631173"/>
                <a:gd name="connsiteX108" fmla="*/ 751009 w 1351798"/>
                <a:gd name="connsiteY108" fmla="*/ 620871 h 631173"/>
                <a:gd name="connsiteX109" fmla="*/ 785012 w 1351798"/>
                <a:gd name="connsiteY109" fmla="*/ 594664 h 631173"/>
                <a:gd name="connsiteX110" fmla="*/ 804253 w 1351798"/>
                <a:gd name="connsiteY110" fmla="*/ 592839 h 631173"/>
                <a:gd name="connsiteX111" fmla="*/ 814371 w 1351798"/>
                <a:gd name="connsiteY111" fmla="*/ 574262 h 631173"/>
                <a:gd name="connsiteX112" fmla="*/ 834939 w 1351798"/>
                <a:gd name="connsiteY112" fmla="*/ 551704 h 631173"/>
                <a:gd name="connsiteX113" fmla="*/ 880055 w 1351798"/>
                <a:gd name="connsiteY113" fmla="*/ 550708 h 631173"/>
                <a:gd name="connsiteX114" fmla="*/ 909579 w 1351798"/>
                <a:gd name="connsiteY114" fmla="*/ 545733 h 631173"/>
                <a:gd name="connsiteX115" fmla="*/ 944080 w 1351798"/>
                <a:gd name="connsiteY115" fmla="*/ 532131 h 631173"/>
                <a:gd name="connsiteX116" fmla="*/ 988201 w 1351798"/>
                <a:gd name="connsiteY116" fmla="*/ 544737 h 631173"/>
                <a:gd name="connsiteX117" fmla="*/ 1073623 w 1351798"/>
                <a:gd name="connsiteY117" fmla="*/ 549713 h 631173"/>
                <a:gd name="connsiteX118" fmla="*/ 1105138 w 1351798"/>
                <a:gd name="connsiteY118" fmla="*/ 558670 h 631173"/>
                <a:gd name="connsiteX119" fmla="*/ 1133003 w 1351798"/>
                <a:gd name="connsiteY119" fmla="*/ 569452 h 631173"/>
                <a:gd name="connsiteX120" fmla="*/ 1133003 w 1351798"/>
                <a:gd name="connsiteY120" fmla="*/ 555851 h 631173"/>
                <a:gd name="connsiteX121" fmla="*/ 1150585 w 1351798"/>
                <a:gd name="connsiteY121" fmla="*/ 530804 h 631173"/>
                <a:gd name="connsiteX122" fmla="*/ 1137482 w 1351798"/>
                <a:gd name="connsiteY122" fmla="*/ 493981 h 631173"/>
                <a:gd name="connsiteX123" fmla="*/ 1130018 w 1351798"/>
                <a:gd name="connsiteY123" fmla="*/ 465286 h 631173"/>
                <a:gd name="connsiteX124" fmla="*/ 1149093 w 1351798"/>
                <a:gd name="connsiteY124" fmla="*/ 452183 h 631173"/>
                <a:gd name="connsiteX125" fmla="*/ 1180443 w 1351798"/>
                <a:gd name="connsiteY125" fmla="*/ 446046 h 631173"/>
                <a:gd name="connsiteX126" fmla="*/ 1204162 w 1351798"/>
                <a:gd name="connsiteY126" fmla="*/ 452183 h 631173"/>
                <a:gd name="connsiteX127" fmla="*/ 1204162 w 1351798"/>
                <a:gd name="connsiteY127" fmla="*/ 436591 h 631173"/>
                <a:gd name="connsiteX128" fmla="*/ 1224563 w 1351798"/>
                <a:gd name="connsiteY128" fmla="*/ 372566 h 631173"/>
                <a:gd name="connsiteX129" fmla="*/ 1247121 w 1351798"/>
                <a:gd name="connsiteY129" fmla="*/ 372566 h 631173"/>
                <a:gd name="connsiteX130" fmla="*/ 1277641 w 1351798"/>
                <a:gd name="connsiteY130" fmla="*/ 375386 h 631173"/>
                <a:gd name="connsiteX131" fmla="*/ 1308990 w 1351798"/>
                <a:gd name="connsiteY131" fmla="*/ 363775 h 631173"/>
                <a:gd name="connsiteX132" fmla="*/ 1304180 w 1351798"/>
                <a:gd name="connsiteY132" fmla="*/ 337236 h 631173"/>
                <a:gd name="connsiteX133" fmla="*/ 1325908 w 1351798"/>
                <a:gd name="connsiteY133" fmla="*/ 312024 h 631173"/>
                <a:gd name="connsiteX134" fmla="*/ 1340174 w 1351798"/>
                <a:gd name="connsiteY134" fmla="*/ 293779 h 631173"/>
                <a:gd name="connsiteX135" fmla="*/ 1351784 w 1351798"/>
                <a:gd name="connsiteY135" fmla="*/ 272381 h 631173"/>
                <a:gd name="connsiteX136" fmla="*/ 1345150 w 1351798"/>
                <a:gd name="connsiteY136" fmla="*/ 257785 h 631173"/>
                <a:gd name="connsiteX137" fmla="*/ 504197 w 1351798"/>
                <a:gd name="connsiteY137" fmla="*/ 401759 h 631173"/>
                <a:gd name="connsiteX138" fmla="*/ 458251 w 1351798"/>
                <a:gd name="connsiteY138" fmla="*/ 389153 h 631173"/>
                <a:gd name="connsiteX139" fmla="*/ 504197 w 1351798"/>
                <a:gd name="connsiteY139" fmla="*/ 401759 h 631173"/>
                <a:gd name="connsiteX140" fmla="*/ 1062178 w 1351798"/>
                <a:gd name="connsiteY140" fmla="*/ 398276 h 631173"/>
                <a:gd name="connsiteX141" fmla="*/ 949222 w 1351798"/>
                <a:gd name="connsiteY141" fmla="*/ 411047 h 631173"/>
                <a:gd name="connsiteX142" fmla="*/ 931640 w 1351798"/>
                <a:gd name="connsiteY142" fmla="*/ 453344 h 631173"/>
                <a:gd name="connsiteX143" fmla="*/ 927659 w 1351798"/>
                <a:gd name="connsiteY143" fmla="*/ 399271 h 631173"/>
                <a:gd name="connsiteX144" fmla="*/ 1013081 w 1351798"/>
                <a:gd name="connsiteY144" fmla="*/ 386499 h 631173"/>
                <a:gd name="connsiteX145" fmla="*/ 1096015 w 1351798"/>
                <a:gd name="connsiteY145" fmla="*/ 382518 h 631173"/>
                <a:gd name="connsiteX146" fmla="*/ 1062178 w 1351798"/>
                <a:gd name="connsiteY146" fmla="*/ 398276 h 63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351798" h="631173">
                  <a:moveTo>
                    <a:pt x="1345150" y="257785"/>
                  </a:moveTo>
                  <a:cubicBezTo>
                    <a:pt x="1344320" y="250819"/>
                    <a:pt x="1338348" y="253804"/>
                    <a:pt x="1333373" y="256790"/>
                  </a:cubicBezTo>
                  <a:cubicBezTo>
                    <a:pt x="1324847" y="259842"/>
                    <a:pt x="1315890" y="261467"/>
                    <a:pt x="1306834" y="261600"/>
                  </a:cubicBezTo>
                  <a:cubicBezTo>
                    <a:pt x="1301028" y="261600"/>
                    <a:pt x="1290247" y="253804"/>
                    <a:pt x="1290247" y="247833"/>
                  </a:cubicBezTo>
                  <a:cubicBezTo>
                    <a:pt x="1290247" y="241862"/>
                    <a:pt x="1288920" y="235393"/>
                    <a:pt x="1283115" y="235393"/>
                  </a:cubicBezTo>
                  <a:cubicBezTo>
                    <a:pt x="1277309" y="235393"/>
                    <a:pt x="1268353" y="232407"/>
                    <a:pt x="1262381" y="218806"/>
                  </a:cubicBezTo>
                  <a:cubicBezTo>
                    <a:pt x="1256409" y="205205"/>
                    <a:pt x="1247785" y="204707"/>
                    <a:pt x="1240984" y="201058"/>
                  </a:cubicBezTo>
                  <a:cubicBezTo>
                    <a:pt x="1234184" y="197409"/>
                    <a:pt x="1215938" y="207693"/>
                    <a:pt x="1207810" y="210678"/>
                  </a:cubicBezTo>
                  <a:cubicBezTo>
                    <a:pt x="1199683" y="213664"/>
                    <a:pt x="1185584" y="207693"/>
                    <a:pt x="1174637" y="205536"/>
                  </a:cubicBezTo>
                  <a:cubicBezTo>
                    <a:pt x="1163690" y="203380"/>
                    <a:pt x="1158050" y="184803"/>
                    <a:pt x="1148927" y="186959"/>
                  </a:cubicBezTo>
                  <a:cubicBezTo>
                    <a:pt x="1139805" y="189116"/>
                    <a:pt x="1137150" y="208356"/>
                    <a:pt x="1129687" y="208356"/>
                  </a:cubicBezTo>
                  <a:cubicBezTo>
                    <a:pt x="1122223" y="208356"/>
                    <a:pt x="1109118" y="170041"/>
                    <a:pt x="1095020" y="148644"/>
                  </a:cubicBezTo>
                  <a:cubicBezTo>
                    <a:pt x="1080921" y="127247"/>
                    <a:pt x="1056041" y="84619"/>
                    <a:pt x="1033980" y="76491"/>
                  </a:cubicBezTo>
                  <a:cubicBezTo>
                    <a:pt x="1011920" y="68364"/>
                    <a:pt x="1018389" y="57250"/>
                    <a:pt x="1024360" y="51445"/>
                  </a:cubicBezTo>
                  <a:cubicBezTo>
                    <a:pt x="1030331" y="45639"/>
                    <a:pt x="1011091" y="43981"/>
                    <a:pt x="1002134" y="49289"/>
                  </a:cubicBezTo>
                  <a:cubicBezTo>
                    <a:pt x="992945" y="56272"/>
                    <a:pt x="982760" y="61861"/>
                    <a:pt x="971945" y="65875"/>
                  </a:cubicBezTo>
                  <a:cubicBezTo>
                    <a:pt x="961662" y="68032"/>
                    <a:pt x="946900" y="84287"/>
                    <a:pt x="935952" y="80638"/>
                  </a:cubicBezTo>
                  <a:cubicBezTo>
                    <a:pt x="925005" y="76989"/>
                    <a:pt x="919365" y="94571"/>
                    <a:pt x="910906" y="86443"/>
                  </a:cubicBezTo>
                  <a:cubicBezTo>
                    <a:pt x="902447" y="78316"/>
                    <a:pt x="922683" y="72510"/>
                    <a:pt x="922683" y="65046"/>
                  </a:cubicBezTo>
                  <a:cubicBezTo>
                    <a:pt x="922683" y="57582"/>
                    <a:pt x="908584" y="67368"/>
                    <a:pt x="904935" y="62890"/>
                  </a:cubicBezTo>
                  <a:cubicBezTo>
                    <a:pt x="901286" y="58411"/>
                    <a:pt x="889509" y="54099"/>
                    <a:pt x="889509" y="60734"/>
                  </a:cubicBezTo>
                  <a:cubicBezTo>
                    <a:pt x="889509" y="67368"/>
                    <a:pt x="879889" y="63719"/>
                    <a:pt x="879889" y="58411"/>
                  </a:cubicBezTo>
                  <a:cubicBezTo>
                    <a:pt x="879889" y="53103"/>
                    <a:pt x="873254" y="43649"/>
                    <a:pt x="867283" y="50450"/>
                  </a:cubicBezTo>
                  <a:cubicBezTo>
                    <a:pt x="861312" y="57250"/>
                    <a:pt x="841573" y="60734"/>
                    <a:pt x="837095" y="55592"/>
                  </a:cubicBezTo>
                  <a:cubicBezTo>
                    <a:pt x="832616" y="50450"/>
                    <a:pt x="840080" y="48128"/>
                    <a:pt x="840910" y="41493"/>
                  </a:cubicBezTo>
                  <a:cubicBezTo>
                    <a:pt x="841739" y="34858"/>
                    <a:pt x="833446" y="26067"/>
                    <a:pt x="834939" y="17939"/>
                  </a:cubicBezTo>
                  <a:cubicBezTo>
                    <a:pt x="836431" y="9812"/>
                    <a:pt x="820840" y="1353"/>
                    <a:pt x="813541" y="4670"/>
                  </a:cubicBezTo>
                  <a:cubicBezTo>
                    <a:pt x="804767" y="6710"/>
                    <a:pt x="795545" y="5400"/>
                    <a:pt x="787666" y="1021"/>
                  </a:cubicBezTo>
                  <a:cubicBezTo>
                    <a:pt x="779704" y="-2628"/>
                    <a:pt x="748023" y="3177"/>
                    <a:pt x="746530" y="10641"/>
                  </a:cubicBezTo>
                  <a:cubicBezTo>
                    <a:pt x="745038" y="18105"/>
                    <a:pt x="705229" y="23911"/>
                    <a:pt x="697765" y="27228"/>
                  </a:cubicBezTo>
                  <a:cubicBezTo>
                    <a:pt x="682273" y="31209"/>
                    <a:pt x="666532" y="34194"/>
                    <a:pt x="650659" y="36185"/>
                  </a:cubicBezTo>
                  <a:cubicBezTo>
                    <a:pt x="640375" y="37678"/>
                    <a:pt x="630091" y="46469"/>
                    <a:pt x="617485" y="46469"/>
                  </a:cubicBezTo>
                  <a:cubicBezTo>
                    <a:pt x="600285" y="45540"/>
                    <a:pt x="583134" y="49073"/>
                    <a:pt x="567724" y="56753"/>
                  </a:cubicBezTo>
                  <a:cubicBezTo>
                    <a:pt x="555948" y="65544"/>
                    <a:pt x="536707" y="58246"/>
                    <a:pt x="527916" y="61231"/>
                  </a:cubicBezTo>
                  <a:cubicBezTo>
                    <a:pt x="519125" y="64217"/>
                    <a:pt x="504363" y="59738"/>
                    <a:pt x="499884" y="62724"/>
                  </a:cubicBezTo>
                  <a:cubicBezTo>
                    <a:pt x="495406" y="65710"/>
                    <a:pt x="496899" y="83292"/>
                    <a:pt x="501377" y="90756"/>
                  </a:cubicBezTo>
                  <a:cubicBezTo>
                    <a:pt x="505856" y="98220"/>
                    <a:pt x="529409" y="101039"/>
                    <a:pt x="530736" y="105352"/>
                  </a:cubicBezTo>
                  <a:cubicBezTo>
                    <a:pt x="532063" y="109665"/>
                    <a:pt x="507183" y="109831"/>
                    <a:pt x="495406" y="111323"/>
                  </a:cubicBezTo>
                  <a:cubicBezTo>
                    <a:pt x="483630" y="112816"/>
                    <a:pt x="486615" y="127910"/>
                    <a:pt x="489601" y="134877"/>
                  </a:cubicBezTo>
                  <a:cubicBezTo>
                    <a:pt x="492586" y="141843"/>
                    <a:pt x="477824" y="149639"/>
                    <a:pt x="468867" y="152624"/>
                  </a:cubicBezTo>
                  <a:cubicBezTo>
                    <a:pt x="459910" y="155610"/>
                    <a:pt x="468867" y="170207"/>
                    <a:pt x="477824" y="170207"/>
                  </a:cubicBezTo>
                  <a:cubicBezTo>
                    <a:pt x="486781" y="170207"/>
                    <a:pt x="494411" y="177671"/>
                    <a:pt x="501377" y="177671"/>
                  </a:cubicBezTo>
                  <a:cubicBezTo>
                    <a:pt x="508344" y="177671"/>
                    <a:pt x="510168" y="192433"/>
                    <a:pt x="510168" y="201224"/>
                  </a:cubicBezTo>
                  <a:cubicBezTo>
                    <a:pt x="510168" y="210015"/>
                    <a:pt x="501377" y="213001"/>
                    <a:pt x="489601" y="213001"/>
                  </a:cubicBezTo>
                  <a:cubicBezTo>
                    <a:pt x="477824" y="213001"/>
                    <a:pt x="471853" y="204210"/>
                    <a:pt x="464554" y="202717"/>
                  </a:cubicBezTo>
                  <a:cubicBezTo>
                    <a:pt x="457256" y="201224"/>
                    <a:pt x="458583" y="215986"/>
                    <a:pt x="452778" y="219304"/>
                  </a:cubicBezTo>
                  <a:cubicBezTo>
                    <a:pt x="446972" y="222621"/>
                    <a:pt x="445314" y="208854"/>
                    <a:pt x="436191" y="208854"/>
                  </a:cubicBezTo>
                  <a:cubicBezTo>
                    <a:pt x="427068" y="208854"/>
                    <a:pt x="416950" y="207527"/>
                    <a:pt x="414131" y="198570"/>
                  </a:cubicBezTo>
                  <a:cubicBezTo>
                    <a:pt x="411311" y="189613"/>
                    <a:pt x="390411" y="188286"/>
                    <a:pt x="380957" y="197077"/>
                  </a:cubicBezTo>
                  <a:cubicBezTo>
                    <a:pt x="371502" y="205868"/>
                    <a:pt x="369180" y="201556"/>
                    <a:pt x="361716" y="195585"/>
                  </a:cubicBezTo>
                  <a:cubicBezTo>
                    <a:pt x="354252" y="189613"/>
                    <a:pt x="332357" y="198570"/>
                    <a:pt x="329372" y="206034"/>
                  </a:cubicBezTo>
                  <a:cubicBezTo>
                    <a:pt x="326386" y="213498"/>
                    <a:pt x="310131" y="216318"/>
                    <a:pt x="298354" y="208854"/>
                  </a:cubicBezTo>
                  <a:cubicBezTo>
                    <a:pt x="286578" y="201390"/>
                    <a:pt x="279280" y="198570"/>
                    <a:pt x="279280" y="208854"/>
                  </a:cubicBezTo>
                  <a:cubicBezTo>
                    <a:pt x="279280" y="219138"/>
                    <a:pt x="270323" y="210347"/>
                    <a:pt x="270323" y="204541"/>
                  </a:cubicBezTo>
                  <a:cubicBezTo>
                    <a:pt x="270323" y="198736"/>
                    <a:pt x="251248" y="186794"/>
                    <a:pt x="242457" y="180988"/>
                  </a:cubicBezTo>
                  <a:cubicBezTo>
                    <a:pt x="233666" y="175183"/>
                    <a:pt x="205634" y="175017"/>
                    <a:pt x="204141" y="169046"/>
                  </a:cubicBezTo>
                  <a:cubicBezTo>
                    <a:pt x="202649" y="163074"/>
                    <a:pt x="184901" y="158762"/>
                    <a:pt x="180422" y="169046"/>
                  </a:cubicBezTo>
                  <a:cubicBezTo>
                    <a:pt x="175944" y="179329"/>
                    <a:pt x="168645" y="172031"/>
                    <a:pt x="162840" y="169046"/>
                  </a:cubicBezTo>
                  <a:cubicBezTo>
                    <a:pt x="157035" y="166060"/>
                    <a:pt x="143600" y="173524"/>
                    <a:pt x="137794" y="176510"/>
                  </a:cubicBezTo>
                  <a:cubicBezTo>
                    <a:pt x="127079" y="184057"/>
                    <a:pt x="115120" y="189680"/>
                    <a:pt x="102464" y="193096"/>
                  </a:cubicBezTo>
                  <a:cubicBezTo>
                    <a:pt x="92014" y="193096"/>
                    <a:pt x="97986" y="206366"/>
                    <a:pt x="84716" y="209683"/>
                  </a:cubicBezTo>
                  <a:cubicBezTo>
                    <a:pt x="71447" y="213001"/>
                    <a:pt x="74432" y="221460"/>
                    <a:pt x="75925" y="227431"/>
                  </a:cubicBezTo>
                  <a:cubicBezTo>
                    <a:pt x="77418" y="233403"/>
                    <a:pt x="84716" y="244018"/>
                    <a:pt x="72940" y="247999"/>
                  </a:cubicBezTo>
                  <a:cubicBezTo>
                    <a:pt x="61163" y="251980"/>
                    <a:pt x="56353" y="233403"/>
                    <a:pt x="46400" y="225938"/>
                  </a:cubicBezTo>
                  <a:cubicBezTo>
                    <a:pt x="36448" y="218474"/>
                    <a:pt x="27160" y="227431"/>
                    <a:pt x="27160" y="237715"/>
                  </a:cubicBezTo>
                  <a:cubicBezTo>
                    <a:pt x="27160" y="247999"/>
                    <a:pt x="15383" y="247999"/>
                    <a:pt x="9578" y="258449"/>
                  </a:cubicBezTo>
                  <a:cubicBezTo>
                    <a:pt x="3772" y="268898"/>
                    <a:pt x="19861" y="270225"/>
                    <a:pt x="19861" y="275035"/>
                  </a:cubicBezTo>
                  <a:cubicBezTo>
                    <a:pt x="19861" y="279846"/>
                    <a:pt x="11070" y="283992"/>
                    <a:pt x="8085" y="285485"/>
                  </a:cubicBezTo>
                  <a:cubicBezTo>
                    <a:pt x="5099" y="286978"/>
                    <a:pt x="-2199" y="302072"/>
                    <a:pt x="621" y="306053"/>
                  </a:cubicBezTo>
                  <a:cubicBezTo>
                    <a:pt x="3441" y="310034"/>
                    <a:pt x="21354" y="309038"/>
                    <a:pt x="19861" y="319322"/>
                  </a:cubicBezTo>
                  <a:cubicBezTo>
                    <a:pt x="18369" y="329606"/>
                    <a:pt x="16876" y="339890"/>
                    <a:pt x="25667" y="337070"/>
                  </a:cubicBezTo>
                  <a:cubicBezTo>
                    <a:pt x="33429" y="335163"/>
                    <a:pt x="41458" y="334665"/>
                    <a:pt x="49386" y="335577"/>
                  </a:cubicBezTo>
                  <a:cubicBezTo>
                    <a:pt x="55191" y="335577"/>
                    <a:pt x="59670" y="347354"/>
                    <a:pt x="69954" y="359131"/>
                  </a:cubicBezTo>
                  <a:cubicBezTo>
                    <a:pt x="80238" y="370907"/>
                    <a:pt x="84716" y="376713"/>
                    <a:pt x="74432" y="379698"/>
                  </a:cubicBezTo>
                  <a:cubicBezTo>
                    <a:pt x="64149" y="382684"/>
                    <a:pt x="68461" y="388655"/>
                    <a:pt x="81731" y="394461"/>
                  </a:cubicBezTo>
                  <a:cubicBezTo>
                    <a:pt x="85479" y="396351"/>
                    <a:pt x="89078" y="398508"/>
                    <a:pt x="92512" y="400929"/>
                  </a:cubicBezTo>
                  <a:lnTo>
                    <a:pt x="98483" y="396451"/>
                  </a:lnTo>
                  <a:cubicBezTo>
                    <a:pt x="117309" y="379035"/>
                    <a:pt x="142853" y="370775"/>
                    <a:pt x="168314" y="373893"/>
                  </a:cubicBezTo>
                  <a:cubicBezTo>
                    <a:pt x="190872" y="379698"/>
                    <a:pt x="209449" y="369912"/>
                    <a:pt x="219401" y="383679"/>
                  </a:cubicBezTo>
                  <a:cubicBezTo>
                    <a:pt x="229353" y="397446"/>
                    <a:pt x="219401" y="422990"/>
                    <a:pt x="223216" y="433440"/>
                  </a:cubicBezTo>
                  <a:cubicBezTo>
                    <a:pt x="227031" y="443889"/>
                    <a:pt x="205634" y="444221"/>
                    <a:pt x="190872" y="442231"/>
                  </a:cubicBezTo>
                  <a:cubicBezTo>
                    <a:pt x="176110" y="440240"/>
                    <a:pt x="145590" y="448202"/>
                    <a:pt x="149571" y="456993"/>
                  </a:cubicBezTo>
                  <a:cubicBezTo>
                    <a:pt x="153551" y="465784"/>
                    <a:pt x="164333" y="486517"/>
                    <a:pt x="144595" y="475736"/>
                  </a:cubicBezTo>
                  <a:cubicBezTo>
                    <a:pt x="124856" y="464955"/>
                    <a:pt x="117061" y="486517"/>
                    <a:pt x="128008" y="486517"/>
                  </a:cubicBezTo>
                  <a:cubicBezTo>
                    <a:pt x="138955" y="486517"/>
                    <a:pt x="153551" y="499289"/>
                    <a:pt x="153551" y="508080"/>
                  </a:cubicBezTo>
                  <a:cubicBezTo>
                    <a:pt x="153551" y="516871"/>
                    <a:pt x="154546" y="536610"/>
                    <a:pt x="164333" y="533624"/>
                  </a:cubicBezTo>
                  <a:cubicBezTo>
                    <a:pt x="174119" y="530639"/>
                    <a:pt x="174119" y="548386"/>
                    <a:pt x="187886" y="547391"/>
                  </a:cubicBezTo>
                  <a:cubicBezTo>
                    <a:pt x="201653" y="546396"/>
                    <a:pt x="214425" y="551372"/>
                    <a:pt x="203644" y="563978"/>
                  </a:cubicBezTo>
                  <a:cubicBezTo>
                    <a:pt x="192862" y="576584"/>
                    <a:pt x="210444" y="612080"/>
                    <a:pt x="214425" y="604284"/>
                  </a:cubicBezTo>
                  <a:cubicBezTo>
                    <a:pt x="216913" y="599308"/>
                    <a:pt x="214425" y="587697"/>
                    <a:pt x="218572" y="581726"/>
                  </a:cubicBezTo>
                  <a:cubicBezTo>
                    <a:pt x="210942" y="563646"/>
                    <a:pt x="243452" y="563646"/>
                    <a:pt x="252907" y="563646"/>
                  </a:cubicBezTo>
                  <a:cubicBezTo>
                    <a:pt x="262361" y="563646"/>
                    <a:pt x="281768" y="580233"/>
                    <a:pt x="293544" y="595161"/>
                  </a:cubicBezTo>
                  <a:cubicBezTo>
                    <a:pt x="305321" y="610089"/>
                    <a:pt x="317263" y="600469"/>
                    <a:pt x="317263" y="600469"/>
                  </a:cubicBezTo>
                  <a:lnTo>
                    <a:pt x="321078" y="453510"/>
                  </a:lnTo>
                  <a:lnTo>
                    <a:pt x="405174" y="431118"/>
                  </a:lnTo>
                  <a:cubicBezTo>
                    <a:pt x="405837" y="429110"/>
                    <a:pt x="406799" y="427220"/>
                    <a:pt x="407993" y="425478"/>
                  </a:cubicBezTo>
                  <a:cubicBezTo>
                    <a:pt x="418775" y="408891"/>
                    <a:pt x="433371" y="422658"/>
                    <a:pt x="438513" y="426473"/>
                  </a:cubicBezTo>
                  <a:cubicBezTo>
                    <a:pt x="443655" y="430288"/>
                    <a:pt x="440338" y="409886"/>
                    <a:pt x="452114" y="410716"/>
                  </a:cubicBezTo>
                  <a:cubicBezTo>
                    <a:pt x="463891" y="411545"/>
                    <a:pt x="451119" y="430288"/>
                    <a:pt x="460076" y="430288"/>
                  </a:cubicBezTo>
                  <a:cubicBezTo>
                    <a:pt x="469033" y="430288"/>
                    <a:pt x="482634" y="454671"/>
                    <a:pt x="477658" y="473912"/>
                  </a:cubicBezTo>
                  <a:cubicBezTo>
                    <a:pt x="492487" y="486269"/>
                    <a:pt x="505590" y="500550"/>
                    <a:pt x="516637" y="516374"/>
                  </a:cubicBezTo>
                  <a:cubicBezTo>
                    <a:pt x="519291" y="524335"/>
                    <a:pt x="553294" y="511232"/>
                    <a:pt x="559929" y="513886"/>
                  </a:cubicBezTo>
                  <a:cubicBezTo>
                    <a:pt x="581973" y="515992"/>
                    <a:pt x="604133" y="516822"/>
                    <a:pt x="626276" y="516374"/>
                  </a:cubicBezTo>
                  <a:cubicBezTo>
                    <a:pt x="635565" y="516374"/>
                    <a:pt x="642034" y="532961"/>
                    <a:pt x="652649" y="536112"/>
                  </a:cubicBezTo>
                  <a:cubicBezTo>
                    <a:pt x="663265" y="539264"/>
                    <a:pt x="659118" y="555851"/>
                    <a:pt x="660445" y="567627"/>
                  </a:cubicBezTo>
                  <a:cubicBezTo>
                    <a:pt x="661772" y="579404"/>
                    <a:pt x="677032" y="591180"/>
                    <a:pt x="678856" y="601796"/>
                  </a:cubicBezTo>
                  <a:cubicBezTo>
                    <a:pt x="680681" y="612411"/>
                    <a:pt x="697102" y="606938"/>
                    <a:pt x="707717" y="609592"/>
                  </a:cubicBezTo>
                  <a:cubicBezTo>
                    <a:pt x="718333" y="612246"/>
                    <a:pt x="733925" y="616061"/>
                    <a:pt x="735252" y="626179"/>
                  </a:cubicBezTo>
                  <a:cubicBezTo>
                    <a:pt x="736579" y="636297"/>
                    <a:pt x="749682" y="628833"/>
                    <a:pt x="751009" y="620871"/>
                  </a:cubicBezTo>
                  <a:cubicBezTo>
                    <a:pt x="752336" y="612909"/>
                    <a:pt x="765440" y="602460"/>
                    <a:pt x="785012" y="594664"/>
                  </a:cubicBezTo>
                  <a:cubicBezTo>
                    <a:pt x="790967" y="591661"/>
                    <a:pt x="797834" y="591015"/>
                    <a:pt x="804253" y="592839"/>
                  </a:cubicBezTo>
                  <a:cubicBezTo>
                    <a:pt x="806111" y="585939"/>
                    <a:pt x="809577" y="579570"/>
                    <a:pt x="814371" y="574262"/>
                  </a:cubicBezTo>
                  <a:cubicBezTo>
                    <a:pt x="821171" y="571276"/>
                    <a:pt x="833943" y="561490"/>
                    <a:pt x="834939" y="551704"/>
                  </a:cubicBezTo>
                  <a:cubicBezTo>
                    <a:pt x="835934" y="541917"/>
                    <a:pt x="862473" y="541917"/>
                    <a:pt x="880055" y="550708"/>
                  </a:cubicBezTo>
                  <a:cubicBezTo>
                    <a:pt x="897637" y="559500"/>
                    <a:pt x="908584" y="559665"/>
                    <a:pt x="909579" y="545733"/>
                  </a:cubicBezTo>
                  <a:cubicBezTo>
                    <a:pt x="910574" y="531799"/>
                    <a:pt x="936118" y="528150"/>
                    <a:pt x="944080" y="532131"/>
                  </a:cubicBezTo>
                  <a:cubicBezTo>
                    <a:pt x="952042" y="536112"/>
                    <a:pt x="976424" y="549713"/>
                    <a:pt x="988201" y="544737"/>
                  </a:cubicBezTo>
                  <a:cubicBezTo>
                    <a:pt x="999977" y="539761"/>
                    <a:pt x="1059026" y="545733"/>
                    <a:pt x="1073623" y="549713"/>
                  </a:cubicBezTo>
                  <a:cubicBezTo>
                    <a:pt x="1088219" y="553694"/>
                    <a:pt x="1092366" y="543908"/>
                    <a:pt x="1105138" y="558670"/>
                  </a:cubicBezTo>
                  <a:cubicBezTo>
                    <a:pt x="1117910" y="573433"/>
                    <a:pt x="1121724" y="559831"/>
                    <a:pt x="1133003" y="569452"/>
                  </a:cubicBezTo>
                  <a:cubicBezTo>
                    <a:pt x="1133003" y="565637"/>
                    <a:pt x="1133003" y="560826"/>
                    <a:pt x="1133003" y="555851"/>
                  </a:cubicBezTo>
                  <a:cubicBezTo>
                    <a:pt x="1133003" y="546230"/>
                    <a:pt x="1147766" y="538268"/>
                    <a:pt x="1150585" y="530804"/>
                  </a:cubicBezTo>
                  <a:cubicBezTo>
                    <a:pt x="1153406" y="523340"/>
                    <a:pt x="1137482" y="501280"/>
                    <a:pt x="1137482" y="493981"/>
                  </a:cubicBezTo>
                  <a:cubicBezTo>
                    <a:pt x="1137482" y="486683"/>
                    <a:pt x="1137482" y="468935"/>
                    <a:pt x="1130018" y="465286"/>
                  </a:cubicBezTo>
                  <a:cubicBezTo>
                    <a:pt x="1122554" y="461637"/>
                    <a:pt x="1143951" y="452017"/>
                    <a:pt x="1149093" y="452183"/>
                  </a:cubicBezTo>
                  <a:cubicBezTo>
                    <a:pt x="1160040" y="452183"/>
                    <a:pt x="1175632" y="441401"/>
                    <a:pt x="1180443" y="446046"/>
                  </a:cubicBezTo>
                  <a:cubicBezTo>
                    <a:pt x="1187359" y="450872"/>
                    <a:pt x="1195768" y="453045"/>
                    <a:pt x="1204162" y="452183"/>
                  </a:cubicBezTo>
                  <a:cubicBezTo>
                    <a:pt x="1213781" y="452183"/>
                    <a:pt x="1209634" y="441401"/>
                    <a:pt x="1204162" y="436591"/>
                  </a:cubicBezTo>
                  <a:cubicBezTo>
                    <a:pt x="1198688" y="431781"/>
                    <a:pt x="1220748" y="387660"/>
                    <a:pt x="1224563" y="372566"/>
                  </a:cubicBezTo>
                  <a:cubicBezTo>
                    <a:pt x="1228378" y="357472"/>
                    <a:pt x="1236174" y="371239"/>
                    <a:pt x="1247121" y="372566"/>
                  </a:cubicBezTo>
                  <a:cubicBezTo>
                    <a:pt x="1257372" y="372317"/>
                    <a:pt x="1267606" y="373263"/>
                    <a:pt x="1277641" y="375386"/>
                  </a:cubicBezTo>
                  <a:cubicBezTo>
                    <a:pt x="1289351" y="376812"/>
                    <a:pt x="1301028" y="372483"/>
                    <a:pt x="1308990" y="363775"/>
                  </a:cubicBezTo>
                  <a:cubicBezTo>
                    <a:pt x="1313634" y="356311"/>
                    <a:pt x="1303517" y="354320"/>
                    <a:pt x="1304180" y="337236"/>
                  </a:cubicBezTo>
                  <a:cubicBezTo>
                    <a:pt x="1304844" y="320152"/>
                    <a:pt x="1315127" y="312024"/>
                    <a:pt x="1325908" y="312024"/>
                  </a:cubicBezTo>
                  <a:cubicBezTo>
                    <a:pt x="1336690" y="312024"/>
                    <a:pt x="1340174" y="301906"/>
                    <a:pt x="1340174" y="293779"/>
                  </a:cubicBezTo>
                  <a:cubicBezTo>
                    <a:pt x="1340174" y="285651"/>
                    <a:pt x="1349130" y="281670"/>
                    <a:pt x="1351784" y="272381"/>
                  </a:cubicBezTo>
                  <a:cubicBezTo>
                    <a:pt x="1348252" y="268235"/>
                    <a:pt x="1345963" y="263176"/>
                    <a:pt x="1345150" y="257785"/>
                  </a:cubicBezTo>
                  <a:close/>
                  <a:moveTo>
                    <a:pt x="504197" y="401759"/>
                  </a:moveTo>
                  <a:cubicBezTo>
                    <a:pt x="500382" y="407067"/>
                    <a:pt x="461569" y="397114"/>
                    <a:pt x="458251" y="389153"/>
                  </a:cubicBezTo>
                  <a:cubicBezTo>
                    <a:pt x="454934" y="381191"/>
                    <a:pt x="512822" y="390148"/>
                    <a:pt x="504197" y="401759"/>
                  </a:cubicBezTo>
                  <a:close/>
                  <a:moveTo>
                    <a:pt x="1062178" y="398276"/>
                  </a:moveTo>
                  <a:cubicBezTo>
                    <a:pt x="1034810" y="398276"/>
                    <a:pt x="973770" y="384509"/>
                    <a:pt x="949222" y="411047"/>
                  </a:cubicBezTo>
                  <a:cubicBezTo>
                    <a:pt x="924673" y="437586"/>
                    <a:pt x="942421" y="451353"/>
                    <a:pt x="931640" y="453344"/>
                  </a:cubicBezTo>
                  <a:cubicBezTo>
                    <a:pt x="920858" y="455334"/>
                    <a:pt x="913892" y="412872"/>
                    <a:pt x="927659" y="399271"/>
                  </a:cubicBezTo>
                  <a:cubicBezTo>
                    <a:pt x="941426" y="385670"/>
                    <a:pt x="985547" y="379532"/>
                    <a:pt x="1013081" y="386499"/>
                  </a:cubicBezTo>
                  <a:cubicBezTo>
                    <a:pt x="1040615" y="393465"/>
                    <a:pt x="1089712" y="380528"/>
                    <a:pt x="1096015" y="382518"/>
                  </a:cubicBezTo>
                  <a:cubicBezTo>
                    <a:pt x="1102318" y="384509"/>
                    <a:pt x="1089712" y="398276"/>
                    <a:pt x="1062178" y="398276"/>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7" name="Freeform: Shape 586">
              <a:extLst>
                <a:ext uri="{FF2B5EF4-FFF2-40B4-BE49-F238E27FC236}">
                  <a16:creationId xmlns:a16="http://schemas.microsoft.com/office/drawing/2014/main" id="{B6C2DFCF-68BA-4A61-B0D8-31104750F8B1}"/>
                </a:ext>
              </a:extLst>
            </p:cNvPr>
            <p:cNvSpPr/>
            <p:nvPr/>
          </p:nvSpPr>
          <p:spPr>
            <a:xfrm>
              <a:off x="5887419" y="1640600"/>
              <a:ext cx="4851214" cy="1818635"/>
            </a:xfrm>
            <a:custGeom>
              <a:avLst/>
              <a:gdLst>
                <a:gd name="connsiteX0" fmla="*/ 86071 w 5673136"/>
                <a:gd name="connsiteY0" fmla="*/ 1570370 h 2168375"/>
                <a:gd name="connsiteX1" fmla="*/ 66166 w 5673136"/>
                <a:gd name="connsiteY1" fmla="*/ 1562906 h 2168375"/>
                <a:gd name="connsiteX2" fmla="*/ 45930 w 5673136"/>
                <a:gd name="connsiteY2" fmla="*/ 1561081 h 2168375"/>
                <a:gd name="connsiteX3" fmla="*/ 51072 w 5673136"/>
                <a:gd name="connsiteY3" fmla="*/ 1566057 h 2168375"/>
                <a:gd name="connsiteX4" fmla="*/ 40291 w 5673136"/>
                <a:gd name="connsiteY4" fmla="*/ 1584303 h 2168375"/>
                <a:gd name="connsiteX5" fmla="*/ 24534 w 5673136"/>
                <a:gd name="connsiteY5" fmla="*/ 1584303 h 2168375"/>
                <a:gd name="connsiteX6" fmla="*/ 1975 w 5673136"/>
                <a:gd name="connsiteY6" fmla="*/ 1585796 h 2168375"/>
                <a:gd name="connsiteX7" fmla="*/ -15 w 5673136"/>
                <a:gd name="connsiteY7" fmla="*/ 1593591 h 2168375"/>
                <a:gd name="connsiteX8" fmla="*/ 16572 w 5673136"/>
                <a:gd name="connsiteY8" fmla="*/ 1599729 h 2168375"/>
                <a:gd name="connsiteX9" fmla="*/ 102989 w 5673136"/>
                <a:gd name="connsiteY9" fmla="*/ 1603378 h 2168375"/>
                <a:gd name="connsiteX10" fmla="*/ 104316 w 5673136"/>
                <a:gd name="connsiteY10" fmla="*/ 1581317 h 2168375"/>
                <a:gd name="connsiteX11" fmla="*/ 86071 w 5673136"/>
                <a:gd name="connsiteY11" fmla="*/ 1570370 h 2168375"/>
                <a:gd name="connsiteX12" fmla="*/ 1507894 w 5673136"/>
                <a:gd name="connsiteY12" fmla="*/ 56821 h 2168375"/>
                <a:gd name="connsiteX13" fmla="*/ 1524481 w 5673136"/>
                <a:gd name="connsiteY13" fmla="*/ 28292 h 2168375"/>
                <a:gd name="connsiteX14" fmla="*/ 1491307 w 5673136"/>
                <a:gd name="connsiteY14" fmla="*/ 39073 h 2168375"/>
                <a:gd name="connsiteX15" fmla="*/ 1451996 w 5673136"/>
                <a:gd name="connsiteY15" fmla="*/ 53836 h 2168375"/>
                <a:gd name="connsiteX16" fmla="*/ 1507894 w 5673136"/>
                <a:gd name="connsiteY16" fmla="*/ 56821 h 2168375"/>
                <a:gd name="connsiteX17" fmla="*/ 1697481 w 5673136"/>
                <a:gd name="connsiteY17" fmla="*/ 603192 h 2168375"/>
                <a:gd name="connsiteX18" fmla="*/ 1748569 w 5673136"/>
                <a:gd name="connsiteY18" fmla="*/ 591415 h 2168375"/>
                <a:gd name="connsiteX19" fmla="*/ 1712244 w 5673136"/>
                <a:gd name="connsiteY19" fmla="*/ 576653 h 2168375"/>
                <a:gd name="connsiteX20" fmla="*/ 1697481 w 5673136"/>
                <a:gd name="connsiteY20" fmla="*/ 603192 h 2168375"/>
                <a:gd name="connsiteX21" fmla="*/ 2423653 w 5673136"/>
                <a:gd name="connsiteY21" fmla="*/ 101108 h 2168375"/>
                <a:gd name="connsiteX22" fmla="*/ 2415857 w 5673136"/>
                <a:gd name="connsiteY22" fmla="*/ 113880 h 2168375"/>
                <a:gd name="connsiteX23" fmla="*/ 2392304 w 5673136"/>
                <a:gd name="connsiteY23" fmla="*/ 125657 h 2168375"/>
                <a:gd name="connsiteX24" fmla="*/ 2421663 w 5673136"/>
                <a:gd name="connsiteY24" fmla="*/ 145229 h 2168375"/>
                <a:gd name="connsiteX25" fmla="*/ 2460973 w 5673136"/>
                <a:gd name="connsiteY25" fmla="*/ 121676 h 2168375"/>
                <a:gd name="connsiteX26" fmla="*/ 2552366 w 5673136"/>
                <a:gd name="connsiteY26" fmla="*/ 94142 h 2168375"/>
                <a:gd name="connsiteX27" fmla="*/ 2561158 w 5673136"/>
                <a:gd name="connsiteY27" fmla="*/ 66608 h 2168375"/>
                <a:gd name="connsiteX28" fmla="*/ 2547390 w 5673136"/>
                <a:gd name="connsiteY28" fmla="*/ 51016 h 2168375"/>
                <a:gd name="connsiteX29" fmla="*/ 2522842 w 5673136"/>
                <a:gd name="connsiteY29" fmla="*/ 16515 h 2168375"/>
                <a:gd name="connsiteX30" fmla="*/ 2474740 w 5673136"/>
                <a:gd name="connsiteY30" fmla="*/ 33102 h 2168375"/>
                <a:gd name="connsiteX31" fmla="*/ 2437419 w 5673136"/>
                <a:gd name="connsiteY31" fmla="*/ 55660 h 2168375"/>
                <a:gd name="connsiteX32" fmla="*/ 2422658 w 5673136"/>
                <a:gd name="connsiteY32" fmla="*/ 78218 h 2168375"/>
                <a:gd name="connsiteX33" fmla="*/ 2423653 w 5673136"/>
                <a:gd name="connsiteY33" fmla="*/ 101108 h 2168375"/>
                <a:gd name="connsiteX34" fmla="*/ 2475735 w 5673136"/>
                <a:gd name="connsiteY34" fmla="*/ 128642 h 2168375"/>
                <a:gd name="connsiteX35" fmla="*/ 2453177 w 5673136"/>
                <a:gd name="connsiteY35" fmla="*/ 158001 h 2168375"/>
                <a:gd name="connsiteX36" fmla="*/ 2477725 w 5673136"/>
                <a:gd name="connsiteY36" fmla="*/ 164968 h 2168375"/>
                <a:gd name="connsiteX37" fmla="*/ 2510899 w 5673136"/>
                <a:gd name="connsiteY37" fmla="*/ 187526 h 2168375"/>
                <a:gd name="connsiteX38" fmla="*/ 2605278 w 5673136"/>
                <a:gd name="connsiteY38" fmla="*/ 207098 h 2168375"/>
                <a:gd name="connsiteX39" fmla="*/ 2627837 w 5673136"/>
                <a:gd name="connsiteY39" fmla="*/ 182550 h 2168375"/>
                <a:gd name="connsiteX40" fmla="*/ 2642598 w 5673136"/>
                <a:gd name="connsiteY40" fmla="*/ 145229 h 2168375"/>
                <a:gd name="connsiteX41" fmla="*/ 2592838 w 5673136"/>
                <a:gd name="connsiteY41" fmla="*/ 123666 h 2168375"/>
                <a:gd name="connsiteX42" fmla="*/ 2568290 w 5673136"/>
                <a:gd name="connsiteY42" fmla="*/ 108904 h 2168375"/>
                <a:gd name="connsiteX43" fmla="*/ 2475735 w 5673136"/>
                <a:gd name="connsiteY43" fmla="*/ 128642 h 2168375"/>
                <a:gd name="connsiteX44" fmla="*/ 1984433 w 5673136"/>
                <a:gd name="connsiteY44" fmla="*/ 617954 h 2168375"/>
                <a:gd name="connsiteX45" fmla="*/ 2009977 w 5673136"/>
                <a:gd name="connsiteY45" fmla="*/ 607007 h 2168375"/>
                <a:gd name="connsiteX46" fmla="*/ 1984433 w 5673136"/>
                <a:gd name="connsiteY46" fmla="*/ 617954 h 2168375"/>
                <a:gd name="connsiteX47" fmla="*/ 2398109 w 5673136"/>
                <a:gd name="connsiteY47" fmla="*/ 31278 h 2168375"/>
                <a:gd name="connsiteX48" fmla="*/ 2353822 w 5673136"/>
                <a:gd name="connsiteY48" fmla="*/ 37249 h 2168375"/>
                <a:gd name="connsiteX49" fmla="*/ 2398109 w 5673136"/>
                <a:gd name="connsiteY49" fmla="*/ 31278 h 2168375"/>
                <a:gd name="connsiteX50" fmla="*/ 5290023 w 5673136"/>
                <a:gd name="connsiteY50" fmla="*/ 744511 h 2168375"/>
                <a:gd name="connsiteX51" fmla="*/ 5337129 w 5673136"/>
                <a:gd name="connsiteY51" fmla="*/ 743516 h 2168375"/>
                <a:gd name="connsiteX52" fmla="*/ 5406794 w 5673136"/>
                <a:gd name="connsiteY52" fmla="*/ 735720 h 2168375"/>
                <a:gd name="connsiteX53" fmla="*/ 5370469 w 5673136"/>
                <a:gd name="connsiteY53" fmla="*/ 707191 h 2168375"/>
                <a:gd name="connsiteX54" fmla="*/ 5290023 w 5673136"/>
                <a:gd name="connsiteY54" fmla="*/ 743682 h 2168375"/>
                <a:gd name="connsiteX55" fmla="*/ 2628500 w 5673136"/>
                <a:gd name="connsiteY55" fmla="*/ 267142 h 2168375"/>
                <a:gd name="connsiteX56" fmla="*/ 2715913 w 5673136"/>
                <a:gd name="connsiteY56" fmla="*/ 258351 h 2168375"/>
                <a:gd name="connsiteX57" fmla="*/ 2831026 w 5673136"/>
                <a:gd name="connsiteY57" fmla="*/ 220036 h 2168375"/>
                <a:gd name="connsiteX58" fmla="*/ 2787733 w 5673136"/>
                <a:gd name="connsiteY58" fmla="*/ 191506 h 2168375"/>
                <a:gd name="connsiteX59" fmla="*/ 2739632 w 5673136"/>
                <a:gd name="connsiteY59" fmla="*/ 201293 h 2168375"/>
                <a:gd name="connsiteX60" fmla="*/ 2743447 w 5673136"/>
                <a:gd name="connsiteY60" fmla="*/ 183545 h 2168375"/>
                <a:gd name="connsiteX61" fmla="*/ 2723874 w 5673136"/>
                <a:gd name="connsiteY61" fmla="*/ 161982 h 2168375"/>
                <a:gd name="connsiteX62" fmla="*/ 2688544 w 5673136"/>
                <a:gd name="connsiteY62" fmla="*/ 174754 h 2168375"/>
                <a:gd name="connsiteX63" fmla="*/ 2676767 w 5673136"/>
                <a:gd name="connsiteY63" fmla="*/ 201293 h 2168375"/>
                <a:gd name="connsiteX64" fmla="*/ 2652053 w 5673136"/>
                <a:gd name="connsiteY64" fmla="*/ 220036 h 2168375"/>
                <a:gd name="connsiteX65" fmla="*/ 2628500 w 5673136"/>
                <a:gd name="connsiteY65" fmla="*/ 267142 h 2168375"/>
                <a:gd name="connsiteX66" fmla="*/ 3896065 w 5673136"/>
                <a:gd name="connsiteY66" fmla="*/ 469502 h 2168375"/>
                <a:gd name="connsiteX67" fmla="*/ 3922605 w 5673136"/>
                <a:gd name="connsiteY67" fmla="*/ 491230 h 2168375"/>
                <a:gd name="connsiteX68" fmla="*/ 3972365 w 5673136"/>
                <a:gd name="connsiteY68" fmla="*/ 483269 h 2168375"/>
                <a:gd name="connsiteX69" fmla="*/ 4003880 w 5673136"/>
                <a:gd name="connsiteY69" fmla="*/ 489240 h 2168375"/>
                <a:gd name="connsiteX70" fmla="*/ 4062763 w 5673136"/>
                <a:gd name="connsiteY70" fmla="*/ 483269 h 2168375"/>
                <a:gd name="connsiteX71" fmla="*/ 4059943 w 5673136"/>
                <a:gd name="connsiteY71" fmla="*/ 444953 h 2168375"/>
                <a:gd name="connsiteX72" fmla="*/ 4077525 w 5673136"/>
                <a:gd name="connsiteY72" fmla="*/ 450924 h 2168375"/>
                <a:gd name="connsiteX73" fmla="*/ 4120817 w 5673136"/>
                <a:gd name="connsiteY73" fmla="*/ 481278 h 2168375"/>
                <a:gd name="connsiteX74" fmla="*/ 4144371 w 5673136"/>
                <a:gd name="connsiteY74" fmla="*/ 452915 h 2168375"/>
                <a:gd name="connsiteX75" fmla="*/ 4135579 w 5673136"/>
                <a:gd name="connsiteY75" fmla="*/ 424386 h 2168375"/>
                <a:gd name="connsiteX76" fmla="*/ 4063759 w 5673136"/>
                <a:gd name="connsiteY76" fmla="*/ 410618 h 2168375"/>
                <a:gd name="connsiteX77" fmla="*/ 4016652 w 5673136"/>
                <a:gd name="connsiteY77" fmla="*/ 422395 h 2168375"/>
                <a:gd name="connsiteX78" fmla="*/ 3952793 w 5673136"/>
                <a:gd name="connsiteY78" fmla="*/ 391875 h 2168375"/>
                <a:gd name="connsiteX79" fmla="*/ 3895568 w 5673136"/>
                <a:gd name="connsiteY79" fmla="*/ 469502 h 2168375"/>
                <a:gd name="connsiteX80" fmla="*/ 4101410 w 5673136"/>
                <a:gd name="connsiteY80" fmla="*/ 595230 h 2168375"/>
                <a:gd name="connsiteX81" fmla="*/ 4058285 w 5673136"/>
                <a:gd name="connsiteY81" fmla="*/ 554094 h 2168375"/>
                <a:gd name="connsiteX82" fmla="*/ 4003217 w 5673136"/>
                <a:gd name="connsiteY82" fmla="*/ 579638 h 2168375"/>
                <a:gd name="connsiteX83" fmla="*/ 4100913 w 5673136"/>
                <a:gd name="connsiteY83" fmla="*/ 595230 h 2168375"/>
                <a:gd name="connsiteX84" fmla="*/ 4021794 w 5673136"/>
                <a:gd name="connsiteY84" fmla="*/ 530375 h 2168375"/>
                <a:gd name="connsiteX85" fmla="*/ 3990444 w 5673136"/>
                <a:gd name="connsiteY85" fmla="*/ 543313 h 2168375"/>
                <a:gd name="connsiteX86" fmla="*/ 4021794 w 5673136"/>
                <a:gd name="connsiteY86" fmla="*/ 530375 h 2168375"/>
                <a:gd name="connsiteX87" fmla="*/ 4192804 w 5673136"/>
                <a:gd name="connsiteY87" fmla="*/ 468507 h 2168375"/>
                <a:gd name="connsiteX88" fmla="*/ 4273416 w 5673136"/>
                <a:gd name="connsiteY88" fmla="*/ 496041 h 2168375"/>
                <a:gd name="connsiteX89" fmla="*/ 4353032 w 5673136"/>
                <a:gd name="connsiteY89" fmla="*/ 479454 h 2168375"/>
                <a:gd name="connsiteX90" fmla="*/ 4298960 w 5673136"/>
                <a:gd name="connsiteY90" fmla="*/ 462867 h 2168375"/>
                <a:gd name="connsiteX91" fmla="*/ 4260645 w 5673136"/>
                <a:gd name="connsiteY91" fmla="*/ 454905 h 2168375"/>
                <a:gd name="connsiteX92" fmla="*/ 4215362 w 5673136"/>
                <a:gd name="connsiteY92" fmla="*/ 445119 h 2168375"/>
                <a:gd name="connsiteX93" fmla="*/ 4193302 w 5673136"/>
                <a:gd name="connsiteY93" fmla="*/ 468507 h 2168375"/>
                <a:gd name="connsiteX94" fmla="*/ 910436 w 5673136"/>
                <a:gd name="connsiteY94" fmla="*/ 69593 h 2168375"/>
                <a:gd name="connsiteX95" fmla="*/ 966334 w 5673136"/>
                <a:gd name="connsiteY95" fmla="*/ 58812 h 2168375"/>
                <a:gd name="connsiteX96" fmla="*/ 907450 w 5673136"/>
                <a:gd name="connsiteY96" fmla="*/ 54831 h 2168375"/>
                <a:gd name="connsiteX97" fmla="*/ 856363 w 5673136"/>
                <a:gd name="connsiteY97" fmla="*/ 67603 h 2168375"/>
                <a:gd name="connsiteX98" fmla="*/ 910021 w 5673136"/>
                <a:gd name="connsiteY98" fmla="*/ 69975 h 2168375"/>
                <a:gd name="connsiteX99" fmla="*/ 910436 w 5673136"/>
                <a:gd name="connsiteY99" fmla="*/ 69593 h 2168375"/>
                <a:gd name="connsiteX100" fmla="*/ 4093117 w 5673136"/>
                <a:gd name="connsiteY100" fmla="*/ 1730267 h 2168375"/>
                <a:gd name="connsiteX101" fmla="*/ 4089136 w 5673136"/>
                <a:gd name="connsiteY101" fmla="*/ 1659441 h 2168375"/>
                <a:gd name="connsiteX102" fmla="*/ 4067574 w 5673136"/>
                <a:gd name="connsiteY102" fmla="*/ 1620130 h 2168375"/>
                <a:gd name="connsiteX103" fmla="*/ 4050987 w 5673136"/>
                <a:gd name="connsiteY103" fmla="*/ 1654631 h 2168375"/>
                <a:gd name="connsiteX104" fmla="*/ 4044186 w 5673136"/>
                <a:gd name="connsiteY104" fmla="*/ 1690956 h 2168375"/>
                <a:gd name="connsiteX105" fmla="*/ 4054967 w 5673136"/>
                <a:gd name="connsiteY105" fmla="*/ 1757303 h 2168375"/>
                <a:gd name="connsiteX106" fmla="*/ 4051982 w 5673136"/>
                <a:gd name="connsiteY106" fmla="*/ 1885022 h 2168375"/>
                <a:gd name="connsiteX107" fmla="*/ 4046176 w 5673136"/>
                <a:gd name="connsiteY107" fmla="*/ 1978240 h 2168375"/>
                <a:gd name="connsiteX108" fmla="*/ 4067740 w 5673136"/>
                <a:gd name="connsiteY108" fmla="*/ 1956677 h 2168375"/>
                <a:gd name="connsiteX109" fmla="*/ 4096268 w 5673136"/>
                <a:gd name="connsiteY109" fmla="*/ 1981226 h 2168375"/>
                <a:gd name="connsiteX110" fmla="*/ 4090297 w 5673136"/>
                <a:gd name="connsiteY110" fmla="*/ 1951867 h 2168375"/>
                <a:gd name="connsiteX111" fmla="*/ 4067740 w 5673136"/>
                <a:gd name="connsiteY111" fmla="*/ 1912556 h 2168375"/>
                <a:gd name="connsiteX112" fmla="*/ 4077525 w 5673136"/>
                <a:gd name="connsiteY112" fmla="*/ 1858483 h 2168375"/>
                <a:gd name="connsiteX113" fmla="*/ 4116836 w 5673136"/>
                <a:gd name="connsiteY113" fmla="*/ 1854502 h 2168375"/>
                <a:gd name="connsiteX114" fmla="*/ 4127618 w 5673136"/>
                <a:gd name="connsiteY114" fmla="*/ 1848697 h 2168375"/>
                <a:gd name="connsiteX115" fmla="*/ 4093117 w 5673136"/>
                <a:gd name="connsiteY115" fmla="*/ 1730267 h 2168375"/>
                <a:gd name="connsiteX116" fmla="*/ 1002991 w 5673136"/>
                <a:gd name="connsiteY116" fmla="*/ 60802 h 2168375"/>
                <a:gd name="connsiteX117" fmla="*/ 957708 w 5673136"/>
                <a:gd name="connsiteY117" fmla="*/ 77389 h 2168375"/>
                <a:gd name="connsiteX118" fmla="*/ 926360 w 5673136"/>
                <a:gd name="connsiteY118" fmla="*/ 95137 h 2168375"/>
                <a:gd name="connsiteX119" fmla="*/ 981262 w 5673136"/>
                <a:gd name="connsiteY119" fmla="*/ 98123 h 2168375"/>
                <a:gd name="connsiteX120" fmla="*/ 1007801 w 5673136"/>
                <a:gd name="connsiteY120" fmla="*/ 88336 h 2168375"/>
                <a:gd name="connsiteX121" fmla="*/ 1047112 w 5673136"/>
                <a:gd name="connsiteY121" fmla="*/ 67603 h 2168375"/>
                <a:gd name="connsiteX122" fmla="*/ 1049102 w 5673136"/>
                <a:gd name="connsiteY122" fmla="*/ 44050 h 2168375"/>
                <a:gd name="connsiteX123" fmla="*/ 1002991 w 5673136"/>
                <a:gd name="connsiteY123" fmla="*/ 60802 h 2168375"/>
                <a:gd name="connsiteX124" fmla="*/ 960694 w 5673136"/>
                <a:gd name="connsiteY124" fmla="*/ 854648 h 2168375"/>
                <a:gd name="connsiteX125" fmla="*/ 1022563 w 5673136"/>
                <a:gd name="connsiteY125" fmla="*/ 841876 h 2168375"/>
                <a:gd name="connsiteX126" fmla="*/ 993038 w 5673136"/>
                <a:gd name="connsiteY126" fmla="*/ 820313 h 2168375"/>
                <a:gd name="connsiteX127" fmla="*/ 960528 w 5673136"/>
                <a:gd name="connsiteY127" fmla="*/ 854648 h 2168375"/>
                <a:gd name="connsiteX128" fmla="*/ 5667871 w 5673136"/>
                <a:gd name="connsiteY128" fmla="*/ 1022175 h 2168375"/>
                <a:gd name="connsiteX129" fmla="*/ 5618110 w 5673136"/>
                <a:gd name="connsiteY129" fmla="*/ 987343 h 2168375"/>
                <a:gd name="connsiteX130" fmla="*/ 5572496 w 5673136"/>
                <a:gd name="connsiteY130" fmla="*/ 976561 h 2168375"/>
                <a:gd name="connsiteX131" fmla="*/ 5557237 w 5673136"/>
                <a:gd name="connsiteY131" fmla="*/ 968765 h 2168375"/>
                <a:gd name="connsiteX132" fmla="*/ 5513945 w 5673136"/>
                <a:gd name="connsiteY132" fmla="*/ 968765 h 2168375"/>
                <a:gd name="connsiteX133" fmla="*/ 5529205 w 5673136"/>
                <a:gd name="connsiteY133" fmla="*/ 983859 h 2168375"/>
                <a:gd name="connsiteX134" fmla="*/ 5524229 w 5673136"/>
                <a:gd name="connsiteY134" fmla="*/ 1005090 h 2168375"/>
                <a:gd name="connsiteX135" fmla="*/ 5503164 w 5673136"/>
                <a:gd name="connsiteY135" fmla="*/ 995802 h 2168375"/>
                <a:gd name="connsiteX136" fmla="*/ 5501670 w 5673136"/>
                <a:gd name="connsiteY136" fmla="*/ 961799 h 2168375"/>
                <a:gd name="connsiteX137" fmla="*/ 5488899 w 5673136"/>
                <a:gd name="connsiteY137" fmla="*/ 944217 h 2168375"/>
                <a:gd name="connsiteX138" fmla="*/ 5424542 w 5673136"/>
                <a:gd name="connsiteY138" fmla="*/ 906233 h 2168375"/>
                <a:gd name="connsiteX139" fmla="*/ 5374782 w 5673136"/>
                <a:gd name="connsiteY139" fmla="*/ 881684 h 2168375"/>
                <a:gd name="connsiteX140" fmla="*/ 5322202 w 5673136"/>
                <a:gd name="connsiteY140" fmla="*/ 857634 h 2168375"/>
                <a:gd name="connsiteX141" fmla="*/ 5229315 w 5673136"/>
                <a:gd name="connsiteY141" fmla="*/ 819318 h 2168375"/>
                <a:gd name="connsiteX142" fmla="*/ 5198796 w 5673136"/>
                <a:gd name="connsiteY142" fmla="*/ 806546 h 2168375"/>
                <a:gd name="connsiteX143" fmla="*/ 5120837 w 5673136"/>
                <a:gd name="connsiteY143" fmla="*/ 803561 h 2168375"/>
                <a:gd name="connsiteX144" fmla="*/ 5090317 w 5673136"/>
                <a:gd name="connsiteY144" fmla="*/ 808537 h 2168375"/>
                <a:gd name="connsiteX145" fmla="*/ 5013686 w 5673136"/>
                <a:gd name="connsiteY145" fmla="*/ 790789 h 2168375"/>
                <a:gd name="connsiteX146" fmla="*/ 5002739 w 5673136"/>
                <a:gd name="connsiteY146" fmla="*/ 812020 h 2168375"/>
                <a:gd name="connsiteX147" fmla="*/ 5019326 w 5673136"/>
                <a:gd name="connsiteY147" fmla="*/ 838559 h 2168375"/>
                <a:gd name="connsiteX148" fmla="*/ 5011033 w 5673136"/>
                <a:gd name="connsiteY148" fmla="*/ 870903 h 2168375"/>
                <a:gd name="connsiteX149" fmla="*/ 4965253 w 5673136"/>
                <a:gd name="connsiteY149" fmla="*/ 854316 h 2168375"/>
                <a:gd name="connsiteX150" fmla="*/ 4932908 w 5673136"/>
                <a:gd name="connsiteY150" fmla="*/ 833085 h 2168375"/>
                <a:gd name="connsiteX151" fmla="*/ 4948666 w 5673136"/>
                <a:gd name="connsiteY151" fmla="*/ 824294 h 2168375"/>
                <a:gd name="connsiteX152" fmla="*/ 4969714 w 5673136"/>
                <a:gd name="connsiteY152" fmla="*/ 822751 h 2168375"/>
                <a:gd name="connsiteX153" fmla="*/ 4973214 w 5673136"/>
                <a:gd name="connsiteY153" fmla="*/ 815006 h 2168375"/>
                <a:gd name="connsiteX154" fmla="*/ 4931416 w 5673136"/>
                <a:gd name="connsiteY154" fmla="*/ 798419 h 2168375"/>
                <a:gd name="connsiteX155" fmla="*/ 4892104 w 5673136"/>
                <a:gd name="connsiteY155" fmla="*/ 829436 h 2168375"/>
                <a:gd name="connsiteX156" fmla="*/ 4809170 w 5673136"/>
                <a:gd name="connsiteY156" fmla="*/ 819981 h 2168375"/>
                <a:gd name="connsiteX157" fmla="*/ 4709649 w 5673136"/>
                <a:gd name="connsiteY157" fmla="*/ 825953 h 2168375"/>
                <a:gd name="connsiteX158" fmla="*/ 4702849 w 5673136"/>
                <a:gd name="connsiteY158" fmla="*/ 856804 h 2168375"/>
                <a:gd name="connsiteX159" fmla="*/ 4694059 w 5673136"/>
                <a:gd name="connsiteY159" fmla="*/ 824957 h 2168375"/>
                <a:gd name="connsiteX160" fmla="*/ 4668348 w 5673136"/>
                <a:gd name="connsiteY160" fmla="*/ 815669 h 2168375"/>
                <a:gd name="connsiteX161" fmla="*/ 4650766 w 5673136"/>
                <a:gd name="connsiteY161" fmla="*/ 808702 h 2168375"/>
                <a:gd name="connsiteX162" fmla="*/ 4656572 w 5673136"/>
                <a:gd name="connsiteY162" fmla="*/ 787637 h 2168375"/>
                <a:gd name="connsiteX163" fmla="*/ 4602665 w 5673136"/>
                <a:gd name="connsiteY163" fmla="*/ 740365 h 2168375"/>
                <a:gd name="connsiteX164" fmla="*/ 4476770 w 5673136"/>
                <a:gd name="connsiteY164" fmla="*/ 740365 h 2168375"/>
                <a:gd name="connsiteX165" fmla="*/ 4399144 w 5673136"/>
                <a:gd name="connsiteY165" fmla="*/ 744843 h 2168375"/>
                <a:gd name="connsiteX166" fmla="*/ 4390353 w 5673136"/>
                <a:gd name="connsiteY166" fmla="*/ 728256 h 2168375"/>
                <a:gd name="connsiteX167" fmla="*/ 4348555 w 5673136"/>
                <a:gd name="connsiteY167" fmla="*/ 715982 h 2168375"/>
                <a:gd name="connsiteX168" fmla="*/ 4335782 w 5673136"/>
                <a:gd name="connsiteY168" fmla="*/ 710674 h 2168375"/>
                <a:gd name="connsiteX169" fmla="*/ 4293983 w 5673136"/>
                <a:gd name="connsiteY169" fmla="*/ 696907 h 2168375"/>
                <a:gd name="connsiteX170" fmla="*/ 4290667 w 5673136"/>
                <a:gd name="connsiteY170" fmla="*/ 685960 h 2168375"/>
                <a:gd name="connsiteX171" fmla="*/ 4317537 w 5673136"/>
                <a:gd name="connsiteY171" fmla="*/ 673354 h 2168375"/>
                <a:gd name="connsiteX172" fmla="*/ 4210552 w 5673136"/>
                <a:gd name="connsiteY172" fmla="*/ 655606 h 2168375"/>
                <a:gd name="connsiteX173" fmla="*/ 4190814 w 5673136"/>
                <a:gd name="connsiteY173" fmla="*/ 687950 h 2168375"/>
                <a:gd name="connsiteX174" fmla="*/ 4155484 w 5673136"/>
                <a:gd name="connsiteY174" fmla="*/ 685131 h 2168375"/>
                <a:gd name="connsiteX175" fmla="*/ 4181525 w 5673136"/>
                <a:gd name="connsiteY175" fmla="*/ 668544 h 2168375"/>
                <a:gd name="connsiteX176" fmla="*/ 4144205 w 5673136"/>
                <a:gd name="connsiteY176" fmla="*/ 657265 h 2168375"/>
                <a:gd name="connsiteX177" fmla="*/ 4162782 w 5673136"/>
                <a:gd name="connsiteY177" fmla="*/ 648308 h 2168375"/>
                <a:gd name="connsiteX178" fmla="*/ 4195956 w 5673136"/>
                <a:gd name="connsiteY178" fmla="*/ 648308 h 2168375"/>
                <a:gd name="connsiteX179" fmla="*/ 4163943 w 5673136"/>
                <a:gd name="connsiteY179" fmla="*/ 638522 h 2168375"/>
                <a:gd name="connsiteX180" fmla="*/ 4071554 w 5673136"/>
                <a:gd name="connsiteY180" fmla="*/ 626247 h 2168375"/>
                <a:gd name="connsiteX181" fmla="*/ 4021794 w 5673136"/>
                <a:gd name="connsiteY181" fmla="*/ 615964 h 2168375"/>
                <a:gd name="connsiteX182" fmla="*/ 4014496 w 5673136"/>
                <a:gd name="connsiteY182" fmla="*/ 631223 h 2168375"/>
                <a:gd name="connsiteX183" fmla="*/ 3984971 w 5673136"/>
                <a:gd name="connsiteY183" fmla="*/ 641507 h 2168375"/>
                <a:gd name="connsiteX184" fmla="*/ 3954617 w 5673136"/>
                <a:gd name="connsiteY184" fmla="*/ 662075 h 2168375"/>
                <a:gd name="connsiteX185" fmla="*/ 3981156 w 5673136"/>
                <a:gd name="connsiteY185" fmla="*/ 662075 h 2168375"/>
                <a:gd name="connsiteX186" fmla="*/ 3972199 w 5673136"/>
                <a:gd name="connsiteY186" fmla="*/ 679823 h 2168375"/>
                <a:gd name="connsiteX187" fmla="*/ 3982649 w 5673136"/>
                <a:gd name="connsiteY187" fmla="*/ 702381 h 2168375"/>
                <a:gd name="connsiteX188" fmla="*/ 3955612 w 5673136"/>
                <a:gd name="connsiteY188" fmla="*/ 702381 h 2168375"/>
                <a:gd name="connsiteX189" fmla="*/ 3924097 w 5673136"/>
                <a:gd name="connsiteY189" fmla="*/ 700390 h 2168375"/>
                <a:gd name="connsiteX190" fmla="*/ 3914809 w 5673136"/>
                <a:gd name="connsiteY190" fmla="*/ 707854 h 2168375"/>
                <a:gd name="connsiteX191" fmla="*/ 3914809 w 5673136"/>
                <a:gd name="connsiteY191" fmla="*/ 721124 h 2168375"/>
                <a:gd name="connsiteX192" fmla="*/ 3888270 w 5673136"/>
                <a:gd name="connsiteY192" fmla="*/ 705367 h 2168375"/>
                <a:gd name="connsiteX193" fmla="*/ 3837182 w 5673136"/>
                <a:gd name="connsiteY193" fmla="*/ 696576 h 2168375"/>
                <a:gd name="connsiteX194" fmla="*/ 3798867 w 5673136"/>
                <a:gd name="connsiteY194" fmla="*/ 709347 h 2168375"/>
                <a:gd name="connsiteX195" fmla="*/ 3749106 w 5673136"/>
                <a:gd name="connsiteY195" fmla="*/ 690107 h 2168375"/>
                <a:gd name="connsiteX196" fmla="*/ 3730529 w 5673136"/>
                <a:gd name="connsiteY196" fmla="*/ 688614 h 2168375"/>
                <a:gd name="connsiteX197" fmla="*/ 3712284 w 5673136"/>
                <a:gd name="connsiteY197" fmla="*/ 723114 h 2168375"/>
                <a:gd name="connsiteX198" fmla="*/ 3691218 w 5673136"/>
                <a:gd name="connsiteY198" fmla="*/ 748658 h 2168375"/>
                <a:gd name="connsiteX199" fmla="*/ 3670651 w 5673136"/>
                <a:gd name="connsiteY199" fmla="*/ 742189 h 2168375"/>
                <a:gd name="connsiteX200" fmla="*/ 3620890 w 5673136"/>
                <a:gd name="connsiteY200" fmla="*/ 697571 h 2168375"/>
                <a:gd name="connsiteX201" fmla="*/ 3590536 w 5673136"/>
                <a:gd name="connsiteY201" fmla="*/ 663568 h 2168375"/>
                <a:gd name="connsiteX202" fmla="*/ 3603805 w 5673136"/>
                <a:gd name="connsiteY202" fmla="*/ 663568 h 2168375"/>
                <a:gd name="connsiteX203" fmla="*/ 3627857 w 5673136"/>
                <a:gd name="connsiteY203" fmla="*/ 666056 h 2168375"/>
                <a:gd name="connsiteX204" fmla="*/ 3621553 w 5673136"/>
                <a:gd name="connsiteY204" fmla="*/ 643497 h 2168375"/>
                <a:gd name="connsiteX205" fmla="*/ 3620061 w 5673136"/>
                <a:gd name="connsiteY205" fmla="*/ 630228 h 2168375"/>
                <a:gd name="connsiteX206" fmla="*/ 3613094 w 5673136"/>
                <a:gd name="connsiteY206" fmla="*/ 607173 h 2168375"/>
                <a:gd name="connsiteX207" fmla="*/ 3606791 w 5673136"/>
                <a:gd name="connsiteY207" fmla="*/ 595396 h 2168375"/>
                <a:gd name="connsiteX208" fmla="*/ 3584067 w 5673136"/>
                <a:gd name="connsiteY208" fmla="*/ 579638 h 2168375"/>
                <a:gd name="connsiteX209" fmla="*/ 3539947 w 5673136"/>
                <a:gd name="connsiteY209" fmla="*/ 579638 h 2168375"/>
                <a:gd name="connsiteX210" fmla="*/ 3527672 w 5673136"/>
                <a:gd name="connsiteY210" fmla="*/ 578643 h 2168375"/>
                <a:gd name="connsiteX211" fmla="*/ 3489854 w 5673136"/>
                <a:gd name="connsiteY211" fmla="*/ 568359 h 2168375"/>
                <a:gd name="connsiteX212" fmla="*/ 3460330 w 5673136"/>
                <a:gd name="connsiteY212" fmla="*/ 546133 h 2168375"/>
                <a:gd name="connsiteX213" fmla="*/ 3443743 w 5673136"/>
                <a:gd name="connsiteY213" fmla="*/ 562720 h 2168375"/>
                <a:gd name="connsiteX214" fmla="*/ 3427156 w 5673136"/>
                <a:gd name="connsiteY214" fmla="*/ 568592 h 2168375"/>
                <a:gd name="connsiteX215" fmla="*/ 3427156 w 5673136"/>
                <a:gd name="connsiteY215" fmla="*/ 579307 h 2168375"/>
                <a:gd name="connsiteX216" fmla="*/ 3427156 w 5673136"/>
                <a:gd name="connsiteY216" fmla="*/ 604353 h 2168375"/>
                <a:gd name="connsiteX217" fmla="*/ 3407418 w 5673136"/>
                <a:gd name="connsiteY217" fmla="*/ 605680 h 2168375"/>
                <a:gd name="connsiteX218" fmla="*/ 3367112 w 5673136"/>
                <a:gd name="connsiteY218" fmla="*/ 609660 h 2168375"/>
                <a:gd name="connsiteX219" fmla="*/ 3322493 w 5673136"/>
                <a:gd name="connsiteY219" fmla="*/ 601367 h 2168375"/>
                <a:gd name="connsiteX220" fmla="*/ 3308228 w 5673136"/>
                <a:gd name="connsiteY220" fmla="*/ 598879 h 2168375"/>
                <a:gd name="connsiteX221" fmla="*/ 3261453 w 5673136"/>
                <a:gd name="connsiteY221" fmla="*/ 592576 h 2168375"/>
                <a:gd name="connsiteX222" fmla="*/ 3275220 w 5673136"/>
                <a:gd name="connsiteY222" fmla="*/ 575989 h 2168375"/>
                <a:gd name="connsiteX223" fmla="*/ 3245364 w 5673136"/>
                <a:gd name="connsiteY223" fmla="*/ 570018 h 2168375"/>
                <a:gd name="connsiteX224" fmla="*/ 3183827 w 5673136"/>
                <a:gd name="connsiteY224" fmla="*/ 560729 h 2168375"/>
                <a:gd name="connsiteX225" fmla="*/ 3100893 w 5673136"/>
                <a:gd name="connsiteY225" fmla="*/ 571511 h 2168375"/>
                <a:gd name="connsiteX226" fmla="*/ 3096415 w 5673136"/>
                <a:gd name="connsiteY226" fmla="*/ 589259 h 2168375"/>
                <a:gd name="connsiteX227" fmla="*/ 3091107 w 5673136"/>
                <a:gd name="connsiteY227" fmla="*/ 556085 h 2168375"/>
                <a:gd name="connsiteX228" fmla="*/ 3074520 w 5673136"/>
                <a:gd name="connsiteY228" fmla="*/ 552270 h 2168375"/>
                <a:gd name="connsiteX229" fmla="*/ 3040019 w 5673136"/>
                <a:gd name="connsiteY229" fmla="*/ 557080 h 2168375"/>
                <a:gd name="connsiteX230" fmla="*/ 3001704 w 5673136"/>
                <a:gd name="connsiteY230" fmla="*/ 537508 h 2168375"/>
                <a:gd name="connsiteX231" fmla="*/ 2964383 w 5673136"/>
                <a:gd name="connsiteY231" fmla="*/ 559071 h 2168375"/>
                <a:gd name="connsiteX232" fmla="*/ 2984619 w 5673136"/>
                <a:gd name="connsiteY232" fmla="*/ 564544 h 2168375"/>
                <a:gd name="connsiteX233" fmla="*/ 2943816 w 5673136"/>
                <a:gd name="connsiteY233" fmla="*/ 576321 h 2168375"/>
                <a:gd name="connsiteX234" fmla="*/ 2893226 w 5673136"/>
                <a:gd name="connsiteY234" fmla="*/ 593903 h 2168375"/>
                <a:gd name="connsiteX235" fmla="*/ 2838655 w 5673136"/>
                <a:gd name="connsiteY235" fmla="*/ 610490 h 2168375"/>
                <a:gd name="connsiteX236" fmla="*/ 2846948 w 5673136"/>
                <a:gd name="connsiteY236" fmla="*/ 587434 h 2168375"/>
                <a:gd name="connsiteX237" fmla="*/ 2877966 w 5673136"/>
                <a:gd name="connsiteY237" fmla="*/ 570847 h 2168375"/>
                <a:gd name="connsiteX238" fmla="*/ 2914291 w 5673136"/>
                <a:gd name="connsiteY238" fmla="*/ 559568 h 2168375"/>
                <a:gd name="connsiteX239" fmla="*/ 2940830 w 5673136"/>
                <a:gd name="connsiteY239" fmla="*/ 541820 h 2168375"/>
                <a:gd name="connsiteX240" fmla="*/ 2975165 w 5673136"/>
                <a:gd name="connsiteY240" fmla="*/ 520755 h 2168375"/>
                <a:gd name="connsiteX241" fmla="*/ 3032224 w 5673136"/>
                <a:gd name="connsiteY241" fmla="*/ 497699 h 2168375"/>
                <a:gd name="connsiteX242" fmla="*/ 3048811 w 5673136"/>
                <a:gd name="connsiteY242" fmla="*/ 479951 h 2168375"/>
                <a:gd name="connsiteX243" fmla="*/ 3089117 w 5673136"/>
                <a:gd name="connsiteY243" fmla="*/ 464194 h 2168375"/>
                <a:gd name="connsiteX244" fmla="*/ 3104376 w 5673136"/>
                <a:gd name="connsiteY244" fmla="*/ 444124 h 2168375"/>
                <a:gd name="connsiteX245" fmla="*/ 3089614 w 5673136"/>
                <a:gd name="connsiteY245" fmla="*/ 432845 h 2168375"/>
                <a:gd name="connsiteX246" fmla="*/ 3106201 w 5673136"/>
                <a:gd name="connsiteY246" fmla="*/ 426873 h 2168375"/>
                <a:gd name="connsiteX247" fmla="*/ 3097907 w 5673136"/>
                <a:gd name="connsiteY247" fmla="*/ 411614 h 2168375"/>
                <a:gd name="connsiteX248" fmla="*/ 3094922 w 5673136"/>
                <a:gd name="connsiteY248" fmla="*/ 395027 h 2168375"/>
                <a:gd name="connsiteX249" fmla="*/ 3073359 w 5673136"/>
                <a:gd name="connsiteY249" fmla="*/ 391046 h 2168375"/>
                <a:gd name="connsiteX250" fmla="*/ 3066393 w 5673136"/>
                <a:gd name="connsiteY250" fmla="*/ 364010 h 2168375"/>
                <a:gd name="connsiteX251" fmla="*/ 3037531 w 5673136"/>
                <a:gd name="connsiteY251" fmla="*/ 365005 h 2168375"/>
                <a:gd name="connsiteX252" fmla="*/ 2989264 w 5673136"/>
                <a:gd name="connsiteY252" fmla="*/ 353726 h 2168375"/>
                <a:gd name="connsiteX253" fmla="*/ 2968696 w 5673136"/>
                <a:gd name="connsiteY253" fmla="*/ 351735 h 2168375"/>
                <a:gd name="connsiteX254" fmla="*/ 2927892 w 5673136"/>
                <a:gd name="connsiteY254" fmla="*/ 352730 h 2168375"/>
                <a:gd name="connsiteX255" fmla="*/ 2906329 w 5673136"/>
                <a:gd name="connsiteY255" fmla="*/ 365005 h 2168375"/>
                <a:gd name="connsiteX256" fmla="*/ 2864530 w 5673136"/>
                <a:gd name="connsiteY256" fmla="*/ 368986 h 2168375"/>
                <a:gd name="connsiteX257" fmla="*/ 2888581 w 5673136"/>
                <a:gd name="connsiteY257" fmla="*/ 337968 h 2168375"/>
                <a:gd name="connsiteX258" fmla="*/ 2834177 w 5673136"/>
                <a:gd name="connsiteY258" fmla="*/ 333987 h 2168375"/>
                <a:gd name="connsiteX259" fmla="*/ 2794700 w 5673136"/>
                <a:gd name="connsiteY259" fmla="*/ 328182 h 2168375"/>
                <a:gd name="connsiteX260" fmla="*/ 2804652 w 5673136"/>
                <a:gd name="connsiteY260" fmla="*/ 324201 h 2168375"/>
                <a:gd name="connsiteX261" fmla="*/ 2835503 w 5673136"/>
                <a:gd name="connsiteY261" fmla="*/ 312424 h 2168375"/>
                <a:gd name="connsiteX262" fmla="*/ 2839484 w 5673136"/>
                <a:gd name="connsiteY262" fmla="*/ 299653 h 2168375"/>
                <a:gd name="connsiteX263" fmla="*/ 2811453 w 5673136"/>
                <a:gd name="connsiteY263" fmla="*/ 292852 h 2168375"/>
                <a:gd name="connsiteX264" fmla="*/ 2776620 w 5673136"/>
                <a:gd name="connsiteY264" fmla="*/ 283895 h 2168375"/>
                <a:gd name="connsiteX265" fmla="*/ 2732831 w 5673136"/>
                <a:gd name="connsiteY265" fmla="*/ 293184 h 2168375"/>
                <a:gd name="connsiteX266" fmla="*/ 2696009 w 5673136"/>
                <a:gd name="connsiteY266" fmla="*/ 320884 h 2168375"/>
                <a:gd name="connsiteX267" fmla="*/ 2673451 w 5673136"/>
                <a:gd name="connsiteY267" fmla="*/ 349745 h 2168375"/>
                <a:gd name="connsiteX268" fmla="*/ 2679754 w 5673136"/>
                <a:gd name="connsiteY268" fmla="*/ 364010 h 2168375"/>
                <a:gd name="connsiteX269" fmla="*/ 2661176 w 5673136"/>
                <a:gd name="connsiteY269" fmla="*/ 369981 h 2168375"/>
                <a:gd name="connsiteX270" fmla="*/ 2611415 w 5673136"/>
                <a:gd name="connsiteY270" fmla="*/ 376781 h 2168375"/>
                <a:gd name="connsiteX271" fmla="*/ 2632979 w 5673136"/>
                <a:gd name="connsiteY271" fmla="*/ 393368 h 2168375"/>
                <a:gd name="connsiteX272" fmla="*/ 2607933 w 5673136"/>
                <a:gd name="connsiteY272" fmla="*/ 388392 h 2168375"/>
                <a:gd name="connsiteX273" fmla="*/ 2578906 w 5673136"/>
                <a:gd name="connsiteY273" fmla="*/ 394861 h 2168375"/>
                <a:gd name="connsiteX274" fmla="*/ 2557343 w 5673136"/>
                <a:gd name="connsiteY274" fmla="*/ 399174 h 2168375"/>
                <a:gd name="connsiteX275" fmla="*/ 2535779 w 5673136"/>
                <a:gd name="connsiteY275" fmla="*/ 400666 h 2168375"/>
                <a:gd name="connsiteX276" fmla="*/ 2545068 w 5673136"/>
                <a:gd name="connsiteY276" fmla="*/ 382089 h 2168375"/>
                <a:gd name="connsiteX277" fmla="*/ 2513553 w 5673136"/>
                <a:gd name="connsiteY277" fmla="*/ 390383 h 2168375"/>
                <a:gd name="connsiteX278" fmla="*/ 2491493 w 5673136"/>
                <a:gd name="connsiteY278" fmla="*/ 386899 h 2168375"/>
                <a:gd name="connsiteX279" fmla="*/ 2469930 w 5673136"/>
                <a:gd name="connsiteY279" fmla="*/ 397847 h 2168375"/>
                <a:gd name="connsiteX280" fmla="*/ 2437918 w 5673136"/>
                <a:gd name="connsiteY280" fmla="*/ 400666 h 2168375"/>
                <a:gd name="connsiteX281" fmla="*/ 2457987 w 5673136"/>
                <a:gd name="connsiteY281" fmla="*/ 414433 h 2168375"/>
                <a:gd name="connsiteX282" fmla="*/ 2403085 w 5673136"/>
                <a:gd name="connsiteY282" fmla="*/ 422893 h 2168375"/>
                <a:gd name="connsiteX283" fmla="*/ 2361286 w 5673136"/>
                <a:gd name="connsiteY283" fmla="*/ 428698 h 2168375"/>
                <a:gd name="connsiteX284" fmla="*/ 2330269 w 5673136"/>
                <a:gd name="connsiteY284" fmla="*/ 443460 h 2168375"/>
                <a:gd name="connsiteX285" fmla="*/ 2298920 w 5673136"/>
                <a:gd name="connsiteY285" fmla="*/ 456232 h 2168375"/>
                <a:gd name="connsiteX286" fmla="*/ 2276129 w 5673136"/>
                <a:gd name="connsiteY286" fmla="*/ 461805 h 2168375"/>
                <a:gd name="connsiteX287" fmla="*/ 2273376 w 5673136"/>
                <a:gd name="connsiteY287" fmla="*/ 459716 h 2168375"/>
                <a:gd name="connsiteX288" fmla="*/ 2260106 w 5673136"/>
                <a:gd name="connsiteY288" fmla="*/ 464028 h 2168375"/>
                <a:gd name="connsiteX289" fmla="*/ 2255130 w 5673136"/>
                <a:gd name="connsiteY289" fmla="*/ 471990 h 2168375"/>
                <a:gd name="connsiteX290" fmla="*/ 2242856 w 5673136"/>
                <a:gd name="connsiteY290" fmla="*/ 480283 h 2168375"/>
                <a:gd name="connsiteX291" fmla="*/ 2251648 w 5673136"/>
                <a:gd name="connsiteY291" fmla="*/ 492060 h 2168375"/>
                <a:gd name="connsiteX292" fmla="*/ 2223284 w 5673136"/>
                <a:gd name="connsiteY292" fmla="*/ 490567 h 2168375"/>
                <a:gd name="connsiteX293" fmla="*/ 2241363 w 5673136"/>
                <a:gd name="connsiteY293" fmla="*/ 500851 h 2168375"/>
                <a:gd name="connsiteX294" fmla="*/ 2256060 w 5673136"/>
                <a:gd name="connsiteY294" fmla="*/ 511748 h 2168375"/>
                <a:gd name="connsiteX295" fmla="*/ 2256126 w 5673136"/>
                <a:gd name="connsiteY295" fmla="*/ 512296 h 2168375"/>
                <a:gd name="connsiteX296" fmla="*/ 2231079 w 5673136"/>
                <a:gd name="connsiteY296" fmla="*/ 513789 h 2168375"/>
                <a:gd name="connsiteX297" fmla="*/ 2243851 w 5673136"/>
                <a:gd name="connsiteY297" fmla="*/ 522580 h 2168375"/>
                <a:gd name="connsiteX298" fmla="*/ 2254633 w 5673136"/>
                <a:gd name="connsiteY298" fmla="*/ 534356 h 2168375"/>
                <a:gd name="connsiteX299" fmla="*/ 2256292 w 5673136"/>
                <a:gd name="connsiteY299" fmla="*/ 536015 h 2168375"/>
                <a:gd name="connsiteX300" fmla="*/ 2252808 w 5673136"/>
                <a:gd name="connsiteY300" fmla="*/ 550114 h 2168375"/>
                <a:gd name="connsiteX301" fmla="*/ 2243354 w 5673136"/>
                <a:gd name="connsiteY301" fmla="*/ 552934 h 2168375"/>
                <a:gd name="connsiteX302" fmla="*/ 2212005 w 5673136"/>
                <a:gd name="connsiteY302" fmla="*/ 551607 h 2168375"/>
                <a:gd name="connsiteX303" fmla="*/ 2195418 w 5673136"/>
                <a:gd name="connsiteY303" fmla="*/ 556914 h 2168375"/>
                <a:gd name="connsiteX304" fmla="*/ 2145658 w 5673136"/>
                <a:gd name="connsiteY304" fmla="*/ 559402 h 2168375"/>
                <a:gd name="connsiteX305" fmla="*/ 2059572 w 5673136"/>
                <a:gd name="connsiteY305" fmla="*/ 566701 h 2168375"/>
                <a:gd name="connsiteX306" fmla="*/ 2048293 w 5673136"/>
                <a:gd name="connsiteY306" fmla="*/ 599874 h 2168375"/>
                <a:gd name="connsiteX307" fmla="*/ 2048293 w 5673136"/>
                <a:gd name="connsiteY307" fmla="*/ 623428 h 2168375"/>
                <a:gd name="connsiteX308" fmla="*/ 2093575 w 5673136"/>
                <a:gd name="connsiteY308" fmla="*/ 647478 h 2168375"/>
                <a:gd name="connsiteX309" fmla="*/ 2112650 w 5673136"/>
                <a:gd name="connsiteY309" fmla="*/ 680652 h 2168375"/>
                <a:gd name="connsiteX310" fmla="*/ 2056088 w 5673136"/>
                <a:gd name="connsiteY310" fmla="*/ 662406 h 2168375"/>
                <a:gd name="connsiteX311" fmla="*/ 1979955 w 5673136"/>
                <a:gd name="connsiteY311" fmla="*/ 642834 h 2168375"/>
                <a:gd name="connsiteX312" fmla="*/ 1955904 w 5673136"/>
                <a:gd name="connsiteY312" fmla="*/ 630394 h 2168375"/>
                <a:gd name="connsiteX313" fmla="*/ 1934839 w 5673136"/>
                <a:gd name="connsiteY313" fmla="*/ 646981 h 2168375"/>
                <a:gd name="connsiteX314" fmla="*/ 1948606 w 5673136"/>
                <a:gd name="connsiteY314" fmla="*/ 651957 h 2168375"/>
                <a:gd name="connsiteX315" fmla="*/ 1966686 w 5673136"/>
                <a:gd name="connsiteY315" fmla="*/ 662738 h 2168375"/>
                <a:gd name="connsiteX316" fmla="*/ 1939317 w 5673136"/>
                <a:gd name="connsiteY316" fmla="*/ 667714 h 2168375"/>
                <a:gd name="connsiteX317" fmla="*/ 1903424 w 5673136"/>
                <a:gd name="connsiteY317" fmla="*/ 674863 h 2168375"/>
                <a:gd name="connsiteX318" fmla="*/ 1903324 w 5673136"/>
                <a:gd name="connsiteY318" fmla="*/ 675013 h 2168375"/>
                <a:gd name="connsiteX319" fmla="*/ 1947611 w 5673136"/>
                <a:gd name="connsiteY319" fmla="*/ 709347 h 2168375"/>
                <a:gd name="connsiteX320" fmla="*/ 1977633 w 5673136"/>
                <a:gd name="connsiteY320" fmla="*/ 725934 h 2168375"/>
                <a:gd name="connsiteX321" fmla="*/ 1972657 w 5673136"/>
                <a:gd name="connsiteY321" fmla="*/ 735720 h 2168375"/>
                <a:gd name="connsiteX322" fmla="*/ 1934341 w 5673136"/>
                <a:gd name="connsiteY322" fmla="*/ 716148 h 2168375"/>
                <a:gd name="connsiteX323" fmla="*/ 1877780 w 5673136"/>
                <a:gd name="connsiteY323" fmla="*/ 711172 h 2168375"/>
                <a:gd name="connsiteX324" fmla="*/ 1875790 w 5673136"/>
                <a:gd name="connsiteY324" fmla="*/ 689609 h 2168375"/>
                <a:gd name="connsiteX325" fmla="*/ 1883751 w 5673136"/>
                <a:gd name="connsiteY325" fmla="*/ 656435 h 2168375"/>
                <a:gd name="connsiteX326" fmla="*/ 1869487 w 5673136"/>
                <a:gd name="connsiteY326" fmla="*/ 615300 h 2168375"/>
                <a:gd name="connsiteX327" fmla="*/ 1860696 w 5673136"/>
                <a:gd name="connsiteY327" fmla="*/ 628569 h 2168375"/>
                <a:gd name="connsiteX328" fmla="*/ 1852237 w 5673136"/>
                <a:gd name="connsiteY328" fmla="*/ 663402 h 2168375"/>
                <a:gd name="connsiteX329" fmla="*/ 1812428 w 5673136"/>
                <a:gd name="connsiteY329" fmla="*/ 683969 h 2168375"/>
                <a:gd name="connsiteX330" fmla="*/ 1799159 w 5673136"/>
                <a:gd name="connsiteY330" fmla="*/ 704703 h 2168375"/>
                <a:gd name="connsiteX331" fmla="*/ 1836976 w 5673136"/>
                <a:gd name="connsiteY331" fmla="*/ 750317 h 2168375"/>
                <a:gd name="connsiteX332" fmla="*/ 1817404 w 5673136"/>
                <a:gd name="connsiteY332" fmla="*/ 806380 h 2168375"/>
                <a:gd name="connsiteX333" fmla="*/ 1818897 w 5673136"/>
                <a:gd name="connsiteY333" fmla="*/ 839554 h 2168375"/>
                <a:gd name="connsiteX334" fmla="*/ 1844441 w 5673136"/>
                <a:gd name="connsiteY334" fmla="*/ 844032 h 2168375"/>
                <a:gd name="connsiteX335" fmla="*/ 1883254 w 5673136"/>
                <a:gd name="connsiteY335" fmla="*/ 835739 h 2168375"/>
                <a:gd name="connsiteX336" fmla="*/ 1947113 w 5673136"/>
                <a:gd name="connsiteY336" fmla="*/ 857302 h 2168375"/>
                <a:gd name="connsiteX337" fmla="*/ 1959387 w 5673136"/>
                <a:gd name="connsiteY337" fmla="*/ 882846 h 2168375"/>
                <a:gd name="connsiteX338" fmla="*/ 1944127 w 5673136"/>
                <a:gd name="connsiteY338" fmla="*/ 907394 h 2168375"/>
                <a:gd name="connsiteX339" fmla="*/ 1982443 w 5673136"/>
                <a:gd name="connsiteY339" fmla="*/ 932938 h 2168375"/>
                <a:gd name="connsiteX340" fmla="*/ 1945122 w 5673136"/>
                <a:gd name="connsiteY340" fmla="*/ 929952 h 2168375"/>
                <a:gd name="connsiteX341" fmla="*/ 1929863 w 5673136"/>
                <a:gd name="connsiteY341" fmla="*/ 908887 h 2168375"/>
                <a:gd name="connsiteX342" fmla="*/ 1938156 w 5673136"/>
                <a:gd name="connsiteY342" fmla="*/ 884836 h 2168375"/>
                <a:gd name="connsiteX343" fmla="*/ 1921569 w 5673136"/>
                <a:gd name="connsiteY343" fmla="*/ 863605 h 2168375"/>
                <a:gd name="connsiteX344" fmla="*/ 1900504 w 5673136"/>
                <a:gd name="connsiteY344" fmla="*/ 849838 h 2168375"/>
                <a:gd name="connsiteX345" fmla="*/ 1849251 w 5673136"/>
                <a:gd name="connsiteY345" fmla="*/ 863605 h 2168375"/>
                <a:gd name="connsiteX346" fmla="*/ 1856217 w 5673136"/>
                <a:gd name="connsiteY346" fmla="*/ 909882 h 2168375"/>
                <a:gd name="connsiteX347" fmla="*/ 1828683 w 5673136"/>
                <a:gd name="connsiteY347" fmla="*/ 949193 h 2168375"/>
                <a:gd name="connsiteX348" fmla="*/ 1803637 w 5673136"/>
                <a:gd name="connsiteY348" fmla="*/ 971253 h 2168375"/>
                <a:gd name="connsiteX349" fmla="*/ 1773117 w 5673136"/>
                <a:gd name="connsiteY349" fmla="*/ 997792 h 2168375"/>
                <a:gd name="connsiteX350" fmla="*/ 1743261 w 5673136"/>
                <a:gd name="connsiteY350" fmla="*/ 997792 h 2168375"/>
                <a:gd name="connsiteX351" fmla="*/ 1704945 w 5673136"/>
                <a:gd name="connsiteY351" fmla="*/ 1000778 h 2168375"/>
                <a:gd name="connsiteX352" fmla="*/ 1678406 w 5673136"/>
                <a:gd name="connsiteY352" fmla="*/ 992319 h 2168375"/>
                <a:gd name="connsiteX353" fmla="*/ 1662665 w 5673136"/>
                <a:gd name="connsiteY353" fmla="*/ 988570 h 2168375"/>
                <a:gd name="connsiteX354" fmla="*/ 1661820 w 5673136"/>
                <a:gd name="connsiteY354" fmla="*/ 978220 h 2168375"/>
                <a:gd name="connsiteX355" fmla="*/ 1679402 w 5673136"/>
                <a:gd name="connsiteY355" fmla="*/ 982532 h 2168375"/>
                <a:gd name="connsiteX356" fmla="*/ 1698642 w 5673136"/>
                <a:gd name="connsiteY356" fmla="*/ 980542 h 2168375"/>
                <a:gd name="connsiteX357" fmla="*/ 1717883 w 5673136"/>
                <a:gd name="connsiteY357" fmla="*/ 988504 h 2168375"/>
                <a:gd name="connsiteX358" fmla="*/ 1734470 w 5673136"/>
                <a:gd name="connsiteY358" fmla="*/ 982035 h 2168375"/>
                <a:gd name="connsiteX359" fmla="*/ 1742431 w 5673136"/>
                <a:gd name="connsiteY359" fmla="*/ 974239 h 2168375"/>
                <a:gd name="connsiteX360" fmla="*/ 1757028 w 5673136"/>
                <a:gd name="connsiteY360" fmla="*/ 961965 h 2168375"/>
                <a:gd name="connsiteX361" fmla="*/ 1767478 w 5673136"/>
                <a:gd name="connsiteY361" fmla="*/ 944217 h 2168375"/>
                <a:gd name="connsiteX362" fmla="*/ 1776269 w 5673136"/>
                <a:gd name="connsiteY362" fmla="*/ 933435 h 2168375"/>
                <a:gd name="connsiteX363" fmla="*/ 1792855 w 5673136"/>
                <a:gd name="connsiteY363" fmla="*/ 922654 h 2168375"/>
                <a:gd name="connsiteX364" fmla="*/ 1798661 w 5673136"/>
                <a:gd name="connsiteY364" fmla="*/ 906896 h 2168375"/>
                <a:gd name="connsiteX365" fmla="*/ 1807618 w 5673136"/>
                <a:gd name="connsiteY365" fmla="*/ 884836 h 2168375"/>
                <a:gd name="connsiteX366" fmla="*/ 1808613 w 5673136"/>
                <a:gd name="connsiteY366" fmla="*/ 872562 h 2168375"/>
                <a:gd name="connsiteX367" fmla="*/ 1782572 w 5673136"/>
                <a:gd name="connsiteY367" fmla="*/ 844032 h 2168375"/>
                <a:gd name="connsiteX368" fmla="*/ 1781410 w 5673136"/>
                <a:gd name="connsiteY368" fmla="*/ 810859 h 2168375"/>
                <a:gd name="connsiteX369" fmla="*/ 1781410 w 5673136"/>
                <a:gd name="connsiteY369" fmla="*/ 779344 h 2168375"/>
                <a:gd name="connsiteX370" fmla="*/ 1789704 w 5673136"/>
                <a:gd name="connsiteY370" fmla="*/ 744511 h 2168375"/>
                <a:gd name="connsiteX371" fmla="*/ 1762667 w 5673136"/>
                <a:gd name="connsiteY371" fmla="*/ 706694 h 2168375"/>
                <a:gd name="connsiteX372" fmla="*/ 1773449 w 5673136"/>
                <a:gd name="connsiteY372" fmla="*/ 681647 h 2168375"/>
                <a:gd name="connsiteX373" fmla="*/ 1787714 w 5673136"/>
                <a:gd name="connsiteY373" fmla="*/ 625086 h 2168375"/>
                <a:gd name="connsiteX374" fmla="*/ 1746578 w 5673136"/>
                <a:gd name="connsiteY374" fmla="*/ 611319 h 2168375"/>
                <a:gd name="connsiteX375" fmla="*/ 1683051 w 5673136"/>
                <a:gd name="connsiteY375" fmla="*/ 608333 h 2168375"/>
                <a:gd name="connsiteX376" fmla="*/ 1664474 w 5673136"/>
                <a:gd name="connsiteY376" fmla="*/ 627077 h 2168375"/>
                <a:gd name="connsiteX377" fmla="*/ 1642247 w 5673136"/>
                <a:gd name="connsiteY377" fmla="*/ 674183 h 2168375"/>
                <a:gd name="connsiteX378" fmla="*/ 1598126 w 5673136"/>
                <a:gd name="connsiteY378" fmla="*/ 707357 h 2168375"/>
                <a:gd name="connsiteX379" fmla="*/ 1584359 w 5673136"/>
                <a:gd name="connsiteY379" fmla="*/ 736218 h 2168375"/>
                <a:gd name="connsiteX380" fmla="*/ 1602937 w 5673136"/>
                <a:gd name="connsiteY380" fmla="*/ 740696 h 2168375"/>
                <a:gd name="connsiteX381" fmla="*/ 1599121 w 5673136"/>
                <a:gd name="connsiteY381" fmla="*/ 767235 h 2168375"/>
                <a:gd name="connsiteX382" fmla="*/ 1597131 w 5673136"/>
                <a:gd name="connsiteY382" fmla="*/ 782993 h 2168375"/>
                <a:gd name="connsiteX383" fmla="*/ 1585852 w 5673136"/>
                <a:gd name="connsiteY383" fmla="*/ 805551 h 2168375"/>
                <a:gd name="connsiteX384" fmla="*/ 1625163 w 5673136"/>
                <a:gd name="connsiteY384" fmla="*/ 820313 h 2168375"/>
                <a:gd name="connsiteX385" fmla="*/ 1639427 w 5673136"/>
                <a:gd name="connsiteY385" fmla="*/ 847350 h 2168375"/>
                <a:gd name="connsiteX386" fmla="*/ 1659497 w 5673136"/>
                <a:gd name="connsiteY386" fmla="*/ 857634 h 2168375"/>
                <a:gd name="connsiteX387" fmla="*/ 1638930 w 5673136"/>
                <a:gd name="connsiteY387" fmla="*/ 890807 h 2168375"/>
                <a:gd name="connsiteX388" fmla="*/ 1598624 w 5673136"/>
                <a:gd name="connsiteY388" fmla="*/ 858961 h 2168375"/>
                <a:gd name="connsiteX389" fmla="*/ 1545048 w 5673136"/>
                <a:gd name="connsiteY389" fmla="*/ 835905 h 2168375"/>
                <a:gd name="connsiteX390" fmla="*/ 1500762 w 5673136"/>
                <a:gd name="connsiteY390" fmla="*/ 817659 h 2168375"/>
                <a:gd name="connsiteX391" fmla="*/ 1439390 w 5673136"/>
                <a:gd name="connsiteY391" fmla="*/ 801072 h 2168375"/>
                <a:gd name="connsiteX392" fmla="*/ 1379014 w 5673136"/>
                <a:gd name="connsiteY392" fmla="*/ 795765 h 2168375"/>
                <a:gd name="connsiteX393" fmla="*/ 1354466 w 5673136"/>
                <a:gd name="connsiteY393" fmla="*/ 777519 h 2168375"/>
                <a:gd name="connsiteX394" fmla="*/ 1314160 w 5673136"/>
                <a:gd name="connsiteY394" fmla="*/ 764250 h 2168375"/>
                <a:gd name="connsiteX395" fmla="*/ 1323448 w 5673136"/>
                <a:gd name="connsiteY395" fmla="*/ 791784 h 2168375"/>
                <a:gd name="connsiteX396" fmla="*/ 1347997 w 5673136"/>
                <a:gd name="connsiteY396" fmla="*/ 801570 h 2168375"/>
                <a:gd name="connsiteX397" fmla="*/ 1369228 w 5673136"/>
                <a:gd name="connsiteY397" fmla="*/ 816830 h 2168375"/>
                <a:gd name="connsiteX398" fmla="*/ 1384488 w 5673136"/>
                <a:gd name="connsiteY398" fmla="*/ 844364 h 2168375"/>
                <a:gd name="connsiteX399" fmla="*/ 1374038 w 5673136"/>
                <a:gd name="connsiteY399" fmla="*/ 862610 h 2168375"/>
                <a:gd name="connsiteX400" fmla="*/ 1351480 w 5673136"/>
                <a:gd name="connsiteY400" fmla="*/ 873889 h 2168375"/>
                <a:gd name="connsiteX401" fmla="*/ 1334893 w 5673136"/>
                <a:gd name="connsiteY401" fmla="*/ 880689 h 2168375"/>
                <a:gd name="connsiteX402" fmla="*/ 1334893 w 5673136"/>
                <a:gd name="connsiteY402" fmla="*/ 861117 h 2168375"/>
                <a:gd name="connsiteX403" fmla="*/ 1314823 w 5673136"/>
                <a:gd name="connsiteY403" fmla="*/ 845857 h 2168375"/>
                <a:gd name="connsiteX404" fmla="*/ 1263736 w 5673136"/>
                <a:gd name="connsiteY404" fmla="*/ 871401 h 2168375"/>
                <a:gd name="connsiteX405" fmla="*/ 1207672 w 5673136"/>
                <a:gd name="connsiteY405" fmla="*/ 871401 h 2168375"/>
                <a:gd name="connsiteX406" fmla="*/ 1176655 w 5673136"/>
                <a:gd name="connsiteY406" fmla="*/ 893959 h 2168375"/>
                <a:gd name="connsiteX407" fmla="*/ 1132036 w 5673136"/>
                <a:gd name="connsiteY407" fmla="*/ 890475 h 2168375"/>
                <a:gd name="connsiteX408" fmla="*/ 1140330 w 5673136"/>
                <a:gd name="connsiteY408" fmla="*/ 881684 h 2168375"/>
                <a:gd name="connsiteX409" fmla="*/ 1148291 w 5673136"/>
                <a:gd name="connsiteY409" fmla="*/ 871898 h 2168375"/>
                <a:gd name="connsiteX410" fmla="*/ 1155590 w 5673136"/>
                <a:gd name="connsiteY410" fmla="*/ 849340 h 2168375"/>
                <a:gd name="connsiteX411" fmla="*/ 1110474 w 5673136"/>
                <a:gd name="connsiteY411" fmla="*/ 862610 h 2168375"/>
                <a:gd name="connsiteX412" fmla="*/ 1104004 w 5673136"/>
                <a:gd name="connsiteY412" fmla="*/ 881187 h 2168375"/>
                <a:gd name="connsiteX413" fmla="*/ 1089242 w 5673136"/>
                <a:gd name="connsiteY413" fmla="*/ 872396 h 2168375"/>
                <a:gd name="connsiteX414" fmla="*/ 1013108 w 5673136"/>
                <a:gd name="connsiteY414" fmla="*/ 894954 h 2168375"/>
                <a:gd name="connsiteX415" fmla="*/ 981262 w 5673136"/>
                <a:gd name="connsiteY415" fmla="*/ 914692 h 2168375"/>
                <a:gd name="connsiteX416" fmla="*/ 944771 w 5673136"/>
                <a:gd name="connsiteY416" fmla="*/ 925971 h 2168375"/>
                <a:gd name="connsiteX417" fmla="*/ 937472 w 5673136"/>
                <a:gd name="connsiteY417" fmla="*/ 960804 h 2168375"/>
                <a:gd name="connsiteX418" fmla="*/ 880912 w 5673136"/>
                <a:gd name="connsiteY418" fmla="*/ 968102 h 2168375"/>
                <a:gd name="connsiteX419" fmla="*/ 854373 w 5673136"/>
                <a:gd name="connsiteY419" fmla="*/ 943056 h 2168375"/>
                <a:gd name="connsiteX420" fmla="*/ 853543 w 5673136"/>
                <a:gd name="connsiteY420" fmla="*/ 921991 h 2168375"/>
                <a:gd name="connsiteX421" fmla="*/ 876599 w 5673136"/>
                <a:gd name="connsiteY421" fmla="*/ 913200 h 2168375"/>
                <a:gd name="connsiteX422" fmla="*/ 905958 w 5673136"/>
                <a:gd name="connsiteY422" fmla="*/ 911707 h 2168375"/>
                <a:gd name="connsiteX423" fmla="*/ 885888 w 5673136"/>
                <a:gd name="connsiteY423" fmla="*/ 879694 h 2168375"/>
                <a:gd name="connsiteX424" fmla="*/ 843591 w 5673136"/>
                <a:gd name="connsiteY424" fmla="*/ 867918 h 2168375"/>
                <a:gd name="connsiteX425" fmla="*/ 802290 w 5673136"/>
                <a:gd name="connsiteY425" fmla="*/ 863439 h 2168375"/>
                <a:gd name="connsiteX426" fmla="*/ 808261 w 5673136"/>
                <a:gd name="connsiteY426" fmla="*/ 876211 h 2168375"/>
                <a:gd name="connsiteX427" fmla="*/ 818048 w 5673136"/>
                <a:gd name="connsiteY427" fmla="*/ 899432 h 2168375"/>
                <a:gd name="connsiteX428" fmla="*/ 805275 w 5673136"/>
                <a:gd name="connsiteY428" fmla="*/ 936255 h 2168375"/>
                <a:gd name="connsiteX429" fmla="*/ 816057 w 5673136"/>
                <a:gd name="connsiteY429" fmla="*/ 948032 h 2168375"/>
                <a:gd name="connsiteX430" fmla="*/ 828331 w 5673136"/>
                <a:gd name="connsiteY430" fmla="*/ 977556 h 2168375"/>
                <a:gd name="connsiteX431" fmla="*/ 818048 w 5673136"/>
                <a:gd name="connsiteY431" fmla="*/ 1003100 h 2168375"/>
                <a:gd name="connsiteX432" fmla="*/ 803783 w 5673136"/>
                <a:gd name="connsiteY432" fmla="*/ 1003100 h 2168375"/>
                <a:gd name="connsiteX433" fmla="*/ 793997 w 5673136"/>
                <a:gd name="connsiteY433" fmla="*/ 993148 h 2168375"/>
                <a:gd name="connsiteX434" fmla="*/ 760823 w 5673136"/>
                <a:gd name="connsiteY434" fmla="*/ 986845 h 2168375"/>
                <a:gd name="connsiteX435" fmla="*/ 739592 w 5673136"/>
                <a:gd name="connsiteY435" fmla="*/ 997129 h 2168375"/>
                <a:gd name="connsiteX436" fmla="*/ 710233 w 5673136"/>
                <a:gd name="connsiteY436" fmla="*/ 1009901 h 2168375"/>
                <a:gd name="connsiteX437" fmla="*/ 678221 w 5673136"/>
                <a:gd name="connsiteY437" fmla="*/ 1032956 h 2168375"/>
                <a:gd name="connsiteX438" fmla="*/ 680211 w 5673136"/>
                <a:gd name="connsiteY438" fmla="*/ 1061983 h 2168375"/>
                <a:gd name="connsiteX439" fmla="*/ 693978 w 5673136"/>
                <a:gd name="connsiteY439" fmla="*/ 1088025 h 2168375"/>
                <a:gd name="connsiteX440" fmla="*/ 654170 w 5673136"/>
                <a:gd name="connsiteY440" fmla="*/ 1085537 h 2168375"/>
                <a:gd name="connsiteX441" fmla="*/ 619835 w 5673136"/>
                <a:gd name="connsiteY441" fmla="*/ 1077741 h 2168375"/>
                <a:gd name="connsiteX442" fmla="*/ 581851 w 5673136"/>
                <a:gd name="connsiteY442" fmla="*/ 1055183 h 2168375"/>
                <a:gd name="connsiteX443" fmla="*/ 561781 w 5673136"/>
                <a:gd name="connsiteY443" fmla="*/ 1073760 h 2168375"/>
                <a:gd name="connsiteX444" fmla="*/ 571567 w 5673136"/>
                <a:gd name="connsiteY444" fmla="*/ 1093001 h 2168375"/>
                <a:gd name="connsiteX445" fmla="*/ 604741 w 5673136"/>
                <a:gd name="connsiteY445" fmla="*/ 1104280 h 2168375"/>
                <a:gd name="connsiteX446" fmla="*/ 607727 w 5673136"/>
                <a:gd name="connsiteY446" fmla="*/ 1124350 h 2168375"/>
                <a:gd name="connsiteX447" fmla="*/ 582514 w 5673136"/>
                <a:gd name="connsiteY447" fmla="*/ 1128331 h 2168375"/>
                <a:gd name="connsiteX448" fmla="*/ 556639 w 5673136"/>
                <a:gd name="connsiteY448" fmla="*/ 1120535 h 2168375"/>
                <a:gd name="connsiteX449" fmla="*/ 526119 w 5673136"/>
                <a:gd name="connsiteY449" fmla="*/ 1103948 h 2168375"/>
                <a:gd name="connsiteX450" fmla="*/ 509532 w 5673136"/>
                <a:gd name="connsiteY450" fmla="*/ 1084707 h 2168375"/>
                <a:gd name="connsiteX451" fmla="*/ 501737 w 5673136"/>
                <a:gd name="connsiteY451" fmla="*/ 1060656 h 2168375"/>
                <a:gd name="connsiteX452" fmla="*/ 502732 w 5673136"/>
                <a:gd name="connsiteY452" fmla="*/ 1039094 h 2168375"/>
                <a:gd name="connsiteX453" fmla="*/ 505054 w 5673136"/>
                <a:gd name="connsiteY453" fmla="*/ 1018028 h 2168375"/>
                <a:gd name="connsiteX454" fmla="*/ 479676 w 5673136"/>
                <a:gd name="connsiteY454" fmla="*/ 999285 h 2168375"/>
                <a:gd name="connsiteX455" fmla="*/ 459440 w 5673136"/>
                <a:gd name="connsiteY455" fmla="*/ 984523 h 2168375"/>
                <a:gd name="connsiteX456" fmla="*/ 427096 w 5673136"/>
                <a:gd name="connsiteY456" fmla="*/ 957486 h 2168375"/>
                <a:gd name="connsiteX457" fmla="*/ 415153 w 5673136"/>
                <a:gd name="connsiteY457" fmla="*/ 946705 h 2168375"/>
                <a:gd name="connsiteX458" fmla="*/ 441692 w 5673136"/>
                <a:gd name="connsiteY458" fmla="*/ 956491 h 2168375"/>
                <a:gd name="connsiteX459" fmla="*/ 487970 w 5673136"/>
                <a:gd name="connsiteY459" fmla="*/ 976230 h 2168375"/>
                <a:gd name="connsiteX460" fmla="*/ 545858 w 5673136"/>
                <a:gd name="connsiteY460" fmla="*/ 994309 h 2168375"/>
                <a:gd name="connsiteX461" fmla="*/ 623484 w 5673136"/>
                <a:gd name="connsiteY461" fmla="*/ 1007081 h 2168375"/>
                <a:gd name="connsiteX462" fmla="*/ 719853 w 5673136"/>
                <a:gd name="connsiteY462" fmla="*/ 964950 h 2168375"/>
                <a:gd name="connsiteX463" fmla="*/ 716868 w 5673136"/>
                <a:gd name="connsiteY463" fmla="*/ 925640 h 2168375"/>
                <a:gd name="connsiteX464" fmla="*/ 697793 w 5673136"/>
                <a:gd name="connsiteY464" fmla="*/ 910877 h 2168375"/>
                <a:gd name="connsiteX465" fmla="*/ 670259 w 5673136"/>
                <a:gd name="connsiteY465" fmla="*/ 894291 h 2168375"/>
                <a:gd name="connsiteX466" fmla="*/ 642725 w 5673136"/>
                <a:gd name="connsiteY466" fmla="*/ 879031 h 2168375"/>
                <a:gd name="connsiteX467" fmla="*/ 594125 w 5673136"/>
                <a:gd name="connsiteY467" fmla="*/ 854482 h 2168375"/>
                <a:gd name="connsiteX468" fmla="*/ 516499 w 5673136"/>
                <a:gd name="connsiteY468" fmla="*/ 824128 h 2168375"/>
                <a:gd name="connsiteX469" fmla="*/ 499912 w 5673136"/>
                <a:gd name="connsiteY469" fmla="*/ 822138 h 2168375"/>
                <a:gd name="connsiteX470" fmla="*/ 476459 w 5673136"/>
                <a:gd name="connsiteY470" fmla="*/ 821541 h 2168375"/>
                <a:gd name="connsiteX471" fmla="*/ 475861 w 5673136"/>
                <a:gd name="connsiteY471" fmla="*/ 822138 h 2168375"/>
                <a:gd name="connsiteX472" fmla="*/ 445342 w 5673136"/>
                <a:gd name="connsiteY472" fmla="*/ 820147 h 2168375"/>
                <a:gd name="connsiteX473" fmla="*/ 426764 w 5673136"/>
                <a:gd name="connsiteY473" fmla="*/ 809366 h 2168375"/>
                <a:gd name="connsiteX474" fmla="*/ 451313 w 5673136"/>
                <a:gd name="connsiteY474" fmla="*/ 801404 h 2168375"/>
                <a:gd name="connsiteX475" fmla="*/ 429086 w 5673136"/>
                <a:gd name="connsiteY475" fmla="*/ 792613 h 2168375"/>
                <a:gd name="connsiteX476" fmla="*/ 405533 w 5673136"/>
                <a:gd name="connsiteY476" fmla="*/ 797092 h 2168375"/>
                <a:gd name="connsiteX477" fmla="*/ 385463 w 5673136"/>
                <a:gd name="connsiteY477" fmla="*/ 796097 h 2168375"/>
                <a:gd name="connsiteX478" fmla="*/ 383141 w 5673136"/>
                <a:gd name="connsiteY478" fmla="*/ 794438 h 2168375"/>
                <a:gd name="connsiteX479" fmla="*/ 366554 w 5673136"/>
                <a:gd name="connsiteY479" fmla="*/ 806380 h 2168375"/>
                <a:gd name="connsiteX480" fmla="*/ 339020 w 5673136"/>
                <a:gd name="connsiteY480" fmla="*/ 819152 h 2168375"/>
                <a:gd name="connsiteX481" fmla="*/ 316462 w 5673136"/>
                <a:gd name="connsiteY481" fmla="*/ 838725 h 2168375"/>
                <a:gd name="connsiteX482" fmla="*/ 303690 w 5673136"/>
                <a:gd name="connsiteY482" fmla="*/ 848677 h 2168375"/>
                <a:gd name="connsiteX483" fmla="*/ 298714 w 5673136"/>
                <a:gd name="connsiteY483" fmla="*/ 866259 h 2168375"/>
                <a:gd name="connsiteX484" fmla="*/ 303690 w 5673136"/>
                <a:gd name="connsiteY484" fmla="*/ 885002 h 2168375"/>
                <a:gd name="connsiteX485" fmla="*/ 324423 w 5673136"/>
                <a:gd name="connsiteY485" fmla="*/ 896778 h 2168375"/>
                <a:gd name="connsiteX486" fmla="*/ 347977 w 5673136"/>
                <a:gd name="connsiteY486" fmla="*/ 921327 h 2168375"/>
                <a:gd name="connsiteX487" fmla="*/ 327243 w 5673136"/>
                <a:gd name="connsiteY487" fmla="*/ 945876 h 2168375"/>
                <a:gd name="connsiteX488" fmla="*/ 317457 w 5673136"/>
                <a:gd name="connsiteY488" fmla="*/ 965614 h 2168375"/>
                <a:gd name="connsiteX489" fmla="*/ 348972 w 5673136"/>
                <a:gd name="connsiteY489" fmla="*/ 1015374 h 2168375"/>
                <a:gd name="connsiteX490" fmla="*/ 338191 w 5673136"/>
                <a:gd name="connsiteY490" fmla="*/ 1034947 h 2168375"/>
                <a:gd name="connsiteX491" fmla="*/ 343001 w 5673136"/>
                <a:gd name="connsiteY491" fmla="*/ 1060490 h 2168375"/>
                <a:gd name="connsiteX492" fmla="*/ 335205 w 5673136"/>
                <a:gd name="connsiteY492" fmla="*/ 1070277 h 2168375"/>
                <a:gd name="connsiteX493" fmla="*/ 351792 w 5673136"/>
                <a:gd name="connsiteY493" fmla="*/ 1081224 h 2168375"/>
                <a:gd name="connsiteX494" fmla="*/ 346982 w 5673136"/>
                <a:gd name="connsiteY494" fmla="*/ 1097811 h 2168375"/>
                <a:gd name="connsiteX495" fmla="*/ 364729 w 5673136"/>
                <a:gd name="connsiteY495" fmla="*/ 1115559 h 2168375"/>
                <a:gd name="connsiteX496" fmla="*/ 343996 w 5673136"/>
                <a:gd name="connsiteY496" fmla="*/ 1134302 h 2168375"/>
                <a:gd name="connsiteX497" fmla="*/ 386292 w 5673136"/>
                <a:gd name="connsiteY497" fmla="*/ 1166646 h 2168375"/>
                <a:gd name="connsiteX498" fmla="*/ 395083 w 5673136"/>
                <a:gd name="connsiteY498" fmla="*/ 1193185 h 2168375"/>
                <a:gd name="connsiteX499" fmla="*/ 345323 w 5673136"/>
                <a:gd name="connsiteY499" fmla="*/ 1240292 h 2168375"/>
                <a:gd name="connsiteX500" fmla="*/ 294235 w 5673136"/>
                <a:gd name="connsiteY500" fmla="*/ 1281593 h 2168375"/>
                <a:gd name="connsiteX501" fmla="*/ 277648 w 5673136"/>
                <a:gd name="connsiteY501" fmla="*/ 1301829 h 2168375"/>
                <a:gd name="connsiteX502" fmla="*/ 291581 w 5673136"/>
                <a:gd name="connsiteY502" fmla="*/ 1296853 h 2168375"/>
                <a:gd name="connsiteX503" fmla="*/ 312647 w 5673136"/>
                <a:gd name="connsiteY503" fmla="*/ 1318416 h 2168375"/>
                <a:gd name="connsiteX504" fmla="*/ 341674 w 5673136"/>
                <a:gd name="connsiteY504" fmla="*/ 1324885 h 2168375"/>
                <a:gd name="connsiteX505" fmla="*/ 325916 w 5673136"/>
                <a:gd name="connsiteY505" fmla="*/ 1329363 h 2168375"/>
                <a:gd name="connsiteX506" fmla="*/ 294070 w 5673136"/>
                <a:gd name="connsiteY506" fmla="*/ 1340144 h 2168375"/>
                <a:gd name="connsiteX507" fmla="*/ 277483 w 5673136"/>
                <a:gd name="connsiteY507" fmla="*/ 1352916 h 2168375"/>
                <a:gd name="connsiteX508" fmla="*/ 270848 w 5673136"/>
                <a:gd name="connsiteY508" fmla="*/ 1374645 h 2168375"/>
                <a:gd name="connsiteX509" fmla="*/ 259735 w 5673136"/>
                <a:gd name="connsiteY509" fmla="*/ 1391232 h 2168375"/>
                <a:gd name="connsiteX510" fmla="*/ 261891 w 5673136"/>
                <a:gd name="connsiteY510" fmla="*/ 1410307 h 2168375"/>
                <a:gd name="connsiteX511" fmla="*/ 269355 w 5673136"/>
                <a:gd name="connsiteY511" fmla="*/ 1428055 h 2168375"/>
                <a:gd name="connsiteX512" fmla="*/ 260398 w 5673136"/>
                <a:gd name="connsiteY512" fmla="*/ 1439002 h 2168375"/>
                <a:gd name="connsiteX513" fmla="*/ 264877 w 5673136"/>
                <a:gd name="connsiteY513" fmla="*/ 1456750 h 2168375"/>
                <a:gd name="connsiteX514" fmla="*/ 268526 w 5673136"/>
                <a:gd name="connsiteY514" fmla="*/ 1475161 h 2168375"/>
                <a:gd name="connsiteX515" fmla="*/ 278810 w 5673136"/>
                <a:gd name="connsiteY515" fmla="*/ 1494402 h 2168375"/>
                <a:gd name="connsiteX516" fmla="*/ 287767 w 5673136"/>
                <a:gd name="connsiteY516" fmla="*/ 1517126 h 2168375"/>
                <a:gd name="connsiteX517" fmla="*/ 305349 w 5673136"/>
                <a:gd name="connsiteY517" fmla="*/ 1522434 h 2168375"/>
                <a:gd name="connsiteX518" fmla="*/ 321935 w 5673136"/>
                <a:gd name="connsiteY518" fmla="*/ 1530395 h 2168375"/>
                <a:gd name="connsiteX519" fmla="*/ 339517 w 5673136"/>
                <a:gd name="connsiteY519" fmla="*/ 1530395 h 2168375"/>
                <a:gd name="connsiteX520" fmla="*/ 370535 w 5673136"/>
                <a:gd name="connsiteY520" fmla="*/ 1539352 h 2168375"/>
                <a:gd name="connsiteX521" fmla="*/ 373520 w 5673136"/>
                <a:gd name="connsiteY521" fmla="*/ 1562076 h 2168375"/>
                <a:gd name="connsiteX522" fmla="*/ 377169 w 5673136"/>
                <a:gd name="connsiteY522" fmla="*/ 1585796 h 2168375"/>
                <a:gd name="connsiteX523" fmla="*/ 392596 w 5673136"/>
                <a:gd name="connsiteY523" fmla="*/ 1606363 h 2168375"/>
                <a:gd name="connsiteX524" fmla="*/ 411836 w 5673136"/>
                <a:gd name="connsiteY524" fmla="*/ 1624775 h 2168375"/>
                <a:gd name="connsiteX525" fmla="*/ 430247 w 5673136"/>
                <a:gd name="connsiteY525" fmla="*/ 1641361 h 2168375"/>
                <a:gd name="connsiteX526" fmla="*/ 413661 w 5673136"/>
                <a:gd name="connsiteY526" fmla="*/ 1656787 h 2168375"/>
                <a:gd name="connsiteX527" fmla="*/ 390107 w 5673136"/>
                <a:gd name="connsiteY527" fmla="*/ 1653138 h 2168375"/>
                <a:gd name="connsiteX528" fmla="*/ 395249 w 5673136"/>
                <a:gd name="connsiteY528" fmla="*/ 1684155 h 2168375"/>
                <a:gd name="connsiteX529" fmla="*/ 409348 w 5673136"/>
                <a:gd name="connsiteY529" fmla="*/ 1701903 h 2168375"/>
                <a:gd name="connsiteX530" fmla="*/ 424774 w 5673136"/>
                <a:gd name="connsiteY530" fmla="*/ 1693776 h 2168375"/>
                <a:gd name="connsiteX531" fmla="*/ 447000 w 5673136"/>
                <a:gd name="connsiteY531" fmla="*/ 1692946 h 2168375"/>
                <a:gd name="connsiteX532" fmla="*/ 474202 w 5673136"/>
                <a:gd name="connsiteY532" fmla="*/ 1695932 h 2168375"/>
                <a:gd name="connsiteX533" fmla="*/ 478515 w 5673136"/>
                <a:gd name="connsiteY533" fmla="*/ 1720978 h 2168375"/>
                <a:gd name="connsiteX534" fmla="*/ 485979 w 5673136"/>
                <a:gd name="connsiteY534" fmla="*/ 1739390 h 2168375"/>
                <a:gd name="connsiteX535" fmla="*/ 510362 w 5673136"/>
                <a:gd name="connsiteY535" fmla="*/ 1745361 h 2168375"/>
                <a:gd name="connsiteX536" fmla="*/ 524958 w 5673136"/>
                <a:gd name="connsiteY536" fmla="*/ 1771071 h 2168375"/>
                <a:gd name="connsiteX537" fmla="*/ 537564 w 5673136"/>
                <a:gd name="connsiteY537" fmla="*/ 1777705 h 2168375"/>
                <a:gd name="connsiteX538" fmla="*/ 554151 w 5673136"/>
                <a:gd name="connsiteY538" fmla="*/ 1785169 h 2168375"/>
                <a:gd name="connsiteX539" fmla="*/ 570738 w 5673136"/>
                <a:gd name="connsiteY539" fmla="*/ 1783676 h 2168375"/>
                <a:gd name="connsiteX540" fmla="*/ 589149 w 5673136"/>
                <a:gd name="connsiteY540" fmla="*/ 1782184 h 2168375"/>
                <a:gd name="connsiteX541" fmla="*/ 603912 w 5673136"/>
                <a:gd name="connsiteY541" fmla="*/ 1799931 h 2168375"/>
                <a:gd name="connsiteX542" fmla="*/ 631114 w 5673136"/>
                <a:gd name="connsiteY542" fmla="*/ 1804244 h 2168375"/>
                <a:gd name="connsiteX543" fmla="*/ 659146 w 5673136"/>
                <a:gd name="connsiteY543" fmla="*/ 1811708 h 2168375"/>
                <a:gd name="connsiteX544" fmla="*/ 678386 w 5673136"/>
                <a:gd name="connsiteY544" fmla="*/ 1823485 h 2168375"/>
                <a:gd name="connsiteX545" fmla="*/ 668766 w 5673136"/>
                <a:gd name="connsiteY545" fmla="*/ 1837418 h 2168375"/>
                <a:gd name="connsiteX546" fmla="*/ 676894 w 5673136"/>
                <a:gd name="connsiteY546" fmla="*/ 1847038 h 2168375"/>
                <a:gd name="connsiteX547" fmla="*/ 665117 w 5673136"/>
                <a:gd name="connsiteY547" fmla="*/ 1855166 h 2168375"/>
                <a:gd name="connsiteX548" fmla="*/ 672415 w 5673136"/>
                <a:gd name="connsiteY548" fmla="*/ 1867606 h 2168375"/>
                <a:gd name="connsiteX549" fmla="*/ 666444 w 5673136"/>
                <a:gd name="connsiteY549" fmla="*/ 1887510 h 2168375"/>
                <a:gd name="connsiteX550" fmla="*/ 639242 w 5673136"/>
                <a:gd name="connsiteY550" fmla="*/ 1887510 h 2168375"/>
                <a:gd name="connsiteX551" fmla="*/ 613532 w 5673136"/>
                <a:gd name="connsiteY551" fmla="*/ 1905092 h 2168375"/>
                <a:gd name="connsiteX552" fmla="*/ 613532 w 5673136"/>
                <a:gd name="connsiteY552" fmla="*/ 1921679 h 2168375"/>
                <a:gd name="connsiteX553" fmla="*/ 646705 w 5673136"/>
                <a:gd name="connsiteY553" fmla="*/ 1921679 h 2168375"/>
                <a:gd name="connsiteX554" fmla="*/ 605404 w 5673136"/>
                <a:gd name="connsiteY554" fmla="*/ 1945730 h 2168375"/>
                <a:gd name="connsiteX555" fmla="*/ 618176 w 5673136"/>
                <a:gd name="connsiteY555" fmla="*/ 1964307 h 2168375"/>
                <a:gd name="connsiteX556" fmla="*/ 598438 w 5673136"/>
                <a:gd name="connsiteY556" fmla="*/ 1983548 h 2168375"/>
                <a:gd name="connsiteX557" fmla="*/ 580358 w 5673136"/>
                <a:gd name="connsiteY557" fmla="*/ 1997812 h 2168375"/>
                <a:gd name="connsiteX558" fmla="*/ 571402 w 5673136"/>
                <a:gd name="connsiteY558" fmla="*/ 2005608 h 2168375"/>
                <a:gd name="connsiteX559" fmla="*/ 597442 w 5673136"/>
                <a:gd name="connsiteY559" fmla="*/ 2026839 h 2168375"/>
                <a:gd name="connsiteX560" fmla="*/ 659478 w 5673136"/>
                <a:gd name="connsiteY560" fmla="*/ 2071458 h 2168375"/>
                <a:gd name="connsiteX561" fmla="*/ 668103 w 5673136"/>
                <a:gd name="connsiteY561" fmla="*/ 2078258 h 2168375"/>
                <a:gd name="connsiteX562" fmla="*/ 680543 w 5673136"/>
                <a:gd name="connsiteY562" fmla="*/ 2072453 h 2168375"/>
                <a:gd name="connsiteX563" fmla="*/ 720351 w 5673136"/>
                <a:gd name="connsiteY563" fmla="*/ 2084230 h 2168375"/>
                <a:gd name="connsiteX564" fmla="*/ 771936 w 5673136"/>
                <a:gd name="connsiteY564" fmla="*/ 2088708 h 2168375"/>
                <a:gd name="connsiteX565" fmla="*/ 792504 w 5673136"/>
                <a:gd name="connsiteY565" fmla="*/ 2101978 h 2168375"/>
                <a:gd name="connsiteX566" fmla="*/ 813237 w 5673136"/>
                <a:gd name="connsiteY566" fmla="*/ 2112262 h 2168375"/>
                <a:gd name="connsiteX567" fmla="*/ 846411 w 5673136"/>
                <a:gd name="connsiteY567" fmla="*/ 2107783 h 2168375"/>
                <a:gd name="connsiteX568" fmla="*/ 858187 w 5673136"/>
                <a:gd name="connsiteY568" fmla="*/ 2112262 h 2168375"/>
                <a:gd name="connsiteX569" fmla="*/ 868472 w 5673136"/>
                <a:gd name="connsiteY569" fmla="*/ 2132829 h 2168375"/>
                <a:gd name="connsiteX570" fmla="*/ 899489 w 5673136"/>
                <a:gd name="connsiteY570" fmla="*/ 2147592 h 2168375"/>
                <a:gd name="connsiteX571" fmla="*/ 924535 w 5673136"/>
                <a:gd name="connsiteY571" fmla="*/ 2165339 h 2168375"/>
                <a:gd name="connsiteX572" fmla="*/ 939297 w 5673136"/>
                <a:gd name="connsiteY572" fmla="*/ 2165339 h 2168375"/>
                <a:gd name="connsiteX573" fmla="*/ 960694 w 5673136"/>
                <a:gd name="connsiteY573" fmla="*/ 2148753 h 2168375"/>
                <a:gd name="connsiteX574" fmla="*/ 922544 w 5673136"/>
                <a:gd name="connsiteY574" fmla="*/ 2090865 h 2168375"/>
                <a:gd name="connsiteX575" fmla="*/ 909773 w 5673136"/>
                <a:gd name="connsiteY575" fmla="*/ 2045583 h 2168375"/>
                <a:gd name="connsiteX576" fmla="*/ 926360 w 5673136"/>
                <a:gd name="connsiteY576" fmla="*/ 1997481 h 2168375"/>
                <a:gd name="connsiteX577" fmla="*/ 985243 w 5673136"/>
                <a:gd name="connsiteY577" fmla="*/ 1961653 h 2168375"/>
                <a:gd name="connsiteX578" fmla="*/ 974461 w 5673136"/>
                <a:gd name="connsiteY578" fmla="*/ 1955184 h 2168375"/>
                <a:gd name="connsiteX579" fmla="*/ 967163 w 5673136"/>
                <a:gd name="connsiteY579" fmla="*/ 1940422 h 2168375"/>
                <a:gd name="connsiteX580" fmla="*/ 962685 w 5673136"/>
                <a:gd name="connsiteY580" fmla="*/ 1919854 h 2168375"/>
                <a:gd name="connsiteX581" fmla="*/ 942117 w 5673136"/>
                <a:gd name="connsiteY581" fmla="*/ 1896301 h 2168375"/>
                <a:gd name="connsiteX582" fmla="*/ 918398 w 5673136"/>
                <a:gd name="connsiteY582" fmla="*/ 1897794 h 2168375"/>
                <a:gd name="connsiteX583" fmla="*/ 912592 w 5673136"/>
                <a:gd name="connsiteY583" fmla="*/ 1880046 h 2168375"/>
                <a:gd name="connsiteX584" fmla="*/ 893352 w 5673136"/>
                <a:gd name="connsiteY584" fmla="*/ 1866776 h 2168375"/>
                <a:gd name="connsiteX585" fmla="*/ 900816 w 5673136"/>
                <a:gd name="connsiteY585" fmla="*/ 1846209 h 2168375"/>
                <a:gd name="connsiteX586" fmla="*/ 912592 w 5673136"/>
                <a:gd name="connsiteY586" fmla="*/ 1835759 h 2168375"/>
                <a:gd name="connsiteX587" fmla="*/ 902308 w 5673136"/>
                <a:gd name="connsiteY587" fmla="*/ 1819172 h 2168375"/>
                <a:gd name="connsiteX588" fmla="*/ 919890 w 5673136"/>
                <a:gd name="connsiteY588" fmla="*/ 1798439 h 2168375"/>
                <a:gd name="connsiteX589" fmla="*/ 939131 w 5673136"/>
                <a:gd name="connsiteY589" fmla="*/ 1786662 h 2168375"/>
                <a:gd name="connsiteX590" fmla="*/ 965670 w 5673136"/>
                <a:gd name="connsiteY590" fmla="*/ 1808722 h 2168375"/>
                <a:gd name="connsiteX591" fmla="*/ 968656 w 5673136"/>
                <a:gd name="connsiteY591" fmla="*/ 1788155 h 2168375"/>
                <a:gd name="connsiteX592" fmla="*/ 977447 w 5673136"/>
                <a:gd name="connsiteY592" fmla="*/ 1770407 h 2168375"/>
                <a:gd name="connsiteX593" fmla="*/ 995195 w 5673136"/>
                <a:gd name="connsiteY593" fmla="*/ 1753820 h 2168375"/>
                <a:gd name="connsiteX594" fmla="*/ 1030525 w 5673136"/>
                <a:gd name="connsiteY594" fmla="*/ 1737233 h 2168375"/>
                <a:gd name="connsiteX595" fmla="*/ 1055571 w 5673136"/>
                <a:gd name="connsiteY595" fmla="*/ 1729769 h 2168375"/>
                <a:gd name="connsiteX596" fmla="*/ 1073153 w 5673136"/>
                <a:gd name="connsiteY596" fmla="*/ 1729769 h 2168375"/>
                <a:gd name="connsiteX597" fmla="*/ 1096872 w 5673136"/>
                <a:gd name="connsiteY597" fmla="*/ 1729769 h 2168375"/>
                <a:gd name="connsiteX598" fmla="*/ 1135188 w 5673136"/>
                <a:gd name="connsiteY598" fmla="*/ 1741712 h 2168375"/>
                <a:gd name="connsiteX599" fmla="*/ 1163054 w 5673136"/>
                <a:gd name="connsiteY599" fmla="*/ 1765265 h 2168375"/>
                <a:gd name="connsiteX600" fmla="*/ 1172011 w 5673136"/>
                <a:gd name="connsiteY600" fmla="*/ 1769577 h 2168375"/>
                <a:gd name="connsiteX601" fmla="*/ 1191085 w 5673136"/>
                <a:gd name="connsiteY601" fmla="*/ 1769577 h 2168375"/>
                <a:gd name="connsiteX602" fmla="*/ 1222103 w 5673136"/>
                <a:gd name="connsiteY602" fmla="*/ 1766758 h 2168375"/>
                <a:gd name="connsiteX603" fmla="*/ 1254447 w 5673136"/>
                <a:gd name="connsiteY603" fmla="*/ 1756308 h 2168375"/>
                <a:gd name="connsiteX604" fmla="*/ 1273688 w 5673136"/>
                <a:gd name="connsiteY604" fmla="*/ 1757801 h 2168375"/>
                <a:gd name="connsiteX605" fmla="*/ 1306862 w 5673136"/>
                <a:gd name="connsiteY605" fmla="*/ 1759294 h 2168375"/>
                <a:gd name="connsiteX606" fmla="*/ 1328922 w 5673136"/>
                <a:gd name="connsiteY606" fmla="*/ 1769577 h 2168375"/>
                <a:gd name="connsiteX607" fmla="*/ 1345509 w 5673136"/>
                <a:gd name="connsiteY607" fmla="*/ 1780027 h 2168375"/>
                <a:gd name="connsiteX608" fmla="*/ 1357285 w 5673136"/>
                <a:gd name="connsiteY608" fmla="*/ 1763440 h 2168375"/>
                <a:gd name="connsiteX609" fmla="*/ 1382331 w 5673136"/>
                <a:gd name="connsiteY609" fmla="*/ 1773724 h 2168375"/>
                <a:gd name="connsiteX610" fmla="*/ 1402899 w 5673136"/>
                <a:gd name="connsiteY610" fmla="*/ 1761948 h 2168375"/>
                <a:gd name="connsiteX611" fmla="*/ 1394108 w 5673136"/>
                <a:gd name="connsiteY611" fmla="*/ 1738394 h 2168375"/>
                <a:gd name="connsiteX612" fmla="*/ 1370555 w 5673136"/>
                <a:gd name="connsiteY612" fmla="*/ 1730930 h 2168375"/>
                <a:gd name="connsiteX613" fmla="*/ 1361598 w 5673136"/>
                <a:gd name="connsiteY613" fmla="*/ 1713348 h 2168375"/>
                <a:gd name="connsiteX614" fmla="*/ 1382331 w 5673136"/>
                <a:gd name="connsiteY614" fmla="*/ 1695600 h 2168375"/>
                <a:gd name="connsiteX615" fmla="*/ 1388137 w 5673136"/>
                <a:gd name="connsiteY615" fmla="*/ 1672047 h 2168375"/>
                <a:gd name="connsiteX616" fmla="*/ 1423467 w 5673136"/>
                <a:gd name="connsiteY616" fmla="*/ 1666076 h 2168375"/>
                <a:gd name="connsiteX617" fmla="*/ 1394108 w 5673136"/>
                <a:gd name="connsiteY617" fmla="*/ 1651479 h 2168375"/>
                <a:gd name="connsiteX618" fmla="*/ 1392615 w 5673136"/>
                <a:gd name="connsiteY618" fmla="*/ 1623448 h 2168375"/>
                <a:gd name="connsiteX619" fmla="*/ 1420647 w 5673136"/>
                <a:gd name="connsiteY619" fmla="*/ 1621955 h 2168375"/>
                <a:gd name="connsiteX620" fmla="*/ 1460455 w 5673136"/>
                <a:gd name="connsiteY620" fmla="*/ 1617476 h 2168375"/>
                <a:gd name="connsiteX621" fmla="*/ 1510216 w 5673136"/>
                <a:gd name="connsiteY621" fmla="*/ 1607193 h 2168375"/>
                <a:gd name="connsiteX622" fmla="*/ 1543389 w 5673136"/>
                <a:gd name="connsiteY622" fmla="*/ 1596909 h 2168375"/>
                <a:gd name="connsiteX623" fmla="*/ 1590496 w 5673136"/>
                <a:gd name="connsiteY623" fmla="*/ 1587952 h 2168375"/>
                <a:gd name="connsiteX624" fmla="*/ 1639261 w 5673136"/>
                <a:gd name="connsiteY624" fmla="*/ 1571365 h 2168375"/>
                <a:gd name="connsiteX625" fmla="*/ 1680397 w 5673136"/>
                <a:gd name="connsiteY625" fmla="*/ 1561745 h 2168375"/>
                <a:gd name="connsiteX626" fmla="*/ 1706272 w 5673136"/>
                <a:gd name="connsiteY626" fmla="*/ 1565394 h 2168375"/>
                <a:gd name="connsiteX627" fmla="*/ 1727669 w 5673136"/>
                <a:gd name="connsiteY627" fmla="*/ 1578663 h 2168375"/>
                <a:gd name="connsiteX628" fmla="*/ 1733640 w 5673136"/>
                <a:gd name="connsiteY628" fmla="*/ 1602216 h 2168375"/>
                <a:gd name="connsiteX629" fmla="*/ 1729826 w 5673136"/>
                <a:gd name="connsiteY629" fmla="*/ 1616315 h 2168375"/>
                <a:gd name="connsiteX630" fmla="*/ 1760014 w 5673136"/>
                <a:gd name="connsiteY630" fmla="*/ 1611173 h 2168375"/>
                <a:gd name="connsiteX631" fmla="*/ 1772619 w 5673136"/>
                <a:gd name="connsiteY631" fmla="*/ 1619135 h 2168375"/>
                <a:gd name="connsiteX632" fmla="*/ 1782240 w 5673136"/>
                <a:gd name="connsiteY632" fmla="*/ 1621457 h 2168375"/>
                <a:gd name="connsiteX633" fmla="*/ 1797666 w 5673136"/>
                <a:gd name="connsiteY633" fmla="*/ 1623614 h 2168375"/>
                <a:gd name="connsiteX634" fmla="*/ 1815414 w 5673136"/>
                <a:gd name="connsiteY634" fmla="*/ 1625770 h 2168375"/>
                <a:gd name="connsiteX635" fmla="*/ 1803637 w 5673136"/>
                <a:gd name="connsiteY635" fmla="*/ 1647167 h 2168375"/>
                <a:gd name="connsiteX636" fmla="*/ 1828683 w 5673136"/>
                <a:gd name="connsiteY636" fmla="*/ 1641361 h 2168375"/>
                <a:gd name="connsiteX637" fmla="*/ 1864677 w 5673136"/>
                <a:gd name="connsiteY637" fmla="*/ 1626599 h 2168375"/>
                <a:gd name="connsiteX638" fmla="*/ 1894864 w 5673136"/>
                <a:gd name="connsiteY638" fmla="*/ 1610012 h 2168375"/>
                <a:gd name="connsiteX639" fmla="*/ 1917091 w 5673136"/>
                <a:gd name="connsiteY639" fmla="*/ 1612169 h 2168375"/>
                <a:gd name="connsiteX640" fmla="*/ 1926711 w 5673136"/>
                <a:gd name="connsiteY640" fmla="*/ 1637215 h 2168375"/>
                <a:gd name="connsiteX641" fmla="*/ 1987751 w 5673136"/>
                <a:gd name="connsiteY641" fmla="*/ 1709367 h 2168375"/>
                <a:gd name="connsiteX642" fmla="*/ 2022418 w 5673136"/>
                <a:gd name="connsiteY642" fmla="*/ 1769080 h 2168375"/>
                <a:gd name="connsiteX643" fmla="*/ 2041658 w 5673136"/>
                <a:gd name="connsiteY643" fmla="*/ 1747683 h 2168375"/>
                <a:gd name="connsiteX644" fmla="*/ 2067367 w 5673136"/>
                <a:gd name="connsiteY644" fmla="*/ 1766260 h 2168375"/>
                <a:gd name="connsiteX645" fmla="*/ 2100541 w 5673136"/>
                <a:gd name="connsiteY645" fmla="*/ 1771402 h 2168375"/>
                <a:gd name="connsiteX646" fmla="*/ 2133715 w 5673136"/>
                <a:gd name="connsiteY646" fmla="*/ 1761782 h 2168375"/>
                <a:gd name="connsiteX647" fmla="*/ 2155112 w 5673136"/>
                <a:gd name="connsiteY647" fmla="*/ 1779530 h 2168375"/>
                <a:gd name="connsiteX648" fmla="*/ 2175846 w 5673136"/>
                <a:gd name="connsiteY648" fmla="*/ 1796117 h 2168375"/>
                <a:gd name="connsiteX649" fmla="*/ 2182978 w 5673136"/>
                <a:gd name="connsiteY649" fmla="*/ 1808557 h 2168375"/>
                <a:gd name="connsiteX650" fmla="*/ 2199565 w 5673136"/>
                <a:gd name="connsiteY650" fmla="*/ 1822324 h 2168375"/>
                <a:gd name="connsiteX651" fmla="*/ 2226103 w 5673136"/>
                <a:gd name="connsiteY651" fmla="*/ 1817514 h 2168375"/>
                <a:gd name="connsiteX652" fmla="*/ 2237880 w 5673136"/>
                <a:gd name="connsiteY652" fmla="*/ 1818509 h 2168375"/>
                <a:gd name="connsiteX653" fmla="*/ 2253638 w 5673136"/>
                <a:gd name="connsiteY653" fmla="*/ 1836091 h 2168375"/>
                <a:gd name="connsiteX654" fmla="*/ 2272381 w 5673136"/>
                <a:gd name="connsiteY654" fmla="*/ 1836091 h 2168375"/>
                <a:gd name="connsiteX655" fmla="*/ 2294939 w 5673136"/>
                <a:gd name="connsiteY655" fmla="*/ 1827300 h 2168375"/>
                <a:gd name="connsiteX656" fmla="*/ 2325458 w 5673136"/>
                <a:gd name="connsiteY656" fmla="*/ 1813533 h 2168375"/>
                <a:gd name="connsiteX657" fmla="*/ 2351003 w 5673136"/>
                <a:gd name="connsiteY657" fmla="*/ 1798770 h 2168375"/>
                <a:gd name="connsiteX658" fmla="*/ 2372565 w 5673136"/>
                <a:gd name="connsiteY658" fmla="*/ 1784008 h 2168375"/>
                <a:gd name="connsiteX659" fmla="*/ 2395123 w 5673136"/>
                <a:gd name="connsiteY659" fmla="*/ 1774222 h 2168375"/>
                <a:gd name="connsiteX660" fmla="*/ 2418842 w 5673136"/>
                <a:gd name="connsiteY660" fmla="*/ 1770241 h 2168375"/>
                <a:gd name="connsiteX661" fmla="*/ 2464954 w 5673136"/>
                <a:gd name="connsiteY661" fmla="*/ 1778203 h 2168375"/>
                <a:gd name="connsiteX662" fmla="*/ 2475735 w 5673136"/>
                <a:gd name="connsiteY662" fmla="*/ 1796780 h 2168375"/>
                <a:gd name="connsiteX663" fmla="*/ 2503270 w 5673136"/>
                <a:gd name="connsiteY663" fmla="*/ 1807561 h 2168375"/>
                <a:gd name="connsiteX664" fmla="*/ 2529808 w 5673136"/>
                <a:gd name="connsiteY664" fmla="*/ 1805571 h 2168375"/>
                <a:gd name="connsiteX665" fmla="*/ 2553361 w 5673136"/>
                <a:gd name="connsiteY665" fmla="*/ 1812538 h 2168375"/>
                <a:gd name="connsiteX666" fmla="*/ 2580896 w 5673136"/>
                <a:gd name="connsiteY666" fmla="*/ 1798770 h 2168375"/>
                <a:gd name="connsiteX667" fmla="*/ 2581891 w 5673136"/>
                <a:gd name="connsiteY667" fmla="*/ 1779198 h 2168375"/>
                <a:gd name="connsiteX668" fmla="*/ 2570114 w 5673136"/>
                <a:gd name="connsiteY668" fmla="*/ 1751664 h 2168375"/>
                <a:gd name="connsiteX669" fmla="*/ 2583881 w 5673136"/>
                <a:gd name="connsiteY669" fmla="*/ 1735077 h 2168375"/>
                <a:gd name="connsiteX670" fmla="*/ 2601463 w 5673136"/>
                <a:gd name="connsiteY670" fmla="*/ 1723300 h 2168375"/>
                <a:gd name="connsiteX671" fmla="*/ 2613406 w 5673136"/>
                <a:gd name="connsiteY671" fmla="*/ 1712519 h 2168375"/>
                <a:gd name="connsiteX672" fmla="*/ 2637955 w 5673136"/>
                <a:gd name="connsiteY672" fmla="*/ 1722305 h 2168375"/>
                <a:gd name="connsiteX673" fmla="*/ 2658522 w 5673136"/>
                <a:gd name="connsiteY673" fmla="*/ 1727281 h 2168375"/>
                <a:gd name="connsiteX674" fmla="*/ 2683070 w 5673136"/>
                <a:gd name="connsiteY674" fmla="*/ 1737067 h 2168375"/>
                <a:gd name="connsiteX675" fmla="*/ 2716244 w 5673136"/>
                <a:gd name="connsiteY675" fmla="*/ 1746854 h 2168375"/>
                <a:gd name="connsiteX676" fmla="*/ 2720060 w 5673136"/>
                <a:gd name="connsiteY676" fmla="*/ 1775383 h 2168375"/>
                <a:gd name="connsiteX677" fmla="*/ 2740793 w 5673136"/>
                <a:gd name="connsiteY677" fmla="*/ 1791140 h 2168375"/>
                <a:gd name="connsiteX678" fmla="*/ 2770317 w 5673136"/>
                <a:gd name="connsiteY678" fmla="*/ 1799931 h 2168375"/>
                <a:gd name="connsiteX679" fmla="*/ 2793870 w 5673136"/>
                <a:gd name="connsiteY679" fmla="*/ 1788155 h 2168375"/>
                <a:gd name="connsiteX680" fmla="*/ 2824224 w 5673136"/>
                <a:gd name="connsiteY680" fmla="*/ 1784174 h 2168375"/>
                <a:gd name="connsiteX681" fmla="*/ 2854745 w 5673136"/>
                <a:gd name="connsiteY681" fmla="*/ 1791140 h 2168375"/>
                <a:gd name="connsiteX682" fmla="*/ 2880288 w 5673136"/>
                <a:gd name="connsiteY682" fmla="*/ 1797941 h 2168375"/>
                <a:gd name="connsiteX683" fmla="*/ 2907823 w 5673136"/>
                <a:gd name="connsiteY683" fmla="*/ 1810713 h 2168375"/>
                <a:gd name="connsiteX684" fmla="*/ 2925405 w 5673136"/>
                <a:gd name="connsiteY684" fmla="*/ 1829456 h 2168375"/>
                <a:gd name="connsiteX685" fmla="*/ 2967701 w 5673136"/>
                <a:gd name="connsiteY685" fmla="*/ 1837252 h 2168375"/>
                <a:gd name="connsiteX686" fmla="*/ 3011987 w 5673136"/>
                <a:gd name="connsiteY686" fmla="*/ 1837252 h 2168375"/>
                <a:gd name="connsiteX687" fmla="*/ 3055113 w 5673136"/>
                <a:gd name="connsiteY687" fmla="*/ 1826470 h 2168375"/>
                <a:gd name="connsiteX688" fmla="*/ 3081652 w 5673136"/>
                <a:gd name="connsiteY688" fmla="*/ 1816684 h 2168375"/>
                <a:gd name="connsiteX689" fmla="*/ 3108191 w 5673136"/>
                <a:gd name="connsiteY689" fmla="*/ 1798936 h 2168375"/>
                <a:gd name="connsiteX690" fmla="*/ 3149492 w 5673136"/>
                <a:gd name="connsiteY690" fmla="*/ 1800927 h 2168375"/>
                <a:gd name="connsiteX691" fmla="*/ 3178022 w 5673136"/>
                <a:gd name="connsiteY691" fmla="*/ 1806732 h 2168375"/>
                <a:gd name="connsiteX692" fmla="*/ 3209537 w 5673136"/>
                <a:gd name="connsiteY692" fmla="*/ 1814694 h 2168375"/>
                <a:gd name="connsiteX693" fmla="*/ 3242711 w 5673136"/>
                <a:gd name="connsiteY693" fmla="*/ 1823485 h 2168375"/>
                <a:gd name="connsiteX694" fmla="*/ 3274225 w 5673136"/>
                <a:gd name="connsiteY694" fmla="*/ 1806898 h 2168375"/>
                <a:gd name="connsiteX695" fmla="*/ 3288822 w 5673136"/>
                <a:gd name="connsiteY695" fmla="*/ 1792302 h 2168375"/>
                <a:gd name="connsiteX696" fmla="*/ 3304579 w 5673136"/>
                <a:gd name="connsiteY696" fmla="*/ 1757801 h 2168375"/>
                <a:gd name="connsiteX697" fmla="*/ 3325313 w 5673136"/>
                <a:gd name="connsiteY697" fmla="*/ 1726452 h 2168375"/>
                <a:gd name="connsiteX698" fmla="*/ 3339909 w 5673136"/>
                <a:gd name="connsiteY698" fmla="*/ 1709865 h 2168375"/>
                <a:gd name="connsiteX699" fmla="*/ 3330123 w 5673136"/>
                <a:gd name="connsiteY699" fmla="*/ 1686312 h 2168375"/>
                <a:gd name="connsiteX700" fmla="*/ 3327303 w 5673136"/>
                <a:gd name="connsiteY700" fmla="*/ 1668564 h 2168375"/>
                <a:gd name="connsiteX701" fmla="*/ 3369433 w 5673136"/>
                <a:gd name="connsiteY701" fmla="*/ 1654797 h 2168375"/>
                <a:gd name="connsiteX702" fmla="*/ 3419194 w 5673136"/>
                <a:gd name="connsiteY702" fmla="*/ 1650982 h 2168375"/>
                <a:gd name="connsiteX703" fmla="*/ 3456514 w 5673136"/>
                <a:gd name="connsiteY703" fmla="*/ 1656787 h 2168375"/>
                <a:gd name="connsiteX704" fmla="*/ 3496820 w 5673136"/>
                <a:gd name="connsiteY704" fmla="*/ 1668564 h 2168375"/>
                <a:gd name="connsiteX705" fmla="*/ 3518549 w 5673136"/>
                <a:gd name="connsiteY705" fmla="*/ 1693112 h 2168375"/>
                <a:gd name="connsiteX706" fmla="*/ 3534141 w 5673136"/>
                <a:gd name="connsiteY706" fmla="*/ 1723632 h 2168375"/>
                <a:gd name="connsiteX707" fmla="*/ 3553879 w 5673136"/>
                <a:gd name="connsiteY707" fmla="*/ 1762943 h 2168375"/>
                <a:gd name="connsiteX708" fmla="*/ 3570466 w 5673136"/>
                <a:gd name="connsiteY708" fmla="*/ 1803249 h 2168375"/>
                <a:gd name="connsiteX709" fmla="*/ 3583238 w 5673136"/>
                <a:gd name="connsiteY709" fmla="*/ 1821826 h 2168375"/>
                <a:gd name="connsiteX710" fmla="*/ 3615582 w 5673136"/>
                <a:gd name="connsiteY710" fmla="*/ 1833603 h 2168375"/>
                <a:gd name="connsiteX711" fmla="*/ 3648756 w 5673136"/>
                <a:gd name="connsiteY711" fmla="*/ 1848365 h 2168375"/>
                <a:gd name="connsiteX712" fmla="*/ 3672309 w 5673136"/>
                <a:gd name="connsiteY712" fmla="*/ 1864123 h 2168375"/>
                <a:gd name="connsiteX713" fmla="*/ 3679110 w 5673136"/>
                <a:gd name="connsiteY713" fmla="*/ 1892652 h 2168375"/>
                <a:gd name="connsiteX714" fmla="*/ 3712284 w 5673136"/>
                <a:gd name="connsiteY714" fmla="*/ 1905424 h 2168375"/>
                <a:gd name="connsiteX715" fmla="*/ 3741642 w 5673136"/>
                <a:gd name="connsiteY715" fmla="*/ 1898457 h 2168375"/>
                <a:gd name="connsiteX716" fmla="*/ 3774816 w 5673136"/>
                <a:gd name="connsiteY716" fmla="*/ 1886681 h 2168375"/>
                <a:gd name="connsiteX717" fmla="*/ 3801355 w 5673136"/>
                <a:gd name="connsiteY717" fmla="*/ 1893647 h 2168375"/>
                <a:gd name="connsiteX718" fmla="*/ 3802350 w 5673136"/>
                <a:gd name="connsiteY718" fmla="*/ 1921181 h 2168375"/>
                <a:gd name="connsiteX719" fmla="*/ 3784602 w 5673136"/>
                <a:gd name="connsiteY719" fmla="*/ 1963312 h 2168375"/>
                <a:gd name="connsiteX720" fmla="*/ 3765030 w 5673136"/>
                <a:gd name="connsiteY720" fmla="*/ 1988855 h 2168375"/>
                <a:gd name="connsiteX721" fmla="*/ 3748443 w 5673136"/>
                <a:gd name="connsiteY721" fmla="*/ 2010584 h 2168375"/>
                <a:gd name="connsiteX722" fmla="*/ 3718918 w 5673136"/>
                <a:gd name="connsiteY722" fmla="*/ 2010584 h 2168375"/>
                <a:gd name="connsiteX723" fmla="*/ 3691384 w 5673136"/>
                <a:gd name="connsiteY723" fmla="*/ 2023356 h 2168375"/>
                <a:gd name="connsiteX724" fmla="*/ 3686574 w 5673136"/>
                <a:gd name="connsiteY724" fmla="*/ 2046909 h 2168375"/>
                <a:gd name="connsiteX725" fmla="*/ 3688564 w 5673136"/>
                <a:gd name="connsiteY725" fmla="*/ 2074444 h 2168375"/>
                <a:gd name="connsiteX726" fmla="*/ 3690886 w 5673136"/>
                <a:gd name="connsiteY726" fmla="*/ 2106125 h 2168375"/>
                <a:gd name="connsiteX727" fmla="*/ 3718421 w 5673136"/>
                <a:gd name="connsiteY727" fmla="*/ 2091196 h 2168375"/>
                <a:gd name="connsiteX728" fmla="*/ 3756737 w 5673136"/>
                <a:gd name="connsiteY728" fmla="*/ 2112759 h 2168375"/>
                <a:gd name="connsiteX729" fmla="*/ 3833368 w 5673136"/>
                <a:gd name="connsiteY729" fmla="*/ 2064657 h 2168375"/>
                <a:gd name="connsiteX730" fmla="*/ 3887441 w 5673136"/>
                <a:gd name="connsiteY730" fmla="*/ 2004613 h 2168375"/>
                <a:gd name="connsiteX731" fmla="*/ 3936206 w 5673136"/>
                <a:gd name="connsiteY731" fmla="*/ 1939261 h 2168375"/>
                <a:gd name="connsiteX732" fmla="*/ 3971535 w 5673136"/>
                <a:gd name="connsiteY732" fmla="*/ 1892154 h 2168375"/>
                <a:gd name="connsiteX733" fmla="*/ 3992104 w 5673136"/>
                <a:gd name="connsiteY733" fmla="*/ 1858981 h 2168375"/>
                <a:gd name="connsiteX734" fmla="*/ 4006368 w 5673136"/>
                <a:gd name="connsiteY734" fmla="*/ 1771402 h 2168375"/>
                <a:gd name="connsiteX735" fmla="*/ 4012837 w 5673136"/>
                <a:gd name="connsiteY735" fmla="*/ 1750835 h 2168375"/>
                <a:gd name="connsiteX736" fmla="*/ 4024945 w 5673136"/>
                <a:gd name="connsiteY736" fmla="*/ 1727281 h 2168375"/>
                <a:gd name="connsiteX737" fmla="*/ 4030419 w 5673136"/>
                <a:gd name="connsiteY737" fmla="*/ 1705055 h 2168375"/>
                <a:gd name="connsiteX738" fmla="*/ 4028429 w 5673136"/>
                <a:gd name="connsiteY738" fmla="*/ 1680009 h 2168375"/>
                <a:gd name="connsiteX739" fmla="*/ 4032410 w 5673136"/>
                <a:gd name="connsiteY739" fmla="*/ 1670223 h 2168375"/>
                <a:gd name="connsiteX740" fmla="*/ 4020135 w 5673136"/>
                <a:gd name="connsiteY740" fmla="*/ 1653636 h 2168375"/>
                <a:gd name="connsiteX741" fmla="*/ 4000065 w 5673136"/>
                <a:gd name="connsiteY741" fmla="*/ 1637049 h 2168375"/>
                <a:gd name="connsiteX742" fmla="*/ 3973858 w 5673136"/>
                <a:gd name="connsiteY742" fmla="*/ 1617311 h 2168375"/>
                <a:gd name="connsiteX743" fmla="*/ 3945495 w 5673136"/>
                <a:gd name="connsiteY743" fmla="*/ 1618306 h 2168375"/>
                <a:gd name="connsiteX744" fmla="*/ 3939026 w 5673136"/>
                <a:gd name="connsiteY744" fmla="*/ 1629585 h 2168375"/>
                <a:gd name="connsiteX745" fmla="*/ 3924761 w 5673136"/>
                <a:gd name="connsiteY745" fmla="*/ 1642357 h 2168375"/>
                <a:gd name="connsiteX746" fmla="*/ 3906184 w 5673136"/>
                <a:gd name="connsiteY746" fmla="*/ 1643850 h 2168375"/>
                <a:gd name="connsiteX747" fmla="*/ 3904691 w 5673136"/>
                <a:gd name="connsiteY747" fmla="*/ 1624277 h 2168375"/>
                <a:gd name="connsiteX748" fmla="*/ 3903696 w 5673136"/>
                <a:gd name="connsiteY748" fmla="*/ 1611007 h 2168375"/>
                <a:gd name="connsiteX749" fmla="*/ 3883128 w 5673136"/>
                <a:gd name="connsiteY749" fmla="*/ 1634561 h 2168375"/>
                <a:gd name="connsiteX750" fmla="*/ 3879147 w 5673136"/>
                <a:gd name="connsiteY750" fmla="*/ 1600558 h 2168375"/>
                <a:gd name="connsiteX751" fmla="*/ 3841329 w 5673136"/>
                <a:gd name="connsiteY751" fmla="*/ 1599729 h 2168375"/>
                <a:gd name="connsiteX752" fmla="*/ 3842822 w 5673136"/>
                <a:gd name="connsiteY752" fmla="*/ 1575014 h 2168375"/>
                <a:gd name="connsiteX753" fmla="*/ 3864882 w 5673136"/>
                <a:gd name="connsiteY753" fmla="*/ 1554447 h 2168375"/>
                <a:gd name="connsiteX754" fmla="*/ 3907676 w 5673136"/>
                <a:gd name="connsiteY754" fmla="*/ 1529400 h 2168375"/>
                <a:gd name="connsiteX755" fmla="*/ 3922273 w 5673136"/>
                <a:gd name="connsiteY755" fmla="*/ 1508667 h 2168375"/>
                <a:gd name="connsiteX756" fmla="*/ 3970043 w 5673136"/>
                <a:gd name="connsiteY756" fmla="*/ 1472839 h 2168375"/>
                <a:gd name="connsiteX757" fmla="*/ 4006368 w 5673136"/>
                <a:gd name="connsiteY757" fmla="*/ 1435353 h 2168375"/>
                <a:gd name="connsiteX758" fmla="*/ 4043190 w 5673136"/>
                <a:gd name="connsiteY758" fmla="*/ 1404501 h 2168375"/>
                <a:gd name="connsiteX759" fmla="*/ 4105557 w 5673136"/>
                <a:gd name="connsiteY759" fmla="*/ 1371328 h 2168375"/>
                <a:gd name="connsiteX760" fmla="*/ 4177875 w 5673136"/>
                <a:gd name="connsiteY760" fmla="*/ 1380285 h 2168375"/>
                <a:gd name="connsiteX761" fmla="*/ 4192256 w 5673136"/>
                <a:gd name="connsiteY761" fmla="*/ 1382491 h 2168375"/>
                <a:gd name="connsiteX762" fmla="*/ 4194462 w 5673136"/>
                <a:gd name="connsiteY762" fmla="*/ 1380285 h 2168375"/>
                <a:gd name="connsiteX763" fmla="*/ 4225481 w 5673136"/>
                <a:gd name="connsiteY763" fmla="*/ 1380285 h 2168375"/>
                <a:gd name="connsiteX764" fmla="*/ 4257327 w 5673136"/>
                <a:gd name="connsiteY764" fmla="*/ 1375806 h 2168375"/>
                <a:gd name="connsiteX765" fmla="*/ 4284861 w 5673136"/>
                <a:gd name="connsiteY765" fmla="*/ 1368010 h 2168375"/>
                <a:gd name="connsiteX766" fmla="*/ 4331636 w 5673136"/>
                <a:gd name="connsiteY766" fmla="*/ 1362537 h 2168375"/>
                <a:gd name="connsiteX767" fmla="*/ 4356682 w 5673136"/>
                <a:gd name="connsiteY767" fmla="*/ 1367513 h 2168375"/>
                <a:gd name="connsiteX768" fmla="*/ 4379738 w 5673136"/>
                <a:gd name="connsiteY768" fmla="*/ 1379289 h 2168375"/>
                <a:gd name="connsiteX769" fmla="*/ 4373766 w 5673136"/>
                <a:gd name="connsiteY769" fmla="*/ 1389573 h 2168375"/>
                <a:gd name="connsiteX770" fmla="*/ 4362985 w 5673136"/>
                <a:gd name="connsiteY770" fmla="*/ 1400852 h 2168375"/>
                <a:gd name="connsiteX771" fmla="*/ 4396159 w 5673136"/>
                <a:gd name="connsiteY771" fmla="*/ 1395876 h 2168375"/>
                <a:gd name="connsiteX772" fmla="*/ 4430991 w 5673136"/>
                <a:gd name="connsiteY772" fmla="*/ 1390071 h 2168375"/>
                <a:gd name="connsiteX773" fmla="*/ 4454545 w 5673136"/>
                <a:gd name="connsiteY773" fmla="*/ 1390071 h 2168375"/>
                <a:gd name="connsiteX774" fmla="*/ 4488879 w 5673136"/>
                <a:gd name="connsiteY774" fmla="*/ 1381778 h 2168375"/>
                <a:gd name="connsiteX775" fmla="*/ 4475609 w 5673136"/>
                <a:gd name="connsiteY775" fmla="*/ 1371328 h 2168375"/>
                <a:gd name="connsiteX776" fmla="*/ 4473287 w 5673136"/>
                <a:gd name="connsiteY776" fmla="*/ 1343462 h 2168375"/>
                <a:gd name="connsiteX777" fmla="*/ 4521887 w 5673136"/>
                <a:gd name="connsiteY777" fmla="*/ 1300170 h 2168375"/>
                <a:gd name="connsiteX778" fmla="*/ 4546435 w 5673136"/>
                <a:gd name="connsiteY778" fmla="*/ 1285906 h 2168375"/>
                <a:gd name="connsiteX779" fmla="*/ 4564183 w 5673136"/>
                <a:gd name="connsiteY779" fmla="*/ 1255552 h 2168375"/>
                <a:gd name="connsiteX780" fmla="*/ 4618588 w 5673136"/>
                <a:gd name="connsiteY780" fmla="*/ 1250576 h 2168375"/>
                <a:gd name="connsiteX781" fmla="*/ 4640814 w 5673136"/>
                <a:gd name="connsiteY781" fmla="*/ 1259864 h 2168375"/>
                <a:gd name="connsiteX782" fmla="*/ 4664866 w 5673136"/>
                <a:gd name="connsiteY782" fmla="*/ 1250576 h 2168375"/>
                <a:gd name="connsiteX783" fmla="*/ 4648279 w 5673136"/>
                <a:gd name="connsiteY783" fmla="*/ 1281427 h 2168375"/>
                <a:gd name="connsiteX784" fmla="*/ 4667022 w 5673136"/>
                <a:gd name="connsiteY784" fmla="*/ 1294199 h 2168375"/>
                <a:gd name="connsiteX785" fmla="*/ 4658064 w 5673136"/>
                <a:gd name="connsiteY785" fmla="*/ 1307966 h 2168375"/>
                <a:gd name="connsiteX786" fmla="*/ 4698370 w 5673136"/>
                <a:gd name="connsiteY786" fmla="*/ 1290384 h 2168375"/>
                <a:gd name="connsiteX787" fmla="*/ 4753439 w 5673136"/>
                <a:gd name="connsiteY787" fmla="*/ 1264343 h 2168375"/>
                <a:gd name="connsiteX788" fmla="*/ 4760240 w 5673136"/>
                <a:gd name="connsiteY788" fmla="*/ 1231169 h 2168375"/>
                <a:gd name="connsiteX789" fmla="*/ 4817299 w 5673136"/>
                <a:gd name="connsiteY789" fmla="*/ 1211099 h 2168375"/>
                <a:gd name="connsiteX790" fmla="*/ 4817299 w 5673136"/>
                <a:gd name="connsiteY790" fmla="*/ 1218895 h 2168375"/>
                <a:gd name="connsiteX791" fmla="*/ 4792252 w 5673136"/>
                <a:gd name="connsiteY791" fmla="*/ 1243941 h 2168375"/>
                <a:gd name="connsiteX792" fmla="*/ 4786778 w 5673136"/>
                <a:gd name="connsiteY792" fmla="*/ 1272470 h 2168375"/>
                <a:gd name="connsiteX793" fmla="*/ 4776993 w 5673136"/>
                <a:gd name="connsiteY793" fmla="*/ 1287233 h 2168375"/>
                <a:gd name="connsiteX794" fmla="*/ 4767206 w 5673136"/>
                <a:gd name="connsiteY794" fmla="*/ 1302493 h 2168375"/>
                <a:gd name="connsiteX795" fmla="*/ 4723417 w 5673136"/>
                <a:gd name="connsiteY795" fmla="*/ 1321567 h 2168375"/>
                <a:gd name="connsiteX796" fmla="*/ 4696380 w 5673136"/>
                <a:gd name="connsiteY796" fmla="*/ 1351589 h 2168375"/>
                <a:gd name="connsiteX797" fmla="*/ 4635008 w 5673136"/>
                <a:gd name="connsiteY797" fmla="*/ 1408151 h 2168375"/>
                <a:gd name="connsiteX798" fmla="*/ 4580438 w 5673136"/>
                <a:gd name="connsiteY798" fmla="*/ 1445471 h 2168375"/>
                <a:gd name="connsiteX799" fmla="*/ 4549587 w 5673136"/>
                <a:gd name="connsiteY799" fmla="*/ 1451774 h 2168375"/>
                <a:gd name="connsiteX800" fmla="*/ 4538308 w 5673136"/>
                <a:gd name="connsiteY800" fmla="*/ 1492080 h 2168375"/>
                <a:gd name="connsiteX801" fmla="*/ 4507788 w 5673136"/>
                <a:gd name="connsiteY801" fmla="*/ 1568213 h 2168375"/>
                <a:gd name="connsiteX802" fmla="*/ 4526034 w 5673136"/>
                <a:gd name="connsiteY802" fmla="*/ 1691122 h 2168375"/>
                <a:gd name="connsiteX803" fmla="*/ 4536318 w 5673136"/>
                <a:gd name="connsiteY803" fmla="*/ 1747517 h 2168375"/>
                <a:gd name="connsiteX804" fmla="*/ 4545108 w 5673136"/>
                <a:gd name="connsiteY804" fmla="*/ 1771734 h 2168375"/>
                <a:gd name="connsiteX805" fmla="*/ 4579941 w 5673136"/>
                <a:gd name="connsiteY805" fmla="*/ 1741712 h 2168375"/>
                <a:gd name="connsiteX806" fmla="*/ 4596528 w 5673136"/>
                <a:gd name="connsiteY806" fmla="*/ 1722471 h 2168375"/>
                <a:gd name="connsiteX807" fmla="*/ 4603991 w 5673136"/>
                <a:gd name="connsiteY807" fmla="*/ 1689297 h 2168375"/>
                <a:gd name="connsiteX808" fmla="*/ 4626550 w 5673136"/>
                <a:gd name="connsiteY808" fmla="*/ 1674037 h 2168375"/>
                <a:gd name="connsiteX809" fmla="*/ 4651098 w 5673136"/>
                <a:gd name="connsiteY809" fmla="*/ 1669061 h 2168375"/>
                <a:gd name="connsiteX810" fmla="*/ 4648113 w 5673136"/>
                <a:gd name="connsiteY810" fmla="*/ 1641196 h 2168375"/>
                <a:gd name="connsiteX811" fmla="*/ 4680125 w 5673136"/>
                <a:gd name="connsiteY811" fmla="*/ 1610676 h 2168375"/>
                <a:gd name="connsiteX812" fmla="*/ 4719768 w 5673136"/>
                <a:gd name="connsiteY812" fmla="*/ 1603875 h 2168375"/>
                <a:gd name="connsiteX813" fmla="*/ 4713962 w 5673136"/>
                <a:gd name="connsiteY813" fmla="*/ 1570702 h 2168375"/>
                <a:gd name="connsiteX814" fmla="*/ 4737516 w 5673136"/>
                <a:gd name="connsiteY814" fmla="*/ 1530395 h 2168375"/>
                <a:gd name="connsiteX815" fmla="*/ 4763059 w 5673136"/>
                <a:gd name="connsiteY815" fmla="*/ 1528903 h 2168375"/>
                <a:gd name="connsiteX816" fmla="*/ 4746473 w 5673136"/>
                <a:gd name="connsiteY816" fmla="*/ 1506842 h 2168375"/>
                <a:gd name="connsiteX817" fmla="*/ 4753439 w 5673136"/>
                <a:gd name="connsiteY817" fmla="*/ 1469522 h 2168375"/>
                <a:gd name="connsiteX818" fmla="*/ 4752444 w 5673136"/>
                <a:gd name="connsiteY818" fmla="*/ 1451774 h 2168375"/>
                <a:gd name="connsiteX819" fmla="*/ 4731379 w 5673136"/>
                <a:gd name="connsiteY819" fmla="*/ 1453267 h 2168375"/>
                <a:gd name="connsiteX820" fmla="*/ 4727397 w 5673136"/>
                <a:gd name="connsiteY820" fmla="*/ 1418932 h 2168375"/>
                <a:gd name="connsiteX821" fmla="*/ 4755429 w 5673136"/>
                <a:gd name="connsiteY821" fmla="*/ 1389407 h 2168375"/>
                <a:gd name="connsiteX822" fmla="*/ 4780475 w 5673136"/>
                <a:gd name="connsiteY822" fmla="*/ 1347609 h 2168375"/>
                <a:gd name="connsiteX823" fmla="*/ 4809336 w 5673136"/>
                <a:gd name="connsiteY823" fmla="*/ 1346116 h 2168375"/>
                <a:gd name="connsiteX824" fmla="*/ 4822274 w 5673136"/>
                <a:gd name="connsiteY824" fmla="*/ 1352087 h 2168375"/>
                <a:gd name="connsiteX825" fmla="*/ 4855448 w 5673136"/>
                <a:gd name="connsiteY825" fmla="*/ 1320240 h 2168375"/>
                <a:gd name="connsiteX826" fmla="*/ 4862414 w 5673136"/>
                <a:gd name="connsiteY826" fmla="*/ 1349101 h 2168375"/>
                <a:gd name="connsiteX827" fmla="*/ 4893266 w 5673136"/>
                <a:gd name="connsiteY827" fmla="*/ 1331519 h 2168375"/>
                <a:gd name="connsiteX828" fmla="*/ 4976200 w 5673136"/>
                <a:gd name="connsiteY828" fmla="*/ 1325051 h 2168375"/>
                <a:gd name="connsiteX829" fmla="*/ 5000915 w 5673136"/>
                <a:gd name="connsiteY829" fmla="*/ 1346116 h 2168375"/>
                <a:gd name="connsiteX830" fmla="*/ 5014681 w 5673136"/>
                <a:gd name="connsiteY830" fmla="*/ 1326543 h 2168375"/>
                <a:gd name="connsiteX831" fmla="*/ 5062783 w 5673136"/>
                <a:gd name="connsiteY831" fmla="*/ 1299507 h 2168375"/>
                <a:gd name="connsiteX832" fmla="*/ 5082356 w 5673136"/>
                <a:gd name="connsiteY832" fmla="*/ 1286237 h 2168375"/>
                <a:gd name="connsiteX833" fmla="*/ 5101596 w 5673136"/>
                <a:gd name="connsiteY833" fmla="*/ 1273466 h 2168375"/>
                <a:gd name="connsiteX834" fmla="*/ 5157660 w 5673136"/>
                <a:gd name="connsiteY834" fmla="*/ 1248419 h 2168375"/>
                <a:gd name="connsiteX835" fmla="*/ 5226827 w 5673136"/>
                <a:gd name="connsiteY835" fmla="*/ 1215246 h 2168375"/>
                <a:gd name="connsiteX836" fmla="*/ 5240097 w 5673136"/>
                <a:gd name="connsiteY836" fmla="*/ 1212260 h 2168375"/>
                <a:gd name="connsiteX837" fmla="*/ 5269621 w 5673136"/>
                <a:gd name="connsiteY837" fmla="*/ 1219558 h 2168375"/>
                <a:gd name="connsiteX838" fmla="*/ 5305946 w 5673136"/>
                <a:gd name="connsiteY838" fmla="*/ 1216573 h 2168375"/>
                <a:gd name="connsiteX839" fmla="*/ 5304951 w 5673136"/>
                <a:gd name="connsiteY839" fmla="*/ 1189702 h 2168375"/>
                <a:gd name="connsiteX840" fmla="*/ 5285877 w 5673136"/>
                <a:gd name="connsiteY840" fmla="*/ 1159182 h 2168375"/>
                <a:gd name="connsiteX841" fmla="*/ 5263318 w 5673136"/>
                <a:gd name="connsiteY841" fmla="*/ 1126009 h 2168375"/>
                <a:gd name="connsiteX842" fmla="*/ 5243579 w 5673136"/>
                <a:gd name="connsiteY842" fmla="*/ 1113900 h 2168375"/>
                <a:gd name="connsiteX843" fmla="*/ 5233296 w 5673136"/>
                <a:gd name="connsiteY843" fmla="*/ 1102455 h 2168375"/>
                <a:gd name="connsiteX844" fmla="*/ 5205264 w 5673136"/>
                <a:gd name="connsiteY844" fmla="*/ 1096650 h 2168375"/>
                <a:gd name="connsiteX845" fmla="*/ 5238437 w 5673136"/>
                <a:gd name="connsiteY845" fmla="*/ 1087361 h 2168375"/>
                <a:gd name="connsiteX846" fmla="*/ 5256185 w 5673136"/>
                <a:gd name="connsiteY846" fmla="*/ 1103948 h 2168375"/>
                <a:gd name="connsiteX847" fmla="*/ 5294004 w 5673136"/>
                <a:gd name="connsiteY847" fmla="*/ 1101460 h 2168375"/>
                <a:gd name="connsiteX848" fmla="*/ 5338290 w 5673136"/>
                <a:gd name="connsiteY848" fmla="*/ 1078902 h 2168375"/>
                <a:gd name="connsiteX849" fmla="*/ 5347579 w 5673136"/>
                <a:gd name="connsiteY849" fmla="*/ 1062315 h 2168375"/>
                <a:gd name="connsiteX850" fmla="*/ 5341608 w 5673136"/>
                <a:gd name="connsiteY850" fmla="*/ 1042743 h 2168375"/>
                <a:gd name="connsiteX851" fmla="*/ 5335819 w 5673136"/>
                <a:gd name="connsiteY851" fmla="*/ 1032276 h 2168375"/>
                <a:gd name="connsiteX852" fmla="*/ 5344095 w 5673136"/>
                <a:gd name="connsiteY852" fmla="*/ 1026156 h 2168375"/>
                <a:gd name="connsiteX853" fmla="*/ 5356371 w 5673136"/>
                <a:gd name="connsiteY853" fmla="*/ 1015374 h 2168375"/>
                <a:gd name="connsiteX854" fmla="*/ 5374119 w 5673136"/>
                <a:gd name="connsiteY854" fmla="*/ 1014379 h 2168375"/>
                <a:gd name="connsiteX855" fmla="*/ 5369640 w 5673136"/>
                <a:gd name="connsiteY855" fmla="*/ 1032127 h 2168375"/>
                <a:gd name="connsiteX856" fmla="*/ 5381416 w 5673136"/>
                <a:gd name="connsiteY856" fmla="*/ 1054685 h 2168375"/>
                <a:gd name="connsiteX857" fmla="*/ 5415917 w 5673136"/>
                <a:gd name="connsiteY857" fmla="*/ 1055680 h 2168375"/>
                <a:gd name="connsiteX858" fmla="*/ 5468000 w 5673136"/>
                <a:gd name="connsiteY858" fmla="*/ 1072267 h 2168375"/>
                <a:gd name="connsiteX859" fmla="*/ 5491553 w 5673136"/>
                <a:gd name="connsiteY859" fmla="*/ 1100797 h 2168375"/>
                <a:gd name="connsiteX860" fmla="*/ 5524726 w 5673136"/>
                <a:gd name="connsiteY860" fmla="*/ 1112573 h 2168375"/>
                <a:gd name="connsiteX861" fmla="*/ 5542474 w 5673136"/>
                <a:gd name="connsiteY861" fmla="*/ 1121862 h 2168375"/>
                <a:gd name="connsiteX862" fmla="*/ 5562545 w 5673136"/>
                <a:gd name="connsiteY862" fmla="*/ 1123852 h 2168375"/>
                <a:gd name="connsiteX863" fmla="*/ 5580790 w 5673136"/>
                <a:gd name="connsiteY863" fmla="*/ 1119871 h 2168375"/>
                <a:gd name="connsiteX864" fmla="*/ 5566027 w 5673136"/>
                <a:gd name="connsiteY864" fmla="*/ 1101626 h 2168375"/>
                <a:gd name="connsiteX865" fmla="*/ 5582614 w 5673136"/>
                <a:gd name="connsiteY865" fmla="*/ 1105607 h 2168375"/>
                <a:gd name="connsiteX866" fmla="*/ 5586098 w 5673136"/>
                <a:gd name="connsiteY866" fmla="*/ 1089020 h 2168375"/>
                <a:gd name="connsiteX867" fmla="*/ 5581122 w 5673136"/>
                <a:gd name="connsiteY867" fmla="*/ 1055846 h 2168375"/>
                <a:gd name="connsiteX868" fmla="*/ 5591406 w 5673136"/>
                <a:gd name="connsiteY868" fmla="*/ 1051865 h 2168375"/>
                <a:gd name="connsiteX869" fmla="*/ 5628726 w 5673136"/>
                <a:gd name="connsiteY869" fmla="*/ 1059827 h 2168375"/>
                <a:gd name="connsiteX870" fmla="*/ 5620930 w 5673136"/>
                <a:gd name="connsiteY870" fmla="*/ 1050373 h 2168375"/>
                <a:gd name="connsiteX871" fmla="*/ 5628228 w 5673136"/>
                <a:gd name="connsiteY871" fmla="*/ 1047387 h 2168375"/>
                <a:gd name="connsiteX872" fmla="*/ 5646474 w 5673136"/>
                <a:gd name="connsiteY872" fmla="*/ 1049377 h 2168375"/>
                <a:gd name="connsiteX873" fmla="*/ 5663061 w 5673136"/>
                <a:gd name="connsiteY873" fmla="*/ 1031298 h 2168375"/>
                <a:gd name="connsiteX874" fmla="*/ 5667705 w 5673136"/>
                <a:gd name="connsiteY874" fmla="*/ 1022175 h 2168375"/>
                <a:gd name="connsiteX875" fmla="*/ 2927063 w 5673136"/>
                <a:gd name="connsiteY875" fmla="*/ 1666905 h 2168375"/>
                <a:gd name="connsiteX876" fmla="*/ 2842968 w 5673136"/>
                <a:gd name="connsiteY876" fmla="*/ 1718490 h 2168375"/>
                <a:gd name="connsiteX877" fmla="*/ 2769322 w 5673136"/>
                <a:gd name="connsiteY877" fmla="*/ 1740551 h 2168375"/>
                <a:gd name="connsiteX878" fmla="*/ 2832684 w 5673136"/>
                <a:gd name="connsiteY878" fmla="*/ 1700742 h 2168375"/>
                <a:gd name="connsiteX879" fmla="*/ 2921092 w 5673136"/>
                <a:gd name="connsiteY879" fmla="*/ 1616647 h 2168375"/>
                <a:gd name="connsiteX880" fmla="*/ 2963885 w 5673136"/>
                <a:gd name="connsiteY880" fmla="*/ 1548973 h 2168375"/>
                <a:gd name="connsiteX881" fmla="*/ 2927063 w 5673136"/>
                <a:gd name="connsiteY881" fmla="*/ 1666905 h 2168375"/>
                <a:gd name="connsiteX882" fmla="*/ 3051796 w 5673136"/>
                <a:gd name="connsiteY882" fmla="*/ 512793 h 2168375"/>
                <a:gd name="connsiteX883" fmla="*/ 3032224 w 5673136"/>
                <a:gd name="connsiteY883" fmla="*/ 529380 h 2168375"/>
                <a:gd name="connsiteX884" fmla="*/ 3092102 w 5673136"/>
                <a:gd name="connsiteY884" fmla="*/ 519428 h 2168375"/>
                <a:gd name="connsiteX885" fmla="*/ 3052459 w 5673136"/>
                <a:gd name="connsiteY885" fmla="*/ 512793 h 2168375"/>
                <a:gd name="connsiteX886" fmla="*/ 1263238 w 5673136"/>
                <a:gd name="connsiteY886" fmla="*/ 27297 h 2168375"/>
                <a:gd name="connsiteX887" fmla="*/ 1295583 w 5673136"/>
                <a:gd name="connsiteY887" fmla="*/ 14525 h 2168375"/>
                <a:gd name="connsiteX888" fmla="*/ 1324111 w 5673136"/>
                <a:gd name="connsiteY888" fmla="*/ 5734 h 2168375"/>
                <a:gd name="connsiteX889" fmla="*/ 1265062 w 5673136"/>
                <a:gd name="connsiteY889" fmla="*/ 7724 h 2168375"/>
                <a:gd name="connsiteX890" fmla="*/ 1219946 w 5673136"/>
                <a:gd name="connsiteY890" fmla="*/ 15520 h 2168375"/>
                <a:gd name="connsiteX891" fmla="*/ 1263238 w 5673136"/>
                <a:gd name="connsiteY891" fmla="*/ 27297 h 2168375"/>
                <a:gd name="connsiteX892" fmla="*/ 1141325 w 5673136"/>
                <a:gd name="connsiteY892" fmla="*/ 93644 h 2168375"/>
                <a:gd name="connsiteX893" fmla="*/ 1100024 w 5673136"/>
                <a:gd name="connsiteY893" fmla="*/ 98620 h 2168375"/>
                <a:gd name="connsiteX894" fmla="*/ 1141325 w 5673136"/>
                <a:gd name="connsiteY894" fmla="*/ 93147 h 2168375"/>
                <a:gd name="connsiteX895" fmla="*/ 1268048 w 5673136"/>
                <a:gd name="connsiteY895" fmla="*/ 80872 h 2168375"/>
                <a:gd name="connsiteX896" fmla="*/ 1243500 w 5673136"/>
                <a:gd name="connsiteY896" fmla="*/ 89829 h 2168375"/>
                <a:gd name="connsiteX897" fmla="*/ 1223927 w 5673136"/>
                <a:gd name="connsiteY897" fmla="*/ 109402 h 2168375"/>
                <a:gd name="connsiteX898" fmla="*/ 1296578 w 5673136"/>
                <a:gd name="connsiteY898" fmla="*/ 103430 h 2168375"/>
                <a:gd name="connsiteX899" fmla="*/ 1331907 w 5673136"/>
                <a:gd name="connsiteY899" fmla="*/ 89829 h 2168375"/>
                <a:gd name="connsiteX900" fmla="*/ 1268380 w 5673136"/>
                <a:gd name="connsiteY900" fmla="*/ 80375 h 2168375"/>
                <a:gd name="connsiteX901" fmla="*/ 1436073 w 5673136"/>
                <a:gd name="connsiteY901" fmla="*/ 62295 h 2168375"/>
                <a:gd name="connsiteX902" fmla="*/ 1421311 w 5673136"/>
                <a:gd name="connsiteY902" fmla="*/ 44547 h 2168375"/>
                <a:gd name="connsiteX903" fmla="*/ 1367403 w 5673136"/>
                <a:gd name="connsiteY903" fmla="*/ 43552 h 2168375"/>
                <a:gd name="connsiteX904" fmla="*/ 1341860 w 5673136"/>
                <a:gd name="connsiteY904" fmla="*/ 74072 h 2168375"/>
                <a:gd name="connsiteX905" fmla="*/ 1436073 w 5673136"/>
                <a:gd name="connsiteY905" fmla="*/ 62295 h 2168375"/>
                <a:gd name="connsiteX906" fmla="*/ 1279825 w 5673136"/>
                <a:gd name="connsiteY906" fmla="*/ 45708 h 2168375"/>
                <a:gd name="connsiteX907" fmla="*/ 1222932 w 5673136"/>
                <a:gd name="connsiteY907" fmla="*/ 30946 h 2168375"/>
                <a:gd name="connsiteX908" fmla="*/ 1199379 w 5673136"/>
                <a:gd name="connsiteY908" fmla="*/ 35922 h 2168375"/>
                <a:gd name="connsiteX909" fmla="*/ 1163883 w 5673136"/>
                <a:gd name="connsiteY909" fmla="*/ 56490 h 2168375"/>
                <a:gd name="connsiteX910" fmla="*/ 1279825 w 5673136"/>
                <a:gd name="connsiteY910" fmla="*/ 45708 h 2168375"/>
                <a:gd name="connsiteX911" fmla="*/ 1133529 w 5673136"/>
                <a:gd name="connsiteY911" fmla="*/ 591083 h 2168375"/>
                <a:gd name="connsiteX912" fmla="*/ 1109976 w 5673136"/>
                <a:gd name="connsiteY912" fmla="*/ 607670 h 2168375"/>
                <a:gd name="connsiteX913" fmla="*/ 1120757 w 5673136"/>
                <a:gd name="connsiteY913" fmla="*/ 630228 h 2168375"/>
                <a:gd name="connsiteX914" fmla="*/ 1101019 w 5673136"/>
                <a:gd name="connsiteY914" fmla="*/ 649801 h 2168375"/>
                <a:gd name="connsiteX915" fmla="*/ 1059883 w 5673136"/>
                <a:gd name="connsiteY915" fmla="*/ 671363 h 2168375"/>
                <a:gd name="connsiteX916" fmla="*/ 1093057 w 5673136"/>
                <a:gd name="connsiteY916" fmla="*/ 691102 h 2168375"/>
                <a:gd name="connsiteX917" fmla="*/ 1098863 w 5673136"/>
                <a:gd name="connsiteY917" fmla="*/ 715650 h 2168375"/>
                <a:gd name="connsiteX918" fmla="*/ 1111634 w 5673136"/>
                <a:gd name="connsiteY918" fmla="*/ 704869 h 2168375"/>
                <a:gd name="connsiteX919" fmla="*/ 1138173 w 5673136"/>
                <a:gd name="connsiteY919" fmla="*/ 723612 h 2168375"/>
                <a:gd name="connsiteX920" fmla="*/ 1180470 w 5673136"/>
                <a:gd name="connsiteY920" fmla="*/ 747165 h 2168375"/>
                <a:gd name="connsiteX921" fmla="*/ 1266887 w 5673136"/>
                <a:gd name="connsiteY921" fmla="*/ 747165 h 2168375"/>
                <a:gd name="connsiteX922" fmla="*/ 1221771 w 5673136"/>
                <a:gd name="connsiteY922" fmla="*/ 706859 h 2168375"/>
                <a:gd name="connsiteX923" fmla="*/ 1209995 w 5673136"/>
                <a:gd name="connsiteY923" fmla="*/ 635038 h 2168375"/>
                <a:gd name="connsiteX924" fmla="*/ 1236533 w 5673136"/>
                <a:gd name="connsiteY924" fmla="*/ 596723 h 2168375"/>
                <a:gd name="connsiteX925" fmla="*/ 1265892 w 5673136"/>
                <a:gd name="connsiteY925" fmla="*/ 562388 h 2168375"/>
                <a:gd name="connsiteX926" fmla="*/ 1283640 w 5673136"/>
                <a:gd name="connsiteY926" fmla="*/ 539830 h 2168375"/>
                <a:gd name="connsiteX927" fmla="*/ 1304887 w 5673136"/>
                <a:gd name="connsiteY927" fmla="*/ 508895 h 2168375"/>
                <a:gd name="connsiteX928" fmla="*/ 1304374 w 5673136"/>
                <a:gd name="connsiteY928" fmla="*/ 506656 h 2168375"/>
                <a:gd name="connsiteX929" fmla="*/ 1335722 w 5673136"/>
                <a:gd name="connsiteY929" fmla="*/ 495875 h 2168375"/>
                <a:gd name="connsiteX930" fmla="*/ 1380010 w 5673136"/>
                <a:gd name="connsiteY930" fmla="*/ 475307 h 2168375"/>
                <a:gd name="connsiteX931" fmla="*/ 1564787 w 5673136"/>
                <a:gd name="connsiteY931" fmla="*/ 405477 h 2168375"/>
                <a:gd name="connsiteX932" fmla="*/ 1650209 w 5673136"/>
                <a:gd name="connsiteY932" fmla="*/ 346593 h 2168375"/>
                <a:gd name="connsiteX933" fmla="*/ 1548034 w 5673136"/>
                <a:gd name="connsiteY933" fmla="*/ 366166 h 2168375"/>
                <a:gd name="connsiteX934" fmla="*/ 1493961 w 5673136"/>
                <a:gd name="connsiteY934" fmla="*/ 378938 h 2168375"/>
                <a:gd name="connsiteX935" fmla="*/ 1427614 w 5673136"/>
                <a:gd name="connsiteY935" fmla="*/ 384909 h 2168375"/>
                <a:gd name="connsiteX936" fmla="*/ 1377853 w 5673136"/>
                <a:gd name="connsiteY936" fmla="*/ 396686 h 2168375"/>
                <a:gd name="connsiteX937" fmla="*/ 1336552 w 5673136"/>
                <a:gd name="connsiteY937" fmla="*/ 408462 h 2168375"/>
                <a:gd name="connsiteX938" fmla="*/ 1293260 w 5673136"/>
                <a:gd name="connsiteY938" fmla="*/ 427040 h 2168375"/>
                <a:gd name="connsiteX939" fmla="*/ 1267716 w 5673136"/>
                <a:gd name="connsiteY939" fmla="*/ 442797 h 2168375"/>
                <a:gd name="connsiteX940" fmla="*/ 1244926 w 5673136"/>
                <a:gd name="connsiteY940" fmla="*/ 455386 h 2168375"/>
                <a:gd name="connsiteX941" fmla="*/ 1239187 w 5673136"/>
                <a:gd name="connsiteY941" fmla="*/ 452583 h 2168375"/>
                <a:gd name="connsiteX942" fmla="*/ 1231391 w 5673136"/>
                <a:gd name="connsiteY942" fmla="*/ 475307 h 2168375"/>
                <a:gd name="connsiteX943" fmla="*/ 1212648 w 5673136"/>
                <a:gd name="connsiteY943" fmla="*/ 496870 h 2168375"/>
                <a:gd name="connsiteX944" fmla="*/ 1202862 w 5673136"/>
                <a:gd name="connsiteY944" fmla="*/ 518433 h 2168375"/>
                <a:gd name="connsiteX945" fmla="*/ 1174332 w 5673136"/>
                <a:gd name="connsiteY945" fmla="*/ 533195 h 2168375"/>
                <a:gd name="connsiteX946" fmla="*/ 1170518 w 5673136"/>
                <a:gd name="connsiteY946" fmla="*/ 556748 h 2168375"/>
                <a:gd name="connsiteX947" fmla="*/ 1161727 w 5673136"/>
                <a:gd name="connsiteY947" fmla="*/ 575492 h 2168375"/>
                <a:gd name="connsiteX948" fmla="*/ 1133529 w 5673136"/>
                <a:gd name="connsiteY948" fmla="*/ 591415 h 21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Lst>
              <a:rect l="l" t="t" r="r" b="b"/>
              <a:pathLst>
                <a:path w="5673136" h="2168375">
                  <a:moveTo>
                    <a:pt x="86071" y="1570370"/>
                  </a:moveTo>
                  <a:cubicBezTo>
                    <a:pt x="78606" y="1571398"/>
                    <a:pt x="71126" y="1568578"/>
                    <a:pt x="66166" y="1562906"/>
                  </a:cubicBezTo>
                  <a:cubicBezTo>
                    <a:pt x="63181" y="1558759"/>
                    <a:pt x="54058" y="1560252"/>
                    <a:pt x="45930" y="1561081"/>
                  </a:cubicBezTo>
                  <a:cubicBezTo>
                    <a:pt x="48070" y="1562242"/>
                    <a:pt x="49845" y="1563967"/>
                    <a:pt x="51072" y="1566057"/>
                  </a:cubicBezTo>
                  <a:cubicBezTo>
                    <a:pt x="55551" y="1574019"/>
                    <a:pt x="33490" y="1575014"/>
                    <a:pt x="40291" y="1584303"/>
                  </a:cubicBezTo>
                  <a:cubicBezTo>
                    <a:pt x="47092" y="1593591"/>
                    <a:pt x="24534" y="1594089"/>
                    <a:pt x="24534" y="1584303"/>
                  </a:cubicBezTo>
                  <a:cubicBezTo>
                    <a:pt x="24534" y="1574516"/>
                    <a:pt x="980" y="1579327"/>
                    <a:pt x="1975" y="1585796"/>
                  </a:cubicBezTo>
                  <a:cubicBezTo>
                    <a:pt x="2241" y="1588549"/>
                    <a:pt x="1527" y="1591302"/>
                    <a:pt x="-15" y="1593591"/>
                  </a:cubicBezTo>
                  <a:lnTo>
                    <a:pt x="16572" y="1599729"/>
                  </a:lnTo>
                  <a:cubicBezTo>
                    <a:pt x="45118" y="1604472"/>
                    <a:pt x="74145" y="1605700"/>
                    <a:pt x="102989" y="1603378"/>
                  </a:cubicBezTo>
                  <a:cubicBezTo>
                    <a:pt x="102873" y="1595996"/>
                    <a:pt x="103321" y="1588632"/>
                    <a:pt x="104316" y="1581317"/>
                  </a:cubicBezTo>
                  <a:cubicBezTo>
                    <a:pt x="104482" y="1575512"/>
                    <a:pt x="90715" y="1568048"/>
                    <a:pt x="86071" y="1570370"/>
                  </a:cubicBezTo>
                  <a:close/>
                  <a:moveTo>
                    <a:pt x="1507894" y="56821"/>
                  </a:moveTo>
                  <a:cubicBezTo>
                    <a:pt x="1545214" y="53006"/>
                    <a:pt x="1544219" y="32273"/>
                    <a:pt x="1524481" y="28292"/>
                  </a:cubicBezTo>
                  <a:cubicBezTo>
                    <a:pt x="1504742" y="24311"/>
                    <a:pt x="1501757" y="40069"/>
                    <a:pt x="1491307" y="39073"/>
                  </a:cubicBezTo>
                  <a:cubicBezTo>
                    <a:pt x="1480857" y="38078"/>
                    <a:pt x="1444366" y="45376"/>
                    <a:pt x="1451996" y="53836"/>
                  </a:cubicBezTo>
                  <a:cubicBezTo>
                    <a:pt x="1459626" y="62295"/>
                    <a:pt x="1489151" y="58812"/>
                    <a:pt x="1507894" y="56821"/>
                  </a:cubicBezTo>
                  <a:close/>
                  <a:moveTo>
                    <a:pt x="1697481" y="603192"/>
                  </a:moveTo>
                  <a:cubicBezTo>
                    <a:pt x="1710253" y="605182"/>
                    <a:pt x="1744754" y="598216"/>
                    <a:pt x="1748569" y="591415"/>
                  </a:cubicBezTo>
                  <a:cubicBezTo>
                    <a:pt x="1752384" y="584614"/>
                    <a:pt x="1734802" y="576653"/>
                    <a:pt x="1712244" y="576653"/>
                  </a:cubicBezTo>
                  <a:cubicBezTo>
                    <a:pt x="1689685" y="576653"/>
                    <a:pt x="1686368" y="601533"/>
                    <a:pt x="1697481" y="603192"/>
                  </a:cubicBezTo>
                  <a:close/>
                  <a:moveTo>
                    <a:pt x="2423653" y="101108"/>
                  </a:moveTo>
                  <a:cubicBezTo>
                    <a:pt x="2442396" y="108904"/>
                    <a:pt x="2435429" y="113880"/>
                    <a:pt x="2415857" y="113880"/>
                  </a:cubicBezTo>
                  <a:cubicBezTo>
                    <a:pt x="2396284" y="113880"/>
                    <a:pt x="2379200" y="120515"/>
                    <a:pt x="2392304" y="125657"/>
                  </a:cubicBezTo>
                  <a:cubicBezTo>
                    <a:pt x="2402089" y="129637"/>
                    <a:pt x="2401094" y="140419"/>
                    <a:pt x="2421663" y="145229"/>
                  </a:cubicBezTo>
                  <a:cubicBezTo>
                    <a:pt x="2442230" y="150039"/>
                    <a:pt x="2462964" y="133453"/>
                    <a:pt x="2460973" y="121676"/>
                  </a:cubicBezTo>
                  <a:cubicBezTo>
                    <a:pt x="2458983" y="109899"/>
                    <a:pt x="2532628" y="99118"/>
                    <a:pt x="2552366" y="94142"/>
                  </a:cubicBezTo>
                  <a:cubicBezTo>
                    <a:pt x="2572104" y="89166"/>
                    <a:pt x="2539595" y="68598"/>
                    <a:pt x="2561158" y="66608"/>
                  </a:cubicBezTo>
                  <a:cubicBezTo>
                    <a:pt x="2582720" y="64617"/>
                    <a:pt x="2573930" y="54831"/>
                    <a:pt x="2547390" y="51016"/>
                  </a:cubicBezTo>
                  <a:cubicBezTo>
                    <a:pt x="2520852" y="47201"/>
                    <a:pt x="2531799" y="24477"/>
                    <a:pt x="2522842" y="16515"/>
                  </a:cubicBezTo>
                  <a:cubicBezTo>
                    <a:pt x="2513886" y="8554"/>
                    <a:pt x="2509075" y="26302"/>
                    <a:pt x="2474740" y="33102"/>
                  </a:cubicBezTo>
                  <a:cubicBezTo>
                    <a:pt x="2440405" y="39903"/>
                    <a:pt x="2423653" y="49689"/>
                    <a:pt x="2437419" y="55660"/>
                  </a:cubicBezTo>
                  <a:cubicBezTo>
                    <a:pt x="2451187" y="61632"/>
                    <a:pt x="2437419" y="79214"/>
                    <a:pt x="2422658" y="78218"/>
                  </a:cubicBezTo>
                  <a:cubicBezTo>
                    <a:pt x="2407895" y="77223"/>
                    <a:pt x="2404910" y="93147"/>
                    <a:pt x="2423653" y="101108"/>
                  </a:cubicBezTo>
                  <a:close/>
                  <a:moveTo>
                    <a:pt x="2475735" y="128642"/>
                  </a:moveTo>
                  <a:cubicBezTo>
                    <a:pt x="2475735" y="139424"/>
                    <a:pt x="2444055" y="150205"/>
                    <a:pt x="2453177" y="158001"/>
                  </a:cubicBezTo>
                  <a:cubicBezTo>
                    <a:pt x="2462300" y="165797"/>
                    <a:pt x="2467940" y="162977"/>
                    <a:pt x="2477725" y="164968"/>
                  </a:cubicBezTo>
                  <a:cubicBezTo>
                    <a:pt x="2487512" y="166958"/>
                    <a:pt x="2492488" y="191506"/>
                    <a:pt x="2510899" y="187526"/>
                  </a:cubicBezTo>
                  <a:cubicBezTo>
                    <a:pt x="2529311" y="183545"/>
                    <a:pt x="2577246" y="207098"/>
                    <a:pt x="2605278" y="207098"/>
                  </a:cubicBezTo>
                  <a:cubicBezTo>
                    <a:pt x="2633310" y="207098"/>
                    <a:pt x="2636793" y="183545"/>
                    <a:pt x="2627837" y="182550"/>
                  </a:cubicBezTo>
                  <a:cubicBezTo>
                    <a:pt x="2618879" y="181554"/>
                    <a:pt x="2627837" y="167953"/>
                    <a:pt x="2642598" y="145229"/>
                  </a:cubicBezTo>
                  <a:cubicBezTo>
                    <a:pt x="2657361" y="122505"/>
                    <a:pt x="2592838" y="105918"/>
                    <a:pt x="2592838" y="123666"/>
                  </a:cubicBezTo>
                  <a:cubicBezTo>
                    <a:pt x="2592838" y="141414"/>
                    <a:pt x="2574095" y="119685"/>
                    <a:pt x="2568290" y="108904"/>
                  </a:cubicBezTo>
                  <a:cubicBezTo>
                    <a:pt x="2562485" y="98123"/>
                    <a:pt x="2475735" y="117695"/>
                    <a:pt x="2475735" y="128642"/>
                  </a:cubicBezTo>
                  <a:close/>
                  <a:moveTo>
                    <a:pt x="1984433" y="617954"/>
                  </a:moveTo>
                  <a:cubicBezTo>
                    <a:pt x="2001020" y="625750"/>
                    <a:pt x="2011968" y="622764"/>
                    <a:pt x="2009977" y="607007"/>
                  </a:cubicBezTo>
                  <a:cubicBezTo>
                    <a:pt x="2007987" y="591249"/>
                    <a:pt x="1971994" y="611651"/>
                    <a:pt x="1984433" y="617954"/>
                  </a:cubicBezTo>
                  <a:close/>
                  <a:moveTo>
                    <a:pt x="2398109" y="31278"/>
                  </a:moveTo>
                  <a:cubicBezTo>
                    <a:pt x="2402089" y="16515"/>
                    <a:pt x="2336737" y="22984"/>
                    <a:pt x="2353822" y="37249"/>
                  </a:cubicBezTo>
                  <a:cubicBezTo>
                    <a:pt x="2359793" y="42059"/>
                    <a:pt x="2394128" y="45708"/>
                    <a:pt x="2398109" y="31278"/>
                  </a:cubicBezTo>
                  <a:close/>
                  <a:moveTo>
                    <a:pt x="5290023" y="744511"/>
                  </a:moveTo>
                  <a:cubicBezTo>
                    <a:pt x="5309596" y="754298"/>
                    <a:pt x="5321372" y="732735"/>
                    <a:pt x="5337129" y="743516"/>
                  </a:cubicBezTo>
                  <a:cubicBezTo>
                    <a:pt x="5352887" y="754298"/>
                    <a:pt x="5391202" y="738540"/>
                    <a:pt x="5406794" y="735720"/>
                  </a:cubicBezTo>
                  <a:cubicBezTo>
                    <a:pt x="5422386" y="732901"/>
                    <a:pt x="5414756" y="712996"/>
                    <a:pt x="5370469" y="707191"/>
                  </a:cubicBezTo>
                  <a:cubicBezTo>
                    <a:pt x="5326182" y="701386"/>
                    <a:pt x="5268792" y="733067"/>
                    <a:pt x="5290023" y="743682"/>
                  </a:cubicBezTo>
                  <a:close/>
                  <a:moveTo>
                    <a:pt x="2628500" y="267142"/>
                  </a:moveTo>
                  <a:cubicBezTo>
                    <a:pt x="2642267" y="274938"/>
                    <a:pt x="2686554" y="257356"/>
                    <a:pt x="2715913" y="258351"/>
                  </a:cubicBezTo>
                  <a:cubicBezTo>
                    <a:pt x="2745271" y="259347"/>
                    <a:pt x="2828040" y="235627"/>
                    <a:pt x="2831026" y="220036"/>
                  </a:cubicBezTo>
                  <a:cubicBezTo>
                    <a:pt x="2834011" y="204444"/>
                    <a:pt x="2800505" y="205274"/>
                    <a:pt x="2787733" y="191506"/>
                  </a:cubicBezTo>
                  <a:cubicBezTo>
                    <a:pt x="2774962" y="177739"/>
                    <a:pt x="2746432" y="189516"/>
                    <a:pt x="2739632" y="201293"/>
                  </a:cubicBezTo>
                  <a:cubicBezTo>
                    <a:pt x="2732831" y="213069"/>
                    <a:pt x="2724870" y="202288"/>
                    <a:pt x="2743447" y="183545"/>
                  </a:cubicBezTo>
                  <a:cubicBezTo>
                    <a:pt x="2762024" y="164802"/>
                    <a:pt x="2724870" y="150371"/>
                    <a:pt x="2723874" y="161982"/>
                  </a:cubicBezTo>
                  <a:cubicBezTo>
                    <a:pt x="2722879" y="173593"/>
                    <a:pt x="2688544" y="163972"/>
                    <a:pt x="2688544" y="174754"/>
                  </a:cubicBezTo>
                  <a:cubicBezTo>
                    <a:pt x="2688544" y="185535"/>
                    <a:pt x="2675772" y="191341"/>
                    <a:pt x="2676767" y="201293"/>
                  </a:cubicBezTo>
                  <a:cubicBezTo>
                    <a:pt x="2677762" y="211245"/>
                    <a:pt x="2653048" y="195321"/>
                    <a:pt x="2652053" y="220036"/>
                  </a:cubicBezTo>
                  <a:cubicBezTo>
                    <a:pt x="2651058" y="244750"/>
                    <a:pt x="2613572" y="258849"/>
                    <a:pt x="2628500" y="267142"/>
                  </a:cubicBezTo>
                  <a:close/>
                  <a:moveTo>
                    <a:pt x="3896065" y="469502"/>
                  </a:moveTo>
                  <a:cubicBezTo>
                    <a:pt x="3906266" y="474892"/>
                    <a:pt x="3915307" y="482290"/>
                    <a:pt x="3922605" y="491230"/>
                  </a:cubicBezTo>
                  <a:cubicBezTo>
                    <a:pt x="3930400" y="499026"/>
                    <a:pt x="3959925" y="487250"/>
                    <a:pt x="3972365" y="483269"/>
                  </a:cubicBezTo>
                  <a:cubicBezTo>
                    <a:pt x="3984805" y="479288"/>
                    <a:pt x="3985137" y="501017"/>
                    <a:pt x="4003880" y="489240"/>
                  </a:cubicBezTo>
                  <a:cubicBezTo>
                    <a:pt x="4022623" y="477463"/>
                    <a:pt x="4041200" y="483269"/>
                    <a:pt x="4062763" y="483269"/>
                  </a:cubicBezTo>
                  <a:cubicBezTo>
                    <a:pt x="4084326" y="483269"/>
                    <a:pt x="4058948" y="456730"/>
                    <a:pt x="4059943" y="444953"/>
                  </a:cubicBezTo>
                  <a:cubicBezTo>
                    <a:pt x="4060938" y="433177"/>
                    <a:pt x="4085488" y="440972"/>
                    <a:pt x="4077525" y="450924"/>
                  </a:cubicBezTo>
                  <a:cubicBezTo>
                    <a:pt x="4069564" y="460877"/>
                    <a:pt x="4089302" y="483269"/>
                    <a:pt x="4120817" y="481278"/>
                  </a:cubicBezTo>
                  <a:cubicBezTo>
                    <a:pt x="4152332" y="479288"/>
                    <a:pt x="4128613" y="459716"/>
                    <a:pt x="4144371" y="452915"/>
                  </a:cubicBezTo>
                  <a:cubicBezTo>
                    <a:pt x="4160128" y="446114"/>
                    <a:pt x="4158137" y="438153"/>
                    <a:pt x="4135579" y="424386"/>
                  </a:cubicBezTo>
                  <a:cubicBezTo>
                    <a:pt x="4113021" y="410618"/>
                    <a:pt x="4083496" y="419409"/>
                    <a:pt x="4063759" y="410618"/>
                  </a:cubicBezTo>
                  <a:cubicBezTo>
                    <a:pt x="4044021" y="401827"/>
                    <a:pt x="4017647" y="400666"/>
                    <a:pt x="4016652" y="422395"/>
                  </a:cubicBezTo>
                  <a:cubicBezTo>
                    <a:pt x="4015657" y="444124"/>
                    <a:pt x="3974356" y="398842"/>
                    <a:pt x="3952793" y="391875"/>
                  </a:cubicBezTo>
                  <a:cubicBezTo>
                    <a:pt x="3931229" y="384909"/>
                    <a:pt x="3863058" y="453247"/>
                    <a:pt x="3895568" y="469502"/>
                  </a:cubicBezTo>
                  <a:close/>
                  <a:moveTo>
                    <a:pt x="4101410" y="595230"/>
                  </a:moveTo>
                  <a:cubicBezTo>
                    <a:pt x="4119158" y="591415"/>
                    <a:pt x="4088639" y="558905"/>
                    <a:pt x="4058285" y="554094"/>
                  </a:cubicBezTo>
                  <a:cubicBezTo>
                    <a:pt x="4027931" y="549284"/>
                    <a:pt x="3999402" y="574165"/>
                    <a:pt x="4003217" y="579638"/>
                  </a:cubicBezTo>
                  <a:cubicBezTo>
                    <a:pt x="4011510" y="593074"/>
                    <a:pt x="4083331" y="599211"/>
                    <a:pt x="4100913" y="595230"/>
                  </a:cubicBezTo>
                  <a:close/>
                  <a:moveTo>
                    <a:pt x="4021794" y="530375"/>
                  </a:moveTo>
                  <a:cubicBezTo>
                    <a:pt x="4021794" y="515613"/>
                    <a:pt x="3968385" y="535849"/>
                    <a:pt x="3990444" y="543313"/>
                  </a:cubicBezTo>
                  <a:cubicBezTo>
                    <a:pt x="4002718" y="547128"/>
                    <a:pt x="4021794" y="545138"/>
                    <a:pt x="4021794" y="530375"/>
                  </a:cubicBezTo>
                  <a:close/>
                  <a:moveTo>
                    <a:pt x="4192804" y="468507"/>
                  </a:moveTo>
                  <a:cubicBezTo>
                    <a:pt x="4216357" y="470497"/>
                    <a:pt x="4228300" y="493221"/>
                    <a:pt x="4273416" y="496041"/>
                  </a:cubicBezTo>
                  <a:cubicBezTo>
                    <a:pt x="4318533" y="498861"/>
                    <a:pt x="4352037" y="490235"/>
                    <a:pt x="4353032" y="479454"/>
                  </a:cubicBezTo>
                  <a:cubicBezTo>
                    <a:pt x="4354029" y="468672"/>
                    <a:pt x="4311731" y="454905"/>
                    <a:pt x="4298960" y="462867"/>
                  </a:cubicBezTo>
                  <a:cubicBezTo>
                    <a:pt x="4286188" y="470829"/>
                    <a:pt x="4276401" y="450095"/>
                    <a:pt x="4260645" y="454905"/>
                  </a:cubicBezTo>
                  <a:cubicBezTo>
                    <a:pt x="4244887" y="459716"/>
                    <a:pt x="4223324" y="458886"/>
                    <a:pt x="4215362" y="445119"/>
                  </a:cubicBezTo>
                  <a:cubicBezTo>
                    <a:pt x="4207401" y="431352"/>
                    <a:pt x="4181525" y="467511"/>
                    <a:pt x="4193302" y="468507"/>
                  </a:cubicBezTo>
                  <a:close/>
                  <a:moveTo>
                    <a:pt x="910436" y="69593"/>
                  </a:moveTo>
                  <a:cubicBezTo>
                    <a:pt x="932994" y="49025"/>
                    <a:pt x="962519" y="68598"/>
                    <a:pt x="966334" y="58812"/>
                  </a:cubicBezTo>
                  <a:cubicBezTo>
                    <a:pt x="970149" y="49025"/>
                    <a:pt x="924203" y="46040"/>
                    <a:pt x="907450" y="54831"/>
                  </a:cubicBezTo>
                  <a:cubicBezTo>
                    <a:pt x="890698" y="63622"/>
                    <a:pt x="851719" y="56656"/>
                    <a:pt x="856363" y="67603"/>
                  </a:cubicBezTo>
                  <a:cubicBezTo>
                    <a:pt x="870528" y="83078"/>
                    <a:pt x="894563" y="84140"/>
                    <a:pt x="910021" y="69975"/>
                  </a:cubicBezTo>
                  <a:cubicBezTo>
                    <a:pt x="910171" y="69842"/>
                    <a:pt x="910303" y="69726"/>
                    <a:pt x="910436" y="69593"/>
                  </a:cubicBezTo>
                  <a:close/>
                  <a:moveTo>
                    <a:pt x="4093117" y="1730267"/>
                  </a:moveTo>
                  <a:cubicBezTo>
                    <a:pt x="4082336" y="1701737"/>
                    <a:pt x="4109704" y="1674203"/>
                    <a:pt x="4089136" y="1659441"/>
                  </a:cubicBezTo>
                  <a:cubicBezTo>
                    <a:pt x="4068569" y="1644679"/>
                    <a:pt x="4077359" y="1614325"/>
                    <a:pt x="4067574" y="1620130"/>
                  </a:cubicBezTo>
                  <a:cubicBezTo>
                    <a:pt x="4057787" y="1625936"/>
                    <a:pt x="4067574" y="1653304"/>
                    <a:pt x="4050987" y="1654631"/>
                  </a:cubicBezTo>
                  <a:cubicBezTo>
                    <a:pt x="4034400" y="1655958"/>
                    <a:pt x="4049992" y="1671218"/>
                    <a:pt x="4044186" y="1690956"/>
                  </a:cubicBezTo>
                  <a:cubicBezTo>
                    <a:pt x="4040653" y="1713664"/>
                    <a:pt x="4044435" y="1736885"/>
                    <a:pt x="4054967" y="1757303"/>
                  </a:cubicBezTo>
                  <a:cubicBezTo>
                    <a:pt x="4062763" y="1774885"/>
                    <a:pt x="4044186" y="1869265"/>
                    <a:pt x="4051982" y="1885022"/>
                  </a:cubicBezTo>
                  <a:cubicBezTo>
                    <a:pt x="4059777" y="1900779"/>
                    <a:pt x="4039210" y="1970278"/>
                    <a:pt x="4046176" y="1978240"/>
                  </a:cubicBezTo>
                  <a:cubicBezTo>
                    <a:pt x="4057953" y="1992173"/>
                    <a:pt x="4049992" y="1959663"/>
                    <a:pt x="4067740" y="1956677"/>
                  </a:cubicBezTo>
                  <a:cubicBezTo>
                    <a:pt x="4085488" y="1953691"/>
                    <a:pt x="4085322" y="1976415"/>
                    <a:pt x="4096268" y="1981226"/>
                  </a:cubicBezTo>
                  <a:cubicBezTo>
                    <a:pt x="4107216" y="1986036"/>
                    <a:pt x="4100083" y="1949877"/>
                    <a:pt x="4090297" y="1951867"/>
                  </a:cubicBezTo>
                  <a:cubicBezTo>
                    <a:pt x="4080511" y="1953857"/>
                    <a:pt x="4072715" y="1928148"/>
                    <a:pt x="4067740" y="1912556"/>
                  </a:cubicBezTo>
                  <a:cubicBezTo>
                    <a:pt x="4062763" y="1896964"/>
                    <a:pt x="4077525" y="1878056"/>
                    <a:pt x="4077525" y="1858483"/>
                  </a:cubicBezTo>
                  <a:cubicBezTo>
                    <a:pt x="4077525" y="1838911"/>
                    <a:pt x="4102074" y="1839740"/>
                    <a:pt x="4116836" y="1854502"/>
                  </a:cubicBezTo>
                  <a:cubicBezTo>
                    <a:pt x="4131598" y="1869265"/>
                    <a:pt x="4133423" y="1859478"/>
                    <a:pt x="4127618" y="1848697"/>
                  </a:cubicBezTo>
                  <a:cubicBezTo>
                    <a:pt x="4121813" y="1837915"/>
                    <a:pt x="4104728" y="1758630"/>
                    <a:pt x="4093117" y="1730267"/>
                  </a:cubicBezTo>
                  <a:close/>
                  <a:moveTo>
                    <a:pt x="1002991" y="60802"/>
                  </a:moveTo>
                  <a:cubicBezTo>
                    <a:pt x="1016758" y="70588"/>
                    <a:pt x="964675" y="67603"/>
                    <a:pt x="957708" y="77389"/>
                  </a:cubicBezTo>
                  <a:cubicBezTo>
                    <a:pt x="950742" y="87175"/>
                    <a:pt x="920554" y="83692"/>
                    <a:pt x="926360" y="95137"/>
                  </a:cubicBezTo>
                  <a:cubicBezTo>
                    <a:pt x="932165" y="106582"/>
                    <a:pt x="981262" y="107909"/>
                    <a:pt x="981262" y="98123"/>
                  </a:cubicBezTo>
                  <a:cubicBezTo>
                    <a:pt x="981262" y="88336"/>
                    <a:pt x="1006971" y="97127"/>
                    <a:pt x="1007801" y="88336"/>
                  </a:cubicBezTo>
                  <a:cubicBezTo>
                    <a:pt x="1008630" y="79545"/>
                    <a:pt x="1019744" y="69593"/>
                    <a:pt x="1047112" y="67603"/>
                  </a:cubicBezTo>
                  <a:cubicBezTo>
                    <a:pt x="1074480" y="65612"/>
                    <a:pt x="1074646" y="55826"/>
                    <a:pt x="1049102" y="44050"/>
                  </a:cubicBezTo>
                  <a:cubicBezTo>
                    <a:pt x="1023558" y="32273"/>
                    <a:pt x="989058" y="51016"/>
                    <a:pt x="1002991" y="60802"/>
                  </a:cubicBezTo>
                  <a:close/>
                  <a:moveTo>
                    <a:pt x="960694" y="854648"/>
                  </a:moveTo>
                  <a:cubicBezTo>
                    <a:pt x="987233" y="879196"/>
                    <a:pt x="1010455" y="843866"/>
                    <a:pt x="1022563" y="841876"/>
                  </a:cubicBezTo>
                  <a:cubicBezTo>
                    <a:pt x="1034672" y="839886"/>
                    <a:pt x="1014767" y="826284"/>
                    <a:pt x="993038" y="820313"/>
                  </a:cubicBezTo>
                  <a:cubicBezTo>
                    <a:pt x="971310" y="814342"/>
                    <a:pt x="940459" y="836237"/>
                    <a:pt x="960528" y="854648"/>
                  </a:cubicBezTo>
                  <a:close/>
                  <a:moveTo>
                    <a:pt x="5667871" y="1022175"/>
                  </a:moveTo>
                  <a:cubicBezTo>
                    <a:pt x="5649211" y="1013865"/>
                    <a:pt x="5632309" y="1002039"/>
                    <a:pt x="5618110" y="987343"/>
                  </a:cubicBezTo>
                  <a:cubicBezTo>
                    <a:pt x="5610315" y="976064"/>
                    <a:pt x="5572496" y="970756"/>
                    <a:pt x="5572496" y="976561"/>
                  </a:cubicBezTo>
                  <a:cubicBezTo>
                    <a:pt x="5572496" y="982367"/>
                    <a:pt x="5560222" y="975068"/>
                    <a:pt x="5557237" y="968765"/>
                  </a:cubicBezTo>
                  <a:cubicBezTo>
                    <a:pt x="5554251" y="962462"/>
                    <a:pt x="5514443" y="961301"/>
                    <a:pt x="5513945" y="968765"/>
                  </a:cubicBezTo>
                  <a:cubicBezTo>
                    <a:pt x="5513447" y="976230"/>
                    <a:pt x="5523234" y="976064"/>
                    <a:pt x="5529205" y="983859"/>
                  </a:cubicBezTo>
                  <a:cubicBezTo>
                    <a:pt x="5535176" y="991655"/>
                    <a:pt x="5521244" y="996134"/>
                    <a:pt x="5524229" y="1005090"/>
                  </a:cubicBezTo>
                  <a:cubicBezTo>
                    <a:pt x="5527215" y="1014047"/>
                    <a:pt x="5509467" y="1000612"/>
                    <a:pt x="5503164" y="995802"/>
                  </a:cubicBezTo>
                  <a:cubicBezTo>
                    <a:pt x="5496861" y="990992"/>
                    <a:pt x="5499680" y="971585"/>
                    <a:pt x="5501670" y="961799"/>
                  </a:cubicBezTo>
                  <a:cubicBezTo>
                    <a:pt x="5503662" y="952013"/>
                    <a:pt x="5490391" y="954003"/>
                    <a:pt x="5488899" y="944217"/>
                  </a:cubicBezTo>
                  <a:cubicBezTo>
                    <a:pt x="5487406" y="934431"/>
                    <a:pt x="5443285" y="914195"/>
                    <a:pt x="5424542" y="906233"/>
                  </a:cubicBezTo>
                  <a:cubicBezTo>
                    <a:pt x="5405799" y="898271"/>
                    <a:pt x="5381748" y="891637"/>
                    <a:pt x="5374782" y="881684"/>
                  </a:cubicBezTo>
                  <a:cubicBezTo>
                    <a:pt x="5367816" y="871732"/>
                    <a:pt x="5334973" y="870903"/>
                    <a:pt x="5322202" y="857634"/>
                  </a:cubicBezTo>
                  <a:cubicBezTo>
                    <a:pt x="5294534" y="837995"/>
                    <a:pt x="5262787" y="824891"/>
                    <a:pt x="5229315" y="819318"/>
                  </a:cubicBezTo>
                  <a:cubicBezTo>
                    <a:pt x="5205264" y="817825"/>
                    <a:pt x="5210572" y="804556"/>
                    <a:pt x="5198796" y="806546"/>
                  </a:cubicBezTo>
                  <a:cubicBezTo>
                    <a:pt x="5172770" y="807724"/>
                    <a:pt x="5146696" y="806712"/>
                    <a:pt x="5120837" y="803561"/>
                  </a:cubicBezTo>
                  <a:cubicBezTo>
                    <a:pt x="5104251" y="801238"/>
                    <a:pt x="5101596" y="813015"/>
                    <a:pt x="5090317" y="808537"/>
                  </a:cubicBezTo>
                  <a:cubicBezTo>
                    <a:pt x="5079038" y="804058"/>
                    <a:pt x="5020487" y="782993"/>
                    <a:pt x="5013686" y="790789"/>
                  </a:cubicBezTo>
                  <a:cubicBezTo>
                    <a:pt x="5006886" y="798584"/>
                    <a:pt x="5009705" y="810029"/>
                    <a:pt x="5002739" y="812020"/>
                  </a:cubicBezTo>
                  <a:cubicBezTo>
                    <a:pt x="4995772" y="814010"/>
                    <a:pt x="5002739" y="823797"/>
                    <a:pt x="5019326" y="838559"/>
                  </a:cubicBezTo>
                  <a:cubicBezTo>
                    <a:pt x="5035913" y="853321"/>
                    <a:pt x="5025795" y="864600"/>
                    <a:pt x="5011033" y="870903"/>
                  </a:cubicBezTo>
                  <a:cubicBezTo>
                    <a:pt x="4993849" y="874784"/>
                    <a:pt x="4975968" y="868315"/>
                    <a:pt x="4965253" y="854316"/>
                  </a:cubicBezTo>
                  <a:cubicBezTo>
                    <a:pt x="4957955" y="842871"/>
                    <a:pt x="4937884" y="847847"/>
                    <a:pt x="4932908" y="833085"/>
                  </a:cubicBezTo>
                  <a:cubicBezTo>
                    <a:pt x="4927932" y="818323"/>
                    <a:pt x="4938879" y="816498"/>
                    <a:pt x="4948666" y="824294"/>
                  </a:cubicBezTo>
                  <a:cubicBezTo>
                    <a:pt x="4954902" y="829685"/>
                    <a:pt x="4964341" y="828988"/>
                    <a:pt x="4969714" y="822751"/>
                  </a:cubicBezTo>
                  <a:cubicBezTo>
                    <a:pt x="4971606" y="820562"/>
                    <a:pt x="4972833" y="817875"/>
                    <a:pt x="4973214" y="815006"/>
                  </a:cubicBezTo>
                  <a:cubicBezTo>
                    <a:pt x="4974707" y="804058"/>
                    <a:pt x="4946676" y="796760"/>
                    <a:pt x="4931416" y="798419"/>
                  </a:cubicBezTo>
                  <a:cubicBezTo>
                    <a:pt x="4916155" y="800077"/>
                    <a:pt x="4907862" y="820479"/>
                    <a:pt x="4892104" y="829436"/>
                  </a:cubicBezTo>
                  <a:cubicBezTo>
                    <a:pt x="4876348" y="838393"/>
                    <a:pt x="4815473" y="825953"/>
                    <a:pt x="4809170" y="819981"/>
                  </a:cubicBezTo>
                  <a:cubicBezTo>
                    <a:pt x="4802868" y="814010"/>
                    <a:pt x="4717943" y="819981"/>
                    <a:pt x="4709649" y="825953"/>
                  </a:cubicBezTo>
                  <a:cubicBezTo>
                    <a:pt x="4701356" y="831924"/>
                    <a:pt x="4707162" y="854980"/>
                    <a:pt x="4702849" y="856804"/>
                  </a:cubicBezTo>
                  <a:cubicBezTo>
                    <a:pt x="4698536" y="858629"/>
                    <a:pt x="4694059" y="830265"/>
                    <a:pt x="4694059" y="824957"/>
                  </a:cubicBezTo>
                  <a:cubicBezTo>
                    <a:pt x="4694059" y="819650"/>
                    <a:pt x="4683609" y="815669"/>
                    <a:pt x="4668348" y="815669"/>
                  </a:cubicBezTo>
                  <a:cubicBezTo>
                    <a:pt x="4653089" y="815669"/>
                    <a:pt x="4644298" y="815669"/>
                    <a:pt x="4650766" y="808702"/>
                  </a:cubicBezTo>
                  <a:cubicBezTo>
                    <a:pt x="4657235" y="801736"/>
                    <a:pt x="4644795" y="795931"/>
                    <a:pt x="4656572" y="787637"/>
                  </a:cubicBezTo>
                  <a:cubicBezTo>
                    <a:pt x="4668348" y="779344"/>
                    <a:pt x="4635008" y="753136"/>
                    <a:pt x="4602665" y="740365"/>
                  </a:cubicBezTo>
                  <a:cubicBezTo>
                    <a:pt x="4570320" y="727593"/>
                    <a:pt x="4496509" y="735057"/>
                    <a:pt x="4476770" y="740365"/>
                  </a:cubicBezTo>
                  <a:cubicBezTo>
                    <a:pt x="4451127" y="744561"/>
                    <a:pt x="4425103" y="746054"/>
                    <a:pt x="4399144" y="744843"/>
                  </a:cubicBezTo>
                  <a:cubicBezTo>
                    <a:pt x="4380567" y="744843"/>
                    <a:pt x="4395827" y="737545"/>
                    <a:pt x="4390353" y="728256"/>
                  </a:cubicBezTo>
                  <a:cubicBezTo>
                    <a:pt x="4384880" y="718968"/>
                    <a:pt x="4353032" y="708684"/>
                    <a:pt x="4348555" y="715982"/>
                  </a:cubicBezTo>
                  <a:cubicBezTo>
                    <a:pt x="4344076" y="723280"/>
                    <a:pt x="4335782" y="715982"/>
                    <a:pt x="4335782" y="710674"/>
                  </a:cubicBezTo>
                  <a:cubicBezTo>
                    <a:pt x="4335782" y="705367"/>
                    <a:pt x="4305760" y="694087"/>
                    <a:pt x="4293983" y="696907"/>
                  </a:cubicBezTo>
                  <a:cubicBezTo>
                    <a:pt x="4282207" y="699727"/>
                    <a:pt x="4277396" y="685960"/>
                    <a:pt x="4290667" y="685960"/>
                  </a:cubicBezTo>
                  <a:cubicBezTo>
                    <a:pt x="4303936" y="685960"/>
                    <a:pt x="4327987" y="688945"/>
                    <a:pt x="4317537" y="673354"/>
                  </a:cubicBezTo>
                  <a:cubicBezTo>
                    <a:pt x="4307088" y="657762"/>
                    <a:pt x="4218016" y="652620"/>
                    <a:pt x="4210552" y="655606"/>
                  </a:cubicBezTo>
                  <a:cubicBezTo>
                    <a:pt x="4203088" y="658592"/>
                    <a:pt x="4210552" y="669871"/>
                    <a:pt x="4190814" y="687950"/>
                  </a:cubicBezTo>
                  <a:cubicBezTo>
                    <a:pt x="4171075" y="706030"/>
                    <a:pt x="4152995" y="693922"/>
                    <a:pt x="4155484" y="685131"/>
                  </a:cubicBezTo>
                  <a:cubicBezTo>
                    <a:pt x="4157972" y="676340"/>
                    <a:pt x="4181525" y="677667"/>
                    <a:pt x="4181525" y="668544"/>
                  </a:cubicBezTo>
                  <a:cubicBezTo>
                    <a:pt x="4181525" y="659421"/>
                    <a:pt x="4148351" y="664563"/>
                    <a:pt x="4144205" y="657265"/>
                  </a:cubicBezTo>
                  <a:cubicBezTo>
                    <a:pt x="4140058" y="649966"/>
                    <a:pt x="4151005" y="644990"/>
                    <a:pt x="4162782" y="648308"/>
                  </a:cubicBezTo>
                  <a:cubicBezTo>
                    <a:pt x="4174559" y="651625"/>
                    <a:pt x="4195956" y="653781"/>
                    <a:pt x="4195956" y="648308"/>
                  </a:cubicBezTo>
                  <a:cubicBezTo>
                    <a:pt x="4195956" y="642834"/>
                    <a:pt x="4183681" y="642005"/>
                    <a:pt x="4163943" y="638522"/>
                  </a:cubicBezTo>
                  <a:cubicBezTo>
                    <a:pt x="4133672" y="631140"/>
                    <a:pt x="4102704" y="627027"/>
                    <a:pt x="4071554" y="626247"/>
                  </a:cubicBezTo>
                  <a:cubicBezTo>
                    <a:pt x="4046508" y="628735"/>
                    <a:pt x="4035063" y="616959"/>
                    <a:pt x="4021794" y="615964"/>
                  </a:cubicBezTo>
                  <a:cubicBezTo>
                    <a:pt x="4008524" y="614968"/>
                    <a:pt x="4008192" y="623262"/>
                    <a:pt x="4014496" y="631223"/>
                  </a:cubicBezTo>
                  <a:cubicBezTo>
                    <a:pt x="4020799" y="639185"/>
                    <a:pt x="4001226" y="643995"/>
                    <a:pt x="3984971" y="641507"/>
                  </a:cubicBezTo>
                  <a:cubicBezTo>
                    <a:pt x="3968716" y="639019"/>
                    <a:pt x="3945163" y="650298"/>
                    <a:pt x="3954617" y="662075"/>
                  </a:cubicBezTo>
                  <a:cubicBezTo>
                    <a:pt x="3964072" y="673851"/>
                    <a:pt x="3973194" y="658758"/>
                    <a:pt x="3981156" y="662075"/>
                  </a:cubicBezTo>
                  <a:cubicBezTo>
                    <a:pt x="3989118" y="665392"/>
                    <a:pt x="3960422" y="674349"/>
                    <a:pt x="3972199" y="679823"/>
                  </a:cubicBezTo>
                  <a:cubicBezTo>
                    <a:pt x="3983975" y="685296"/>
                    <a:pt x="3982151" y="696410"/>
                    <a:pt x="3982649" y="702381"/>
                  </a:cubicBezTo>
                  <a:cubicBezTo>
                    <a:pt x="3983146" y="708352"/>
                    <a:pt x="3962911" y="711338"/>
                    <a:pt x="3955612" y="702381"/>
                  </a:cubicBezTo>
                  <a:cubicBezTo>
                    <a:pt x="3948314" y="693424"/>
                    <a:pt x="3937864" y="701386"/>
                    <a:pt x="3924097" y="700390"/>
                  </a:cubicBezTo>
                  <a:cubicBezTo>
                    <a:pt x="3910331" y="699395"/>
                    <a:pt x="3900046" y="705864"/>
                    <a:pt x="3914809" y="707854"/>
                  </a:cubicBezTo>
                  <a:cubicBezTo>
                    <a:pt x="3929571" y="709845"/>
                    <a:pt x="3934381" y="719134"/>
                    <a:pt x="3914809" y="721124"/>
                  </a:cubicBezTo>
                  <a:cubicBezTo>
                    <a:pt x="3895236" y="723114"/>
                    <a:pt x="3900046" y="702878"/>
                    <a:pt x="3888270" y="705367"/>
                  </a:cubicBezTo>
                  <a:cubicBezTo>
                    <a:pt x="3876493" y="707854"/>
                    <a:pt x="3850950" y="696078"/>
                    <a:pt x="3837182" y="696576"/>
                  </a:cubicBezTo>
                  <a:cubicBezTo>
                    <a:pt x="3823415" y="697073"/>
                    <a:pt x="3816947" y="707854"/>
                    <a:pt x="3798867" y="709347"/>
                  </a:cubicBezTo>
                  <a:cubicBezTo>
                    <a:pt x="3780373" y="709828"/>
                    <a:pt x="3762459" y="702895"/>
                    <a:pt x="3749106" y="690107"/>
                  </a:cubicBezTo>
                  <a:cubicBezTo>
                    <a:pt x="3741808" y="680320"/>
                    <a:pt x="3739320" y="677335"/>
                    <a:pt x="3730529" y="688614"/>
                  </a:cubicBezTo>
                  <a:cubicBezTo>
                    <a:pt x="3721738" y="699893"/>
                    <a:pt x="3721240" y="721787"/>
                    <a:pt x="3712284" y="723114"/>
                  </a:cubicBezTo>
                  <a:cubicBezTo>
                    <a:pt x="3703326" y="724441"/>
                    <a:pt x="3700009" y="743682"/>
                    <a:pt x="3691218" y="748658"/>
                  </a:cubicBezTo>
                  <a:cubicBezTo>
                    <a:pt x="3682427" y="753634"/>
                    <a:pt x="3681930" y="741194"/>
                    <a:pt x="3670651" y="742189"/>
                  </a:cubicBezTo>
                  <a:cubicBezTo>
                    <a:pt x="3659372" y="743185"/>
                    <a:pt x="3623047" y="707854"/>
                    <a:pt x="3620890" y="697571"/>
                  </a:cubicBezTo>
                  <a:cubicBezTo>
                    <a:pt x="3618734" y="687287"/>
                    <a:pt x="3596341" y="667549"/>
                    <a:pt x="3590536" y="663568"/>
                  </a:cubicBezTo>
                  <a:cubicBezTo>
                    <a:pt x="3584731" y="659587"/>
                    <a:pt x="3596341" y="657762"/>
                    <a:pt x="3603805" y="663568"/>
                  </a:cubicBezTo>
                  <a:cubicBezTo>
                    <a:pt x="3610457" y="669473"/>
                    <a:pt x="3620127" y="670468"/>
                    <a:pt x="3627857" y="666056"/>
                  </a:cubicBezTo>
                  <a:cubicBezTo>
                    <a:pt x="3635155" y="662075"/>
                    <a:pt x="3634160" y="643995"/>
                    <a:pt x="3621553" y="643497"/>
                  </a:cubicBezTo>
                  <a:cubicBezTo>
                    <a:pt x="3608947" y="643000"/>
                    <a:pt x="3613592" y="632219"/>
                    <a:pt x="3620061" y="630228"/>
                  </a:cubicBezTo>
                  <a:cubicBezTo>
                    <a:pt x="3626529" y="628238"/>
                    <a:pt x="3605299" y="608997"/>
                    <a:pt x="3613094" y="607173"/>
                  </a:cubicBezTo>
                  <a:cubicBezTo>
                    <a:pt x="3620890" y="605348"/>
                    <a:pt x="3617573" y="596723"/>
                    <a:pt x="3606791" y="595396"/>
                  </a:cubicBezTo>
                  <a:cubicBezTo>
                    <a:pt x="3596010" y="594069"/>
                    <a:pt x="3584565" y="584946"/>
                    <a:pt x="3584067" y="579638"/>
                  </a:cubicBezTo>
                  <a:cubicBezTo>
                    <a:pt x="3583570" y="574330"/>
                    <a:pt x="3537956" y="572174"/>
                    <a:pt x="3539947" y="579638"/>
                  </a:cubicBezTo>
                  <a:cubicBezTo>
                    <a:pt x="3541937" y="587102"/>
                    <a:pt x="3525184" y="584946"/>
                    <a:pt x="3527672" y="578643"/>
                  </a:cubicBezTo>
                  <a:cubicBezTo>
                    <a:pt x="3530160" y="572340"/>
                    <a:pt x="3511086" y="574165"/>
                    <a:pt x="3489854" y="568359"/>
                  </a:cubicBezTo>
                  <a:cubicBezTo>
                    <a:pt x="3468623" y="562554"/>
                    <a:pt x="3467628" y="547128"/>
                    <a:pt x="3460330" y="546133"/>
                  </a:cubicBezTo>
                  <a:cubicBezTo>
                    <a:pt x="3453032" y="545138"/>
                    <a:pt x="3455353" y="567364"/>
                    <a:pt x="3443743" y="562720"/>
                  </a:cubicBezTo>
                  <a:cubicBezTo>
                    <a:pt x="3437539" y="559751"/>
                    <a:pt x="3430125" y="562388"/>
                    <a:pt x="3427156" y="568592"/>
                  </a:cubicBezTo>
                  <a:cubicBezTo>
                    <a:pt x="3425530" y="571975"/>
                    <a:pt x="3425530" y="575923"/>
                    <a:pt x="3427156" y="579307"/>
                  </a:cubicBezTo>
                  <a:cubicBezTo>
                    <a:pt x="3433127" y="592078"/>
                    <a:pt x="3427156" y="593903"/>
                    <a:pt x="3427156" y="604353"/>
                  </a:cubicBezTo>
                  <a:cubicBezTo>
                    <a:pt x="3427156" y="614802"/>
                    <a:pt x="3420189" y="610158"/>
                    <a:pt x="3407418" y="605680"/>
                  </a:cubicBezTo>
                  <a:cubicBezTo>
                    <a:pt x="3394646" y="601201"/>
                    <a:pt x="3394646" y="616627"/>
                    <a:pt x="3367112" y="609660"/>
                  </a:cubicBezTo>
                  <a:cubicBezTo>
                    <a:pt x="3339577" y="602694"/>
                    <a:pt x="3327303" y="609660"/>
                    <a:pt x="3322493" y="601367"/>
                  </a:cubicBezTo>
                  <a:cubicBezTo>
                    <a:pt x="3317683" y="593074"/>
                    <a:pt x="3309058" y="591581"/>
                    <a:pt x="3308228" y="598879"/>
                  </a:cubicBezTo>
                  <a:cubicBezTo>
                    <a:pt x="3307399" y="606177"/>
                    <a:pt x="3264937" y="603357"/>
                    <a:pt x="3261453" y="592576"/>
                  </a:cubicBezTo>
                  <a:cubicBezTo>
                    <a:pt x="3257970" y="581795"/>
                    <a:pt x="3268917" y="579804"/>
                    <a:pt x="3275220" y="575989"/>
                  </a:cubicBezTo>
                  <a:cubicBezTo>
                    <a:pt x="3281523" y="572174"/>
                    <a:pt x="3268420" y="568525"/>
                    <a:pt x="3245364" y="570018"/>
                  </a:cubicBezTo>
                  <a:cubicBezTo>
                    <a:pt x="3222308" y="571511"/>
                    <a:pt x="3207381" y="558241"/>
                    <a:pt x="3183827" y="560729"/>
                  </a:cubicBezTo>
                  <a:cubicBezTo>
                    <a:pt x="3156011" y="562786"/>
                    <a:pt x="3128311" y="566386"/>
                    <a:pt x="3100893" y="571511"/>
                  </a:cubicBezTo>
                  <a:cubicBezTo>
                    <a:pt x="3093429" y="574994"/>
                    <a:pt x="3107694" y="588098"/>
                    <a:pt x="3096415" y="589259"/>
                  </a:cubicBezTo>
                  <a:cubicBezTo>
                    <a:pt x="3085136" y="590420"/>
                    <a:pt x="3092931" y="567530"/>
                    <a:pt x="3091107" y="556085"/>
                  </a:cubicBezTo>
                  <a:cubicBezTo>
                    <a:pt x="3089283" y="544640"/>
                    <a:pt x="3071866" y="543811"/>
                    <a:pt x="3074520" y="552270"/>
                  </a:cubicBezTo>
                  <a:cubicBezTo>
                    <a:pt x="3077174" y="560729"/>
                    <a:pt x="3047484" y="563549"/>
                    <a:pt x="3040019" y="557080"/>
                  </a:cubicBezTo>
                  <a:cubicBezTo>
                    <a:pt x="3029022" y="547543"/>
                    <a:pt x="3015869" y="540842"/>
                    <a:pt x="3001704" y="537508"/>
                  </a:cubicBezTo>
                  <a:cubicBezTo>
                    <a:pt x="2982628" y="532532"/>
                    <a:pt x="2959075" y="554094"/>
                    <a:pt x="2964383" y="559071"/>
                  </a:cubicBezTo>
                  <a:cubicBezTo>
                    <a:pt x="2969691" y="564047"/>
                    <a:pt x="2984122" y="560563"/>
                    <a:pt x="2984619" y="564544"/>
                  </a:cubicBezTo>
                  <a:cubicBezTo>
                    <a:pt x="2985615" y="572506"/>
                    <a:pt x="2943816" y="569355"/>
                    <a:pt x="2943816" y="576321"/>
                  </a:cubicBezTo>
                  <a:cubicBezTo>
                    <a:pt x="2943816" y="583287"/>
                    <a:pt x="2905002" y="592908"/>
                    <a:pt x="2893226" y="593903"/>
                  </a:cubicBezTo>
                  <a:cubicBezTo>
                    <a:pt x="2860882" y="598050"/>
                    <a:pt x="2853916" y="597884"/>
                    <a:pt x="2838655" y="610490"/>
                  </a:cubicBezTo>
                  <a:cubicBezTo>
                    <a:pt x="2823395" y="623096"/>
                    <a:pt x="2835172" y="599211"/>
                    <a:pt x="2846948" y="587434"/>
                  </a:cubicBezTo>
                  <a:cubicBezTo>
                    <a:pt x="2858725" y="575657"/>
                    <a:pt x="2870999" y="580468"/>
                    <a:pt x="2877966" y="570847"/>
                  </a:cubicBezTo>
                  <a:cubicBezTo>
                    <a:pt x="2884933" y="561227"/>
                    <a:pt x="2895714" y="562554"/>
                    <a:pt x="2914291" y="559568"/>
                  </a:cubicBezTo>
                  <a:cubicBezTo>
                    <a:pt x="2932868" y="556583"/>
                    <a:pt x="2932039" y="545801"/>
                    <a:pt x="2940830" y="541820"/>
                  </a:cubicBezTo>
                  <a:cubicBezTo>
                    <a:pt x="2949621" y="537839"/>
                    <a:pt x="2971350" y="529546"/>
                    <a:pt x="2975165" y="520755"/>
                  </a:cubicBezTo>
                  <a:cubicBezTo>
                    <a:pt x="2978980" y="511964"/>
                    <a:pt x="3023432" y="497202"/>
                    <a:pt x="3032224" y="497699"/>
                  </a:cubicBezTo>
                  <a:cubicBezTo>
                    <a:pt x="3041014" y="498197"/>
                    <a:pt x="3043005" y="479951"/>
                    <a:pt x="3048811" y="479951"/>
                  </a:cubicBezTo>
                  <a:cubicBezTo>
                    <a:pt x="3062644" y="475788"/>
                    <a:pt x="3076129" y="470513"/>
                    <a:pt x="3089117" y="464194"/>
                  </a:cubicBezTo>
                  <a:cubicBezTo>
                    <a:pt x="3097343" y="460595"/>
                    <a:pt x="3103116" y="453014"/>
                    <a:pt x="3104376" y="444124"/>
                  </a:cubicBezTo>
                  <a:cubicBezTo>
                    <a:pt x="3104376" y="437655"/>
                    <a:pt x="3091107" y="438650"/>
                    <a:pt x="3089614" y="432845"/>
                  </a:cubicBezTo>
                  <a:cubicBezTo>
                    <a:pt x="3088121" y="427040"/>
                    <a:pt x="3095917" y="430854"/>
                    <a:pt x="3106201" y="426873"/>
                  </a:cubicBezTo>
                  <a:cubicBezTo>
                    <a:pt x="3116484" y="422893"/>
                    <a:pt x="3106201" y="409291"/>
                    <a:pt x="3097907" y="411614"/>
                  </a:cubicBezTo>
                  <a:cubicBezTo>
                    <a:pt x="3089614" y="413936"/>
                    <a:pt x="3102386" y="404315"/>
                    <a:pt x="3094922" y="395027"/>
                  </a:cubicBezTo>
                  <a:cubicBezTo>
                    <a:pt x="3087457" y="385738"/>
                    <a:pt x="3072861" y="400335"/>
                    <a:pt x="3073359" y="391046"/>
                  </a:cubicBezTo>
                  <a:cubicBezTo>
                    <a:pt x="3074554" y="381475"/>
                    <a:pt x="3072065" y="371805"/>
                    <a:pt x="3066393" y="364010"/>
                  </a:cubicBezTo>
                  <a:cubicBezTo>
                    <a:pt x="3060587" y="358038"/>
                    <a:pt x="3049806" y="374293"/>
                    <a:pt x="3037531" y="365005"/>
                  </a:cubicBezTo>
                  <a:cubicBezTo>
                    <a:pt x="3025257" y="355716"/>
                    <a:pt x="2989264" y="349745"/>
                    <a:pt x="2989264" y="353726"/>
                  </a:cubicBezTo>
                  <a:cubicBezTo>
                    <a:pt x="2989264" y="357706"/>
                    <a:pt x="2972677" y="347754"/>
                    <a:pt x="2968696" y="351735"/>
                  </a:cubicBezTo>
                  <a:cubicBezTo>
                    <a:pt x="2955376" y="355384"/>
                    <a:pt x="2941377" y="355733"/>
                    <a:pt x="2927892" y="352730"/>
                  </a:cubicBezTo>
                  <a:cubicBezTo>
                    <a:pt x="2919102" y="350242"/>
                    <a:pt x="2906828" y="356214"/>
                    <a:pt x="2906329" y="365005"/>
                  </a:cubicBezTo>
                  <a:cubicBezTo>
                    <a:pt x="2905831" y="373796"/>
                    <a:pt x="2870999" y="370478"/>
                    <a:pt x="2864530" y="368986"/>
                  </a:cubicBezTo>
                  <a:cubicBezTo>
                    <a:pt x="2858062" y="367493"/>
                    <a:pt x="2888581" y="342447"/>
                    <a:pt x="2888581" y="337968"/>
                  </a:cubicBezTo>
                  <a:cubicBezTo>
                    <a:pt x="2888581" y="333490"/>
                    <a:pt x="2836997" y="338963"/>
                    <a:pt x="2834177" y="333987"/>
                  </a:cubicBezTo>
                  <a:cubicBezTo>
                    <a:pt x="2831357" y="329011"/>
                    <a:pt x="2806145" y="327684"/>
                    <a:pt x="2794700" y="328182"/>
                  </a:cubicBezTo>
                  <a:cubicBezTo>
                    <a:pt x="2783255" y="328679"/>
                    <a:pt x="2794700" y="325196"/>
                    <a:pt x="2804652" y="324201"/>
                  </a:cubicBezTo>
                  <a:cubicBezTo>
                    <a:pt x="2814604" y="323206"/>
                    <a:pt x="2824224" y="314415"/>
                    <a:pt x="2835503" y="312424"/>
                  </a:cubicBezTo>
                  <a:cubicBezTo>
                    <a:pt x="2846782" y="310434"/>
                    <a:pt x="2844461" y="306619"/>
                    <a:pt x="2839484" y="299653"/>
                  </a:cubicBezTo>
                  <a:cubicBezTo>
                    <a:pt x="2834508" y="292686"/>
                    <a:pt x="2822897" y="296169"/>
                    <a:pt x="2811453" y="292852"/>
                  </a:cubicBezTo>
                  <a:cubicBezTo>
                    <a:pt x="2800191" y="288656"/>
                    <a:pt x="2788513" y="285653"/>
                    <a:pt x="2776620" y="283895"/>
                  </a:cubicBezTo>
                  <a:cubicBezTo>
                    <a:pt x="2761825" y="285985"/>
                    <a:pt x="2747196" y="289087"/>
                    <a:pt x="2732831" y="293184"/>
                  </a:cubicBezTo>
                  <a:cubicBezTo>
                    <a:pt x="2709776" y="297662"/>
                    <a:pt x="2707786" y="315410"/>
                    <a:pt x="2696009" y="320884"/>
                  </a:cubicBezTo>
                  <a:cubicBezTo>
                    <a:pt x="2684232" y="326357"/>
                    <a:pt x="2662835" y="347754"/>
                    <a:pt x="2673451" y="349745"/>
                  </a:cubicBezTo>
                  <a:cubicBezTo>
                    <a:pt x="2684066" y="351735"/>
                    <a:pt x="2678261" y="357706"/>
                    <a:pt x="2679754" y="364010"/>
                  </a:cubicBezTo>
                  <a:cubicBezTo>
                    <a:pt x="2681246" y="370313"/>
                    <a:pt x="2672456" y="371805"/>
                    <a:pt x="2661176" y="369981"/>
                  </a:cubicBezTo>
                  <a:cubicBezTo>
                    <a:pt x="2649897" y="368156"/>
                    <a:pt x="2610089" y="368488"/>
                    <a:pt x="2611415" y="376781"/>
                  </a:cubicBezTo>
                  <a:cubicBezTo>
                    <a:pt x="2612742" y="385075"/>
                    <a:pt x="2634471" y="389056"/>
                    <a:pt x="2632979" y="393368"/>
                  </a:cubicBezTo>
                  <a:cubicBezTo>
                    <a:pt x="2631486" y="397681"/>
                    <a:pt x="2616392" y="393368"/>
                    <a:pt x="2607933" y="388392"/>
                  </a:cubicBezTo>
                  <a:cubicBezTo>
                    <a:pt x="2599473" y="383416"/>
                    <a:pt x="2582388" y="386402"/>
                    <a:pt x="2578906" y="394861"/>
                  </a:cubicBezTo>
                  <a:cubicBezTo>
                    <a:pt x="2575422" y="403320"/>
                    <a:pt x="2562319" y="401164"/>
                    <a:pt x="2557343" y="399174"/>
                  </a:cubicBezTo>
                  <a:cubicBezTo>
                    <a:pt x="2552366" y="397183"/>
                    <a:pt x="2543077" y="403154"/>
                    <a:pt x="2535779" y="400666"/>
                  </a:cubicBezTo>
                  <a:cubicBezTo>
                    <a:pt x="2528481" y="398178"/>
                    <a:pt x="2550542" y="387397"/>
                    <a:pt x="2545068" y="382089"/>
                  </a:cubicBezTo>
                  <a:cubicBezTo>
                    <a:pt x="2539595" y="376781"/>
                    <a:pt x="2516041" y="382089"/>
                    <a:pt x="2513553" y="390383"/>
                  </a:cubicBezTo>
                  <a:cubicBezTo>
                    <a:pt x="2511065" y="398676"/>
                    <a:pt x="2496967" y="384079"/>
                    <a:pt x="2491493" y="386899"/>
                  </a:cubicBezTo>
                  <a:cubicBezTo>
                    <a:pt x="2484509" y="390930"/>
                    <a:pt x="2477311" y="394579"/>
                    <a:pt x="2469930" y="397847"/>
                  </a:cubicBezTo>
                  <a:cubicBezTo>
                    <a:pt x="2459480" y="402159"/>
                    <a:pt x="2441898" y="392870"/>
                    <a:pt x="2437918" y="400666"/>
                  </a:cubicBezTo>
                  <a:cubicBezTo>
                    <a:pt x="2433937" y="408462"/>
                    <a:pt x="2457656" y="410950"/>
                    <a:pt x="2457987" y="414433"/>
                  </a:cubicBezTo>
                  <a:cubicBezTo>
                    <a:pt x="2458319" y="417917"/>
                    <a:pt x="2404578" y="417419"/>
                    <a:pt x="2403085" y="422893"/>
                  </a:cubicBezTo>
                  <a:cubicBezTo>
                    <a:pt x="2401592" y="428367"/>
                    <a:pt x="2383346" y="428200"/>
                    <a:pt x="2361286" y="428698"/>
                  </a:cubicBezTo>
                  <a:cubicBezTo>
                    <a:pt x="2339226" y="429196"/>
                    <a:pt x="2348017" y="439977"/>
                    <a:pt x="2330269" y="443460"/>
                  </a:cubicBezTo>
                  <a:cubicBezTo>
                    <a:pt x="2312521" y="446944"/>
                    <a:pt x="2304725" y="447441"/>
                    <a:pt x="2298920" y="456232"/>
                  </a:cubicBezTo>
                  <a:cubicBezTo>
                    <a:pt x="2294176" y="464061"/>
                    <a:pt x="2283975" y="466566"/>
                    <a:pt x="2276129" y="461805"/>
                  </a:cubicBezTo>
                  <a:cubicBezTo>
                    <a:pt x="2275151" y="461208"/>
                    <a:pt x="2274222" y="460512"/>
                    <a:pt x="2273376" y="459716"/>
                  </a:cubicBezTo>
                  <a:cubicBezTo>
                    <a:pt x="2267404" y="452749"/>
                    <a:pt x="2251150" y="463033"/>
                    <a:pt x="2260106" y="464028"/>
                  </a:cubicBezTo>
                  <a:cubicBezTo>
                    <a:pt x="2269064" y="465023"/>
                    <a:pt x="2260106" y="473980"/>
                    <a:pt x="2255130" y="471990"/>
                  </a:cubicBezTo>
                  <a:cubicBezTo>
                    <a:pt x="2250155" y="469999"/>
                    <a:pt x="2234065" y="481278"/>
                    <a:pt x="2242856" y="480283"/>
                  </a:cubicBezTo>
                  <a:cubicBezTo>
                    <a:pt x="2251648" y="479288"/>
                    <a:pt x="2256126" y="486586"/>
                    <a:pt x="2251648" y="492060"/>
                  </a:cubicBezTo>
                  <a:cubicBezTo>
                    <a:pt x="2247169" y="497534"/>
                    <a:pt x="2228094" y="485757"/>
                    <a:pt x="2223284" y="490567"/>
                  </a:cubicBezTo>
                  <a:cubicBezTo>
                    <a:pt x="2218474" y="495377"/>
                    <a:pt x="2232573" y="501846"/>
                    <a:pt x="2241363" y="500851"/>
                  </a:cubicBezTo>
                  <a:cubicBezTo>
                    <a:pt x="2248429" y="499806"/>
                    <a:pt x="2255014" y="504682"/>
                    <a:pt x="2256060" y="511748"/>
                  </a:cubicBezTo>
                  <a:cubicBezTo>
                    <a:pt x="2256076" y="511931"/>
                    <a:pt x="2256109" y="512113"/>
                    <a:pt x="2256126" y="512296"/>
                  </a:cubicBezTo>
                  <a:cubicBezTo>
                    <a:pt x="2257121" y="518599"/>
                    <a:pt x="2235558" y="508315"/>
                    <a:pt x="2231079" y="513789"/>
                  </a:cubicBezTo>
                  <a:cubicBezTo>
                    <a:pt x="2226602" y="519262"/>
                    <a:pt x="2234563" y="521584"/>
                    <a:pt x="2243851" y="522580"/>
                  </a:cubicBezTo>
                  <a:cubicBezTo>
                    <a:pt x="2253140" y="523575"/>
                    <a:pt x="2246340" y="527058"/>
                    <a:pt x="2254633" y="534356"/>
                  </a:cubicBezTo>
                  <a:cubicBezTo>
                    <a:pt x="2255230" y="534870"/>
                    <a:pt x="2255777" y="535418"/>
                    <a:pt x="2256292" y="536015"/>
                  </a:cubicBezTo>
                  <a:cubicBezTo>
                    <a:pt x="2261433" y="541986"/>
                    <a:pt x="2251813" y="544143"/>
                    <a:pt x="2252808" y="550114"/>
                  </a:cubicBezTo>
                  <a:cubicBezTo>
                    <a:pt x="2253803" y="556085"/>
                    <a:pt x="2243354" y="558905"/>
                    <a:pt x="2243354" y="552934"/>
                  </a:cubicBezTo>
                  <a:cubicBezTo>
                    <a:pt x="2243354" y="546962"/>
                    <a:pt x="2217313" y="545138"/>
                    <a:pt x="2212005" y="551607"/>
                  </a:cubicBezTo>
                  <a:cubicBezTo>
                    <a:pt x="2206697" y="558075"/>
                    <a:pt x="2202550" y="562885"/>
                    <a:pt x="2195418" y="556914"/>
                  </a:cubicBezTo>
                  <a:cubicBezTo>
                    <a:pt x="2188286" y="550943"/>
                    <a:pt x="2170372" y="558407"/>
                    <a:pt x="2145658" y="559402"/>
                  </a:cubicBezTo>
                  <a:cubicBezTo>
                    <a:pt x="2116813" y="559668"/>
                    <a:pt x="2088035" y="562106"/>
                    <a:pt x="2059572" y="566701"/>
                  </a:cubicBezTo>
                  <a:cubicBezTo>
                    <a:pt x="2047298" y="571179"/>
                    <a:pt x="2037014" y="588429"/>
                    <a:pt x="2048293" y="599874"/>
                  </a:cubicBezTo>
                  <a:cubicBezTo>
                    <a:pt x="2059572" y="611319"/>
                    <a:pt x="2048293" y="616461"/>
                    <a:pt x="2048293" y="623428"/>
                  </a:cubicBezTo>
                  <a:cubicBezTo>
                    <a:pt x="2048293" y="630394"/>
                    <a:pt x="2077817" y="645986"/>
                    <a:pt x="2093575" y="647478"/>
                  </a:cubicBezTo>
                  <a:cubicBezTo>
                    <a:pt x="2109333" y="648971"/>
                    <a:pt x="2121939" y="668046"/>
                    <a:pt x="2112650" y="680652"/>
                  </a:cubicBezTo>
                  <a:cubicBezTo>
                    <a:pt x="2103361" y="693258"/>
                    <a:pt x="2074832" y="677169"/>
                    <a:pt x="2056088" y="662406"/>
                  </a:cubicBezTo>
                  <a:cubicBezTo>
                    <a:pt x="2032967" y="649087"/>
                    <a:pt x="2006643" y="642320"/>
                    <a:pt x="1979955" y="642834"/>
                  </a:cubicBezTo>
                  <a:cubicBezTo>
                    <a:pt x="1965690" y="643664"/>
                    <a:pt x="1974149" y="630062"/>
                    <a:pt x="1955904" y="630394"/>
                  </a:cubicBezTo>
                  <a:cubicBezTo>
                    <a:pt x="1937659" y="630726"/>
                    <a:pt x="1922731" y="646981"/>
                    <a:pt x="1934839" y="646981"/>
                  </a:cubicBezTo>
                  <a:cubicBezTo>
                    <a:pt x="1946947" y="646981"/>
                    <a:pt x="1954909" y="645986"/>
                    <a:pt x="1948606" y="651957"/>
                  </a:cubicBezTo>
                  <a:cubicBezTo>
                    <a:pt x="1942303" y="657928"/>
                    <a:pt x="1951923" y="656435"/>
                    <a:pt x="1966686" y="662738"/>
                  </a:cubicBezTo>
                  <a:cubicBezTo>
                    <a:pt x="1981448" y="669041"/>
                    <a:pt x="1954411" y="677998"/>
                    <a:pt x="1939317" y="667714"/>
                  </a:cubicBezTo>
                  <a:cubicBezTo>
                    <a:pt x="1927441" y="659769"/>
                    <a:pt x="1911369" y="662971"/>
                    <a:pt x="1903424" y="674863"/>
                  </a:cubicBezTo>
                  <a:cubicBezTo>
                    <a:pt x="1903390" y="674913"/>
                    <a:pt x="1903357" y="674963"/>
                    <a:pt x="1903324" y="675013"/>
                  </a:cubicBezTo>
                  <a:cubicBezTo>
                    <a:pt x="1899011" y="682808"/>
                    <a:pt x="1921072" y="705532"/>
                    <a:pt x="1947611" y="709347"/>
                  </a:cubicBezTo>
                  <a:cubicBezTo>
                    <a:pt x="1974149" y="713162"/>
                    <a:pt x="1965358" y="721622"/>
                    <a:pt x="1977633" y="725934"/>
                  </a:cubicBezTo>
                  <a:cubicBezTo>
                    <a:pt x="1989907" y="730247"/>
                    <a:pt x="1980950" y="735223"/>
                    <a:pt x="1972657" y="735720"/>
                  </a:cubicBezTo>
                  <a:cubicBezTo>
                    <a:pt x="1964363" y="736218"/>
                    <a:pt x="1947611" y="722949"/>
                    <a:pt x="1934341" y="716148"/>
                  </a:cubicBezTo>
                  <a:cubicBezTo>
                    <a:pt x="1921072" y="709347"/>
                    <a:pt x="1884581" y="719134"/>
                    <a:pt x="1877780" y="711172"/>
                  </a:cubicBezTo>
                  <a:cubicBezTo>
                    <a:pt x="1870979" y="703210"/>
                    <a:pt x="1882756" y="694585"/>
                    <a:pt x="1875790" y="689609"/>
                  </a:cubicBezTo>
                  <a:cubicBezTo>
                    <a:pt x="1868823" y="684633"/>
                    <a:pt x="1875790" y="670368"/>
                    <a:pt x="1883751" y="656435"/>
                  </a:cubicBezTo>
                  <a:cubicBezTo>
                    <a:pt x="1890933" y="641126"/>
                    <a:pt x="1884614" y="622880"/>
                    <a:pt x="1869487" y="615300"/>
                  </a:cubicBezTo>
                  <a:cubicBezTo>
                    <a:pt x="1856715" y="611319"/>
                    <a:pt x="1857710" y="624589"/>
                    <a:pt x="1860696" y="628569"/>
                  </a:cubicBezTo>
                  <a:cubicBezTo>
                    <a:pt x="1863266" y="640860"/>
                    <a:pt x="1860165" y="653665"/>
                    <a:pt x="1852237" y="663402"/>
                  </a:cubicBezTo>
                  <a:cubicBezTo>
                    <a:pt x="1842450" y="675676"/>
                    <a:pt x="1812428" y="675676"/>
                    <a:pt x="1812428" y="683969"/>
                  </a:cubicBezTo>
                  <a:cubicBezTo>
                    <a:pt x="1812428" y="692263"/>
                    <a:pt x="1792358" y="698732"/>
                    <a:pt x="1799159" y="704703"/>
                  </a:cubicBezTo>
                  <a:cubicBezTo>
                    <a:pt x="1813506" y="718371"/>
                    <a:pt x="1826195" y="733680"/>
                    <a:pt x="1836976" y="750317"/>
                  </a:cubicBezTo>
                  <a:cubicBezTo>
                    <a:pt x="1840957" y="759605"/>
                    <a:pt x="1812925" y="789130"/>
                    <a:pt x="1817404" y="806380"/>
                  </a:cubicBezTo>
                  <a:cubicBezTo>
                    <a:pt x="1821882" y="823630"/>
                    <a:pt x="1813423" y="831426"/>
                    <a:pt x="1818897" y="839554"/>
                  </a:cubicBezTo>
                  <a:cubicBezTo>
                    <a:pt x="1824370" y="847682"/>
                    <a:pt x="1836479" y="840549"/>
                    <a:pt x="1844441" y="844032"/>
                  </a:cubicBezTo>
                  <a:cubicBezTo>
                    <a:pt x="1852402" y="847516"/>
                    <a:pt x="1865008" y="839056"/>
                    <a:pt x="1883254" y="835739"/>
                  </a:cubicBezTo>
                  <a:cubicBezTo>
                    <a:pt x="1901499" y="832421"/>
                    <a:pt x="1934839" y="851331"/>
                    <a:pt x="1947113" y="857302"/>
                  </a:cubicBezTo>
                  <a:cubicBezTo>
                    <a:pt x="1959387" y="863273"/>
                    <a:pt x="1952918" y="873889"/>
                    <a:pt x="1959387" y="882846"/>
                  </a:cubicBezTo>
                  <a:cubicBezTo>
                    <a:pt x="1965856" y="891802"/>
                    <a:pt x="1944625" y="892632"/>
                    <a:pt x="1944127" y="907394"/>
                  </a:cubicBezTo>
                  <a:cubicBezTo>
                    <a:pt x="1943630" y="922156"/>
                    <a:pt x="1980950" y="928459"/>
                    <a:pt x="1982443" y="932938"/>
                  </a:cubicBezTo>
                  <a:cubicBezTo>
                    <a:pt x="1983936" y="937416"/>
                    <a:pt x="1955904" y="933933"/>
                    <a:pt x="1945122" y="929952"/>
                  </a:cubicBezTo>
                  <a:cubicBezTo>
                    <a:pt x="1934341" y="925971"/>
                    <a:pt x="1933346" y="911873"/>
                    <a:pt x="1929863" y="908887"/>
                  </a:cubicBezTo>
                  <a:cubicBezTo>
                    <a:pt x="1926380" y="905901"/>
                    <a:pt x="1937327" y="894125"/>
                    <a:pt x="1938156" y="884836"/>
                  </a:cubicBezTo>
                  <a:cubicBezTo>
                    <a:pt x="1938985" y="875547"/>
                    <a:pt x="1926048" y="870074"/>
                    <a:pt x="1921569" y="863605"/>
                  </a:cubicBezTo>
                  <a:cubicBezTo>
                    <a:pt x="1917091" y="857136"/>
                    <a:pt x="1909295" y="848013"/>
                    <a:pt x="1900504" y="849838"/>
                  </a:cubicBezTo>
                  <a:cubicBezTo>
                    <a:pt x="1891713" y="851662"/>
                    <a:pt x="1859203" y="854814"/>
                    <a:pt x="1849251" y="863605"/>
                  </a:cubicBezTo>
                  <a:cubicBezTo>
                    <a:pt x="1839299" y="872396"/>
                    <a:pt x="1850743" y="897608"/>
                    <a:pt x="1856217" y="909882"/>
                  </a:cubicBezTo>
                  <a:cubicBezTo>
                    <a:pt x="1861691" y="922156"/>
                    <a:pt x="1827688" y="939407"/>
                    <a:pt x="1828683" y="949193"/>
                  </a:cubicBezTo>
                  <a:cubicBezTo>
                    <a:pt x="1829678" y="958979"/>
                    <a:pt x="1818399" y="963458"/>
                    <a:pt x="1803637" y="971253"/>
                  </a:cubicBezTo>
                  <a:cubicBezTo>
                    <a:pt x="1788875" y="979049"/>
                    <a:pt x="1772619" y="985021"/>
                    <a:pt x="1773117" y="997792"/>
                  </a:cubicBezTo>
                  <a:cubicBezTo>
                    <a:pt x="1773615" y="1010564"/>
                    <a:pt x="1753545" y="1003763"/>
                    <a:pt x="1743261" y="997792"/>
                  </a:cubicBezTo>
                  <a:cubicBezTo>
                    <a:pt x="1732977" y="991821"/>
                    <a:pt x="1719542" y="1001276"/>
                    <a:pt x="1704945" y="1000778"/>
                  </a:cubicBezTo>
                  <a:cubicBezTo>
                    <a:pt x="1690349" y="1000280"/>
                    <a:pt x="1690183" y="988006"/>
                    <a:pt x="1678406" y="992319"/>
                  </a:cubicBezTo>
                  <a:cubicBezTo>
                    <a:pt x="1673032" y="995636"/>
                    <a:pt x="1665966" y="993961"/>
                    <a:pt x="1662665" y="988570"/>
                  </a:cubicBezTo>
                  <a:cubicBezTo>
                    <a:pt x="1660741" y="985452"/>
                    <a:pt x="1660426" y="981604"/>
                    <a:pt x="1661820" y="978220"/>
                  </a:cubicBezTo>
                  <a:cubicBezTo>
                    <a:pt x="1665303" y="969263"/>
                    <a:pt x="1678406" y="976230"/>
                    <a:pt x="1679402" y="982532"/>
                  </a:cubicBezTo>
                  <a:cubicBezTo>
                    <a:pt x="1680397" y="988835"/>
                    <a:pt x="1688856" y="986016"/>
                    <a:pt x="1698642" y="980542"/>
                  </a:cubicBezTo>
                  <a:cubicBezTo>
                    <a:pt x="1708429" y="975068"/>
                    <a:pt x="1703618" y="987508"/>
                    <a:pt x="1717883" y="988504"/>
                  </a:cubicBezTo>
                  <a:cubicBezTo>
                    <a:pt x="1732148" y="989499"/>
                    <a:pt x="1724186" y="981040"/>
                    <a:pt x="1734470" y="982035"/>
                  </a:cubicBezTo>
                  <a:cubicBezTo>
                    <a:pt x="1744754" y="983030"/>
                    <a:pt x="1745749" y="979547"/>
                    <a:pt x="1742431" y="974239"/>
                  </a:cubicBezTo>
                  <a:cubicBezTo>
                    <a:pt x="1739114" y="968931"/>
                    <a:pt x="1750227" y="964950"/>
                    <a:pt x="1757028" y="961965"/>
                  </a:cubicBezTo>
                  <a:cubicBezTo>
                    <a:pt x="1763828" y="958979"/>
                    <a:pt x="1761009" y="947700"/>
                    <a:pt x="1767478" y="944217"/>
                  </a:cubicBezTo>
                  <a:cubicBezTo>
                    <a:pt x="1773947" y="940734"/>
                    <a:pt x="1769302" y="933933"/>
                    <a:pt x="1776269" y="933435"/>
                  </a:cubicBezTo>
                  <a:cubicBezTo>
                    <a:pt x="1783235" y="932938"/>
                    <a:pt x="1786055" y="922654"/>
                    <a:pt x="1792855" y="922654"/>
                  </a:cubicBezTo>
                  <a:cubicBezTo>
                    <a:pt x="1799656" y="922654"/>
                    <a:pt x="1802642" y="912370"/>
                    <a:pt x="1798661" y="906896"/>
                  </a:cubicBezTo>
                  <a:cubicBezTo>
                    <a:pt x="1794680" y="901423"/>
                    <a:pt x="1801149" y="886827"/>
                    <a:pt x="1807618" y="884836"/>
                  </a:cubicBezTo>
                  <a:cubicBezTo>
                    <a:pt x="1814087" y="882846"/>
                    <a:pt x="1814419" y="876874"/>
                    <a:pt x="1808613" y="872562"/>
                  </a:cubicBezTo>
                  <a:cubicBezTo>
                    <a:pt x="1802808" y="868249"/>
                    <a:pt x="1781079" y="853321"/>
                    <a:pt x="1782572" y="844032"/>
                  </a:cubicBezTo>
                  <a:cubicBezTo>
                    <a:pt x="1784064" y="834744"/>
                    <a:pt x="1778591" y="817493"/>
                    <a:pt x="1781410" y="810859"/>
                  </a:cubicBezTo>
                  <a:cubicBezTo>
                    <a:pt x="1783401" y="800442"/>
                    <a:pt x="1783401" y="789760"/>
                    <a:pt x="1781410" y="779344"/>
                  </a:cubicBezTo>
                  <a:cubicBezTo>
                    <a:pt x="1783069" y="767501"/>
                    <a:pt x="1785856" y="755840"/>
                    <a:pt x="1789704" y="744511"/>
                  </a:cubicBezTo>
                  <a:cubicBezTo>
                    <a:pt x="1792689" y="727925"/>
                    <a:pt x="1773117" y="711338"/>
                    <a:pt x="1762667" y="706694"/>
                  </a:cubicBezTo>
                  <a:cubicBezTo>
                    <a:pt x="1752218" y="702049"/>
                    <a:pt x="1759184" y="693424"/>
                    <a:pt x="1773449" y="681647"/>
                  </a:cubicBezTo>
                  <a:cubicBezTo>
                    <a:pt x="1787714" y="669871"/>
                    <a:pt x="1788709" y="632882"/>
                    <a:pt x="1787714" y="625086"/>
                  </a:cubicBezTo>
                  <a:cubicBezTo>
                    <a:pt x="1786718" y="617291"/>
                    <a:pt x="1757691" y="610324"/>
                    <a:pt x="1746578" y="611319"/>
                  </a:cubicBezTo>
                  <a:cubicBezTo>
                    <a:pt x="1725364" y="611850"/>
                    <a:pt x="1704133" y="610838"/>
                    <a:pt x="1683051" y="608333"/>
                  </a:cubicBezTo>
                  <a:cubicBezTo>
                    <a:pt x="1672767" y="606343"/>
                    <a:pt x="1669284" y="617124"/>
                    <a:pt x="1664474" y="627077"/>
                  </a:cubicBezTo>
                  <a:cubicBezTo>
                    <a:pt x="1655284" y="641872"/>
                    <a:pt x="1647820" y="657679"/>
                    <a:pt x="1642247" y="674183"/>
                  </a:cubicBezTo>
                  <a:cubicBezTo>
                    <a:pt x="1635944" y="696244"/>
                    <a:pt x="1609903" y="703210"/>
                    <a:pt x="1598126" y="707357"/>
                  </a:cubicBezTo>
                  <a:cubicBezTo>
                    <a:pt x="1586350" y="711504"/>
                    <a:pt x="1578885" y="728422"/>
                    <a:pt x="1584359" y="736218"/>
                  </a:cubicBezTo>
                  <a:cubicBezTo>
                    <a:pt x="1589833" y="744014"/>
                    <a:pt x="1597629" y="737711"/>
                    <a:pt x="1602937" y="740696"/>
                  </a:cubicBezTo>
                  <a:cubicBezTo>
                    <a:pt x="1608244" y="743682"/>
                    <a:pt x="1602937" y="764250"/>
                    <a:pt x="1599121" y="767235"/>
                  </a:cubicBezTo>
                  <a:cubicBezTo>
                    <a:pt x="1595306" y="770221"/>
                    <a:pt x="1605424" y="777519"/>
                    <a:pt x="1597131" y="782993"/>
                  </a:cubicBezTo>
                  <a:cubicBezTo>
                    <a:pt x="1588838" y="788466"/>
                    <a:pt x="1580544" y="799580"/>
                    <a:pt x="1585852" y="805551"/>
                  </a:cubicBezTo>
                  <a:cubicBezTo>
                    <a:pt x="1591160" y="811522"/>
                    <a:pt x="1614879" y="814342"/>
                    <a:pt x="1625163" y="820313"/>
                  </a:cubicBezTo>
                  <a:cubicBezTo>
                    <a:pt x="1635447" y="826284"/>
                    <a:pt x="1631466" y="836900"/>
                    <a:pt x="1639427" y="847350"/>
                  </a:cubicBezTo>
                  <a:cubicBezTo>
                    <a:pt x="1647389" y="857800"/>
                    <a:pt x="1656014" y="851165"/>
                    <a:pt x="1659497" y="857634"/>
                  </a:cubicBezTo>
                  <a:cubicBezTo>
                    <a:pt x="1662981" y="864102"/>
                    <a:pt x="1645233" y="889480"/>
                    <a:pt x="1638930" y="890807"/>
                  </a:cubicBezTo>
                  <a:cubicBezTo>
                    <a:pt x="1632627" y="892134"/>
                    <a:pt x="1605756" y="864766"/>
                    <a:pt x="1598624" y="858961"/>
                  </a:cubicBezTo>
                  <a:cubicBezTo>
                    <a:pt x="1591492" y="853155"/>
                    <a:pt x="1560308" y="843701"/>
                    <a:pt x="1545048" y="835905"/>
                  </a:cubicBezTo>
                  <a:cubicBezTo>
                    <a:pt x="1529838" y="830995"/>
                    <a:pt x="1515026" y="824891"/>
                    <a:pt x="1500762" y="817659"/>
                  </a:cubicBezTo>
                  <a:cubicBezTo>
                    <a:pt x="1482947" y="804970"/>
                    <a:pt x="1461168" y="799082"/>
                    <a:pt x="1439390" y="801072"/>
                  </a:cubicBezTo>
                  <a:cubicBezTo>
                    <a:pt x="1408870" y="801072"/>
                    <a:pt x="1389630" y="794272"/>
                    <a:pt x="1379014" y="795765"/>
                  </a:cubicBezTo>
                  <a:cubicBezTo>
                    <a:pt x="1368399" y="797257"/>
                    <a:pt x="1372545" y="785481"/>
                    <a:pt x="1354466" y="777519"/>
                  </a:cubicBezTo>
                  <a:cubicBezTo>
                    <a:pt x="1336386" y="769558"/>
                    <a:pt x="1324444" y="758942"/>
                    <a:pt x="1314160" y="764250"/>
                  </a:cubicBezTo>
                  <a:cubicBezTo>
                    <a:pt x="1303876" y="769558"/>
                    <a:pt x="1307691" y="789296"/>
                    <a:pt x="1323448" y="791784"/>
                  </a:cubicBezTo>
                  <a:cubicBezTo>
                    <a:pt x="1339206" y="794272"/>
                    <a:pt x="1331410" y="802565"/>
                    <a:pt x="1347997" y="801570"/>
                  </a:cubicBezTo>
                  <a:cubicBezTo>
                    <a:pt x="1364583" y="800575"/>
                    <a:pt x="1369560" y="806546"/>
                    <a:pt x="1369228" y="816830"/>
                  </a:cubicBezTo>
                  <a:cubicBezTo>
                    <a:pt x="1370356" y="827711"/>
                    <a:pt x="1375863" y="837646"/>
                    <a:pt x="1384488" y="844364"/>
                  </a:cubicBezTo>
                  <a:cubicBezTo>
                    <a:pt x="1391786" y="851165"/>
                    <a:pt x="1387308" y="862610"/>
                    <a:pt x="1374038" y="862610"/>
                  </a:cubicBezTo>
                  <a:cubicBezTo>
                    <a:pt x="1360769" y="862610"/>
                    <a:pt x="1345675" y="864434"/>
                    <a:pt x="1351480" y="873889"/>
                  </a:cubicBezTo>
                  <a:cubicBezTo>
                    <a:pt x="1357285" y="883343"/>
                    <a:pt x="1347499" y="885665"/>
                    <a:pt x="1334893" y="880689"/>
                  </a:cubicBezTo>
                  <a:cubicBezTo>
                    <a:pt x="1322287" y="875713"/>
                    <a:pt x="1329585" y="866425"/>
                    <a:pt x="1334893" y="861117"/>
                  </a:cubicBezTo>
                  <a:cubicBezTo>
                    <a:pt x="1340201" y="855809"/>
                    <a:pt x="1323116" y="848843"/>
                    <a:pt x="1314823" y="845857"/>
                  </a:cubicBezTo>
                  <a:cubicBezTo>
                    <a:pt x="1306529" y="842871"/>
                    <a:pt x="1273024" y="867420"/>
                    <a:pt x="1263736" y="871401"/>
                  </a:cubicBezTo>
                  <a:cubicBezTo>
                    <a:pt x="1254447" y="875382"/>
                    <a:pt x="1230562" y="865429"/>
                    <a:pt x="1207672" y="871401"/>
                  </a:cubicBezTo>
                  <a:cubicBezTo>
                    <a:pt x="1184782" y="877372"/>
                    <a:pt x="1185612" y="895949"/>
                    <a:pt x="1176655" y="893959"/>
                  </a:cubicBezTo>
                  <a:cubicBezTo>
                    <a:pt x="1167698" y="891968"/>
                    <a:pt x="1141822" y="896447"/>
                    <a:pt x="1132036" y="890475"/>
                  </a:cubicBezTo>
                  <a:cubicBezTo>
                    <a:pt x="1122250" y="884504"/>
                    <a:pt x="1130046" y="881187"/>
                    <a:pt x="1140330" y="881684"/>
                  </a:cubicBezTo>
                  <a:cubicBezTo>
                    <a:pt x="1150613" y="882182"/>
                    <a:pt x="1154096" y="878699"/>
                    <a:pt x="1148291" y="871898"/>
                  </a:cubicBezTo>
                  <a:cubicBezTo>
                    <a:pt x="1142486" y="865098"/>
                    <a:pt x="1156087" y="854150"/>
                    <a:pt x="1155590" y="849340"/>
                  </a:cubicBezTo>
                  <a:cubicBezTo>
                    <a:pt x="1155092" y="844530"/>
                    <a:pt x="1116776" y="857136"/>
                    <a:pt x="1110474" y="862610"/>
                  </a:cubicBezTo>
                  <a:cubicBezTo>
                    <a:pt x="1104170" y="868083"/>
                    <a:pt x="1110474" y="877704"/>
                    <a:pt x="1104004" y="881187"/>
                  </a:cubicBezTo>
                  <a:cubicBezTo>
                    <a:pt x="1097536" y="884670"/>
                    <a:pt x="1097204" y="875216"/>
                    <a:pt x="1089242" y="872396"/>
                  </a:cubicBezTo>
                  <a:cubicBezTo>
                    <a:pt x="1081281" y="869576"/>
                    <a:pt x="1023890" y="882680"/>
                    <a:pt x="1013108" y="894954"/>
                  </a:cubicBezTo>
                  <a:cubicBezTo>
                    <a:pt x="1002327" y="907228"/>
                    <a:pt x="981262" y="907726"/>
                    <a:pt x="981262" y="914692"/>
                  </a:cubicBezTo>
                  <a:cubicBezTo>
                    <a:pt x="981262" y="921659"/>
                    <a:pt x="955221" y="920995"/>
                    <a:pt x="944771" y="925971"/>
                  </a:cubicBezTo>
                  <a:cubicBezTo>
                    <a:pt x="934321" y="930947"/>
                    <a:pt x="941454" y="951017"/>
                    <a:pt x="937472" y="960804"/>
                  </a:cubicBezTo>
                  <a:cubicBezTo>
                    <a:pt x="933492" y="970590"/>
                    <a:pt x="893186" y="967604"/>
                    <a:pt x="880912" y="968102"/>
                  </a:cubicBezTo>
                  <a:cubicBezTo>
                    <a:pt x="868637" y="968599"/>
                    <a:pt x="864325" y="944549"/>
                    <a:pt x="854373" y="943056"/>
                  </a:cubicBezTo>
                  <a:cubicBezTo>
                    <a:pt x="844421" y="941563"/>
                    <a:pt x="850558" y="927962"/>
                    <a:pt x="853543" y="921991"/>
                  </a:cubicBezTo>
                  <a:cubicBezTo>
                    <a:pt x="856529" y="916019"/>
                    <a:pt x="864325" y="920995"/>
                    <a:pt x="876599" y="913200"/>
                  </a:cubicBezTo>
                  <a:cubicBezTo>
                    <a:pt x="888873" y="905404"/>
                    <a:pt x="901147" y="917014"/>
                    <a:pt x="905958" y="911707"/>
                  </a:cubicBezTo>
                  <a:cubicBezTo>
                    <a:pt x="910768" y="906399"/>
                    <a:pt x="887380" y="891968"/>
                    <a:pt x="885888" y="879694"/>
                  </a:cubicBezTo>
                  <a:cubicBezTo>
                    <a:pt x="884395" y="867420"/>
                    <a:pt x="858353" y="863107"/>
                    <a:pt x="843591" y="867918"/>
                  </a:cubicBezTo>
                  <a:cubicBezTo>
                    <a:pt x="829708" y="871135"/>
                    <a:pt x="815161" y="869560"/>
                    <a:pt x="802290" y="863439"/>
                  </a:cubicBezTo>
                  <a:cubicBezTo>
                    <a:pt x="792006" y="858629"/>
                    <a:pt x="793001" y="872396"/>
                    <a:pt x="808261" y="876211"/>
                  </a:cubicBezTo>
                  <a:cubicBezTo>
                    <a:pt x="823521" y="880026"/>
                    <a:pt x="815560" y="891968"/>
                    <a:pt x="818048" y="899432"/>
                  </a:cubicBezTo>
                  <a:cubicBezTo>
                    <a:pt x="818230" y="912818"/>
                    <a:pt x="813718" y="925855"/>
                    <a:pt x="805275" y="936255"/>
                  </a:cubicBezTo>
                  <a:cubicBezTo>
                    <a:pt x="796484" y="949027"/>
                    <a:pt x="802788" y="948529"/>
                    <a:pt x="816057" y="948032"/>
                  </a:cubicBezTo>
                  <a:cubicBezTo>
                    <a:pt x="829327" y="947534"/>
                    <a:pt x="828331" y="964619"/>
                    <a:pt x="828331" y="977556"/>
                  </a:cubicBezTo>
                  <a:cubicBezTo>
                    <a:pt x="828331" y="990494"/>
                    <a:pt x="818048" y="994143"/>
                    <a:pt x="818048" y="1003100"/>
                  </a:cubicBezTo>
                  <a:cubicBezTo>
                    <a:pt x="818048" y="1012057"/>
                    <a:pt x="807266" y="998622"/>
                    <a:pt x="803783" y="1003100"/>
                  </a:cubicBezTo>
                  <a:cubicBezTo>
                    <a:pt x="800300" y="1007579"/>
                    <a:pt x="795987" y="1001110"/>
                    <a:pt x="793997" y="993148"/>
                  </a:cubicBezTo>
                  <a:cubicBezTo>
                    <a:pt x="792006" y="985186"/>
                    <a:pt x="771936" y="989831"/>
                    <a:pt x="760823" y="986845"/>
                  </a:cubicBezTo>
                  <a:cubicBezTo>
                    <a:pt x="749710" y="983859"/>
                    <a:pt x="745066" y="988835"/>
                    <a:pt x="739592" y="997129"/>
                  </a:cubicBezTo>
                  <a:cubicBezTo>
                    <a:pt x="731713" y="1004858"/>
                    <a:pt x="721264" y="1009403"/>
                    <a:pt x="710233" y="1009901"/>
                  </a:cubicBezTo>
                  <a:cubicBezTo>
                    <a:pt x="700945" y="1011062"/>
                    <a:pt x="687012" y="1026488"/>
                    <a:pt x="678221" y="1032956"/>
                  </a:cubicBezTo>
                  <a:cubicBezTo>
                    <a:pt x="669430" y="1039425"/>
                    <a:pt x="667937" y="1049543"/>
                    <a:pt x="680211" y="1061983"/>
                  </a:cubicBezTo>
                  <a:cubicBezTo>
                    <a:pt x="692485" y="1074424"/>
                    <a:pt x="694973" y="1081722"/>
                    <a:pt x="693978" y="1088025"/>
                  </a:cubicBezTo>
                  <a:cubicBezTo>
                    <a:pt x="692983" y="1094328"/>
                    <a:pt x="659478" y="1092503"/>
                    <a:pt x="654170" y="1085537"/>
                  </a:cubicBezTo>
                  <a:cubicBezTo>
                    <a:pt x="644051" y="1078836"/>
                    <a:pt x="631844" y="1076066"/>
                    <a:pt x="619835" y="1077741"/>
                  </a:cubicBezTo>
                  <a:cubicBezTo>
                    <a:pt x="612371" y="1079234"/>
                    <a:pt x="592301" y="1055680"/>
                    <a:pt x="581851" y="1055183"/>
                  </a:cubicBezTo>
                  <a:cubicBezTo>
                    <a:pt x="571402" y="1054685"/>
                    <a:pt x="565264" y="1067457"/>
                    <a:pt x="561781" y="1073760"/>
                  </a:cubicBezTo>
                  <a:cubicBezTo>
                    <a:pt x="558298" y="1080063"/>
                    <a:pt x="566591" y="1082219"/>
                    <a:pt x="571567" y="1093001"/>
                  </a:cubicBezTo>
                  <a:cubicBezTo>
                    <a:pt x="576543" y="1103782"/>
                    <a:pt x="594623" y="1104280"/>
                    <a:pt x="604741" y="1104280"/>
                  </a:cubicBezTo>
                  <a:cubicBezTo>
                    <a:pt x="614859" y="1104280"/>
                    <a:pt x="610546" y="1118544"/>
                    <a:pt x="607727" y="1124350"/>
                  </a:cubicBezTo>
                  <a:cubicBezTo>
                    <a:pt x="604907" y="1130155"/>
                    <a:pt x="587491" y="1134800"/>
                    <a:pt x="582514" y="1128331"/>
                  </a:cubicBezTo>
                  <a:cubicBezTo>
                    <a:pt x="577539" y="1121862"/>
                    <a:pt x="556971" y="1128331"/>
                    <a:pt x="556639" y="1120535"/>
                  </a:cubicBezTo>
                  <a:cubicBezTo>
                    <a:pt x="551679" y="1108476"/>
                    <a:pt x="538941" y="1101560"/>
                    <a:pt x="526119" y="1103948"/>
                  </a:cubicBezTo>
                  <a:cubicBezTo>
                    <a:pt x="510859" y="1106436"/>
                    <a:pt x="507874" y="1096484"/>
                    <a:pt x="509532" y="1084707"/>
                  </a:cubicBezTo>
                  <a:cubicBezTo>
                    <a:pt x="511191" y="1072931"/>
                    <a:pt x="501239" y="1066130"/>
                    <a:pt x="501737" y="1060656"/>
                  </a:cubicBezTo>
                  <a:cubicBezTo>
                    <a:pt x="502234" y="1055183"/>
                    <a:pt x="494770" y="1044070"/>
                    <a:pt x="502732" y="1039094"/>
                  </a:cubicBezTo>
                  <a:cubicBezTo>
                    <a:pt x="510694" y="1034117"/>
                    <a:pt x="504722" y="1025326"/>
                    <a:pt x="505054" y="1018028"/>
                  </a:cubicBezTo>
                  <a:cubicBezTo>
                    <a:pt x="505386" y="1010730"/>
                    <a:pt x="491784" y="999285"/>
                    <a:pt x="479676" y="999285"/>
                  </a:cubicBezTo>
                  <a:cubicBezTo>
                    <a:pt x="467568" y="999285"/>
                    <a:pt x="469724" y="987011"/>
                    <a:pt x="459440" y="984523"/>
                  </a:cubicBezTo>
                  <a:cubicBezTo>
                    <a:pt x="445889" y="979447"/>
                    <a:pt x="434494" y="969910"/>
                    <a:pt x="427096" y="957486"/>
                  </a:cubicBezTo>
                  <a:cubicBezTo>
                    <a:pt x="425603" y="950188"/>
                    <a:pt x="410509" y="949193"/>
                    <a:pt x="415153" y="946705"/>
                  </a:cubicBezTo>
                  <a:cubicBezTo>
                    <a:pt x="425089" y="945179"/>
                    <a:pt x="435124" y="948878"/>
                    <a:pt x="441692" y="956491"/>
                  </a:cubicBezTo>
                  <a:cubicBezTo>
                    <a:pt x="454464" y="968085"/>
                    <a:pt x="470769" y="975035"/>
                    <a:pt x="487970" y="976230"/>
                  </a:cubicBezTo>
                  <a:cubicBezTo>
                    <a:pt x="511025" y="979215"/>
                    <a:pt x="520314" y="989996"/>
                    <a:pt x="545858" y="994309"/>
                  </a:cubicBezTo>
                  <a:cubicBezTo>
                    <a:pt x="571402" y="998622"/>
                    <a:pt x="586661" y="1001773"/>
                    <a:pt x="623484" y="1007081"/>
                  </a:cubicBezTo>
                  <a:cubicBezTo>
                    <a:pt x="660307" y="1012389"/>
                    <a:pt x="709570" y="975234"/>
                    <a:pt x="719853" y="964950"/>
                  </a:cubicBezTo>
                  <a:cubicBezTo>
                    <a:pt x="730137" y="954667"/>
                    <a:pt x="716868" y="933435"/>
                    <a:pt x="716868" y="925640"/>
                  </a:cubicBezTo>
                  <a:cubicBezTo>
                    <a:pt x="716868" y="917844"/>
                    <a:pt x="700281" y="916683"/>
                    <a:pt x="697793" y="910877"/>
                  </a:cubicBezTo>
                  <a:cubicBezTo>
                    <a:pt x="692237" y="900826"/>
                    <a:pt x="681737" y="894506"/>
                    <a:pt x="670259" y="894291"/>
                  </a:cubicBezTo>
                  <a:cubicBezTo>
                    <a:pt x="655994" y="894291"/>
                    <a:pt x="653672" y="877704"/>
                    <a:pt x="642725" y="879031"/>
                  </a:cubicBezTo>
                  <a:cubicBezTo>
                    <a:pt x="631777" y="880358"/>
                    <a:pt x="623484" y="874220"/>
                    <a:pt x="594125" y="854482"/>
                  </a:cubicBezTo>
                  <a:cubicBezTo>
                    <a:pt x="564766" y="834744"/>
                    <a:pt x="523797" y="821308"/>
                    <a:pt x="516499" y="824128"/>
                  </a:cubicBezTo>
                  <a:cubicBezTo>
                    <a:pt x="509201" y="826948"/>
                    <a:pt x="504225" y="829436"/>
                    <a:pt x="499912" y="822138"/>
                  </a:cubicBezTo>
                  <a:cubicBezTo>
                    <a:pt x="493609" y="815503"/>
                    <a:pt x="483110" y="815221"/>
                    <a:pt x="476459" y="821541"/>
                  </a:cubicBezTo>
                  <a:cubicBezTo>
                    <a:pt x="476259" y="821740"/>
                    <a:pt x="476060" y="821939"/>
                    <a:pt x="475861" y="822138"/>
                  </a:cubicBezTo>
                  <a:cubicBezTo>
                    <a:pt x="467899" y="827943"/>
                    <a:pt x="460104" y="816664"/>
                    <a:pt x="445342" y="820147"/>
                  </a:cubicBezTo>
                  <a:cubicBezTo>
                    <a:pt x="430579" y="823630"/>
                    <a:pt x="422783" y="813679"/>
                    <a:pt x="426764" y="809366"/>
                  </a:cubicBezTo>
                  <a:cubicBezTo>
                    <a:pt x="430745" y="805053"/>
                    <a:pt x="452308" y="809366"/>
                    <a:pt x="451313" y="801404"/>
                  </a:cubicBezTo>
                  <a:cubicBezTo>
                    <a:pt x="450317" y="793443"/>
                    <a:pt x="442356" y="801404"/>
                    <a:pt x="429086" y="792613"/>
                  </a:cubicBezTo>
                  <a:cubicBezTo>
                    <a:pt x="415817" y="783822"/>
                    <a:pt x="408519" y="789628"/>
                    <a:pt x="405533" y="797092"/>
                  </a:cubicBezTo>
                  <a:cubicBezTo>
                    <a:pt x="402547" y="804556"/>
                    <a:pt x="392263" y="802399"/>
                    <a:pt x="385463" y="796097"/>
                  </a:cubicBezTo>
                  <a:cubicBezTo>
                    <a:pt x="384766" y="795450"/>
                    <a:pt x="383987" y="794902"/>
                    <a:pt x="383141" y="794438"/>
                  </a:cubicBezTo>
                  <a:cubicBezTo>
                    <a:pt x="380985" y="806712"/>
                    <a:pt x="373686" y="808039"/>
                    <a:pt x="366554" y="806380"/>
                  </a:cubicBezTo>
                  <a:cubicBezTo>
                    <a:pt x="359422" y="804722"/>
                    <a:pt x="348972" y="819152"/>
                    <a:pt x="339020" y="819152"/>
                  </a:cubicBezTo>
                  <a:cubicBezTo>
                    <a:pt x="328305" y="820678"/>
                    <a:pt x="319480" y="828341"/>
                    <a:pt x="316462" y="838725"/>
                  </a:cubicBezTo>
                  <a:cubicBezTo>
                    <a:pt x="314471" y="847682"/>
                    <a:pt x="303690" y="842705"/>
                    <a:pt x="303690" y="848677"/>
                  </a:cubicBezTo>
                  <a:cubicBezTo>
                    <a:pt x="304403" y="854963"/>
                    <a:pt x="302628" y="861283"/>
                    <a:pt x="298714" y="866259"/>
                  </a:cubicBezTo>
                  <a:cubicBezTo>
                    <a:pt x="293904" y="872230"/>
                    <a:pt x="298714" y="875216"/>
                    <a:pt x="303690" y="885002"/>
                  </a:cubicBezTo>
                  <a:cubicBezTo>
                    <a:pt x="308666" y="894788"/>
                    <a:pt x="319448" y="893793"/>
                    <a:pt x="324423" y="896778"/>
                  </a:cubicBezTo>
                  <a:cubicBezTo>
                    <a:pt x="329400" y="899764"/>
                    <a:pt x="347977" y="915522"/>
                    <a:pt x="347977" y="921327"/>
                  </a:cubicBezTo>
                  <a:cubicBezTo>
                    <a:pt x="347977" y="927132"/>
                    <a:pt x="333214" y="942060"/>
                    <a:pt x="327243" y="945876"/>
                  </a:cubicBezTo>
                  <a:cubicBezTo>
                    <a:pt x="321272" y="949691"/>
                    <a:pt x="313476" y="959643"/>
                    <a:pt x="317457" y="965614"/>
                  </a:cubicBezTo>
                  <a:cubicBezTo>
                    <a:pt x="321438" y="971585"/>
                    <a:pt x="338191" y="995968"/>
                    <a:pt x="348972" y="1015374"/>
                  </a:cubicBezTo>
                  <a:cubicBezTo>
                    <a:pt x="359753" y="1034781"/>
                    <a:pt x="344991" y="1026156"/>
                    <a:pt x="338191" y="1034947"/>
                  </a:cubicBezTo>
                  <a:cubicBezTo>
                    <a:pt x="331390" y="1043738"/>
                    <a:pt x="341010" y="1054685"/>
                    <a:pt x="343001" y="1060490"/>
                  </a:cubicBezTo>
                  <a:cubicBezTo>
                    <a:pt x="344991" y="1066296"/>
                    <a:pt x="334210" y="1065467"/>
                    <a:pt x="335205" y="1070277"/>
                  </a:cubicBezTo>
                  <a:cubicBezTo>
                    <a:pt x="336200" y="1075087"/>
                    <a:pt x="351792" y="1077243"/>
                    <a:pt x="351792" y="1081224"/>
                  </a:cubicBezTo>
                  <a:cubicBezTo>
                    <a:pt x="351792" y="1085205"/>
                    <a:pt x="342005" y="1090015"/>
                    <a:pt x="346982" y="1097811"/>
                  </a:cubicBezTo>
                  <a:cubicBezTo>
                    <a:pt x="351958" y="1105607"/>
                    <a:pt x="363569" y="1105773"/>
                    <a:pt x="364729" y="1115559"/>
                  </a:cubicBezTo>
                  <a:cubicBezTo>
                    <a:pt x="365890" y="1125345"/>
                    <a:pt x="343001" y="1126340"/>
                    <a:pt x="343996" y="1134302"/>
                  </a:cubicBezTo>
                  <a:cubicBezTo>
                    <a:pt x="344991" y="1142264"/>
                    <a:pt x="373520" y="1151884"/>
                    <a:pt x="386292" y="1166646"/>
                  </a:cubicBezTo>
                  <a:cubicBezTo>
                    <a:pt x="399064" y="1181409"/>
                    <a:pt x="398069" y="1185390"/>
                    <a:pt x="395083" y="1193185"/>
                  </a:cubicBezTo>
                  <a:cubicBezTo>
                    <a:pt x="389112" y="1209772"/>
                    <a:pt x="353782" y="1222710"/>
                    <a:pt x="345323" y="1240292"/>
                  </a:cubicBezTo>
                  <a:cubicBezTo>
                    <a:pt x="336864" y="1257874"/>
                    <a:pt x="308003" y="1267826"/>
                    <a:pt x="294235" y="1281593"/>
                  </a:cubicBezTo>
                  <a:cubicBezTo>
                    <a:pt x="288081" y="1287797"/>
                    <a:pt x="282525" y="1294581"/>
                    <a:pt x="277648" y="1301829"/>
                  </a:cubicBezTo>
                  <a:cubicBezTo>
                    <a:pt x="282459" y="1300684"/>
                    <a:pt x="287136" y="1299009"/>
                    <a:pt x="291581" y="1296853"/>
                  </a:cubicBezTo>
                  <a:cubicBezTo>
                    <a:pt x="299377" y="1292872"/>
                    <a:pt x="304851" y="1312113"/>
                    <a:pt x="312647" y="1318416"/>
                  </a:cubicBezTo>
                  <a:cubicBezTo>
                    <a:pt x="320443" y="1324719"/>
                    <a:pt x="336366" y="1318416"/>
                    <a:pt x="341674" y="1324885"/>
                  </a:cubicBezTo>
                  <a:cubicBezTo>
                    <a:pt x="346982" y="1331353"/>
                    <a:pt x="337195" y="1331188"/>
                    <a:pt x="325916" y="1329363"/>
                  </a:cubicBezTo>
                  <a:cubicBezTo>
                    <a:pt x="314637" y="1327539"/>
                    <a:pt x="311652" y="1334173"/>
                    <a:pt x="294070" y="1340144"/>
                  </a:cubicBezTo>
                  <a:cubicBezTo>
                    <a:pt x="280800" y="1344457"/>
                    <a:pt x="282127" y="1349101"/>
                    <a:pt x="277483" y="1352916"/>
                  </a:cubicBezTo>
                  <a:cubicBezTo>
                    <a:pt x="285444" y="1364361"/>
                    <a:pt x="274829" y="1365854"/>
                    <a:pt x="270848" y="1374645"/>
                  </a:cubicBezTo>
                  <a:cubicBezTo>
                    <a:pt x="266867" y="1383436"/>
                    <a:pt x="260398" y="1385758"/>
                    <a:pt x="259735" y="1391232"/>
                  </a:cubicBezTo>
                  <a:cubicBezTo>
                    <a:pt x="259867" y="1397634"/>
                    <a:pt x="260597" y="1404021"/>
                    <a:pt x="261891" y="1410307"/>
                  </a:cubicBezTo>
                  <a:cubicBezTo>
                    <a:pt x="262239" y="1416908"/>
                    <a:pt x="264877" y="1423195"/>
                    <a:pt x="269355" y="1428055"/>
                  </a:cubicBezTo>
                  <a:cubicBezTo>
                    <a:pt x="274497" y="1435353"/>
                    <a:pt x="264877" y="1435353"/>
                    <a:pt x="260398" y="1439002"/>
                  </a:cubicBezTo>
                  <a:cubicBezTo>
                    <a:pt x="255920" y="1442651"/>
                    <a:pt x="258906" y="1450779"/>
                    <a:pt x="264877" y="1456750"/>
                  </a:cubicBezTo>
                  <a:cubicBezTo>
                    <a:pt x="269786" y="1461543"/>
                    <a:pt x="271229" y="1468858"/>
                    <a:pt x="268526" y="1475161"/>
                  </a:cubicBezTo>
                  <a:cubicBezTo>
                    <a:pt x="266369" y="1480303"/>
                    <a:pt x="273668" y="1489260"/>
                    <a:pt x="278810" y="1494402"/>
                  </a:cubicBezTo>
                  <a:cubicBezTo>
                    <a:pt x="283951" y="1499544"/>
                    <a:pt x="283288" y="1513477"/>
                    <a:pt x="287767" y="1517126"/>
                  </a:cubicBezTo>
                  <a:cubicBezTo>
                    <a:pt x="292179" y="1522019"/>
                    <a:pt x="298963" y="1524076"/>
                    <a:pt x="305349" y="1522434"/>
                  </a:cubicBezTo>
                  <a:cubicBezTo>
                    <a:pt x="312099" y="1520460"/>
                    <a:pt x="319249" y="1523893"/>
                    <a:pt x="321935" y="1530395"/>
                  </a:cubicBezTo>
                  <a:cubicBezTo>
                    <a:pt x="325585" y="1537030"/>
                    <a:pt x="331390" y="1534211"/>
                    <a:pt x="339517" y="1530395"/>
                  </a:cubicBezTo>
                  <a:cubicBezTo>
                    <a:pt x="347645" y="1526581"/>
                    <a:pt x="366056" y="1537030"/>
                    <a:pt x="370535" y="1539352"/>
                  </a:cubicBezTo>
                  <a:cubicBezTo>
                    <a:pt x="375014" y="1541675"/>
                    <a:pt x="372691" y="1553949"/>
                    <a:pt x="373520" y="1562076"/>
                  </a:cubicBezTo>
                  <a:cubicBezTo>
                    <a:pt x="374350" y="1570204"/>
                    <a:pt x="369042" y="1580488"/>
                    <a:pt x="377169" y="1585796"/>
                  </a:cubicBezTo>
                  <a:cubicBezTo>
                    <a:pt x="385297" y="1591103"/>
                    <a:pt x="382975" y="1602382"/>
                    <a:pt x="392596" y="1606363"/>
                  </a:cubicBezTo>
                  <a:cubicBezTo>
                    <a:pt x="402216" y="1610344"/>
                    <a:pt x="405865" y="1622950"/>
                    <a:pt x="411836" y="1624775"/>
                  </a:cubicBezTo>
                  <a:cubicBezTo>
                    <a:pt x="419881" y="1627710"/>
                    <a:pt x="426482" y="1633665"/>
                    <a:pt x="430247" y="1641361"/>
                  </a:cubicBezTo>
                  <a:cubicBezTo>
                    <a:pt x="431740" y="1647996"/>
                    <a:pt x="419964" y="1653968"/>
                    <a:pt x="413661" y="1656787"/>
                  </a:cubicBezTo>
                  <a:cubicBezTo>
                    <a:pt x="407358" y="1659607"/>
                    <a:pt x="394586" y="1647996"/>
                    <a:pt x="390107" y="1653138"/>
                  </a:cubicBezTo>
                  <a:cubicBezTo>
                    <a:pt x="385629" y="1658280"/>
                    <a:pt x="391600" y="1667900"/>
                    <a:pt x="395249" y="1684155"/>
                  </a:cubicBezTo>
                  <a:cubicBezTo>
                    <a:pt x="398898" y="1700410"/>
                    <a:pt x="401884" y="1701903"/>
                    <a:pt x="409348" y="1701903"/>
                  </a:cubicBezTo>
                  <a:cubicBezTo>
                    <a:pt x="416812" y="1701903"/>
                    <a:pt x="419632" y="1696596"/>
                    <a:pt x="424774" y="1693776"/>
                  </a:cubicBezTo>
                  <a:cubicBezTo>
                    <a:pt x="429916" y="1690956"/>
                    <a:pt x="441361" y="1695103"/>
                    <a:pt x="447000" y="1692946"/>
                  </a:cubicBezTo>
                  <a:cubicBezTo>
                    <a:pt x="452640" y="1690790"/>
                    <a:pt x="470553" y="1690127"/>
                    <a:pt x="474202" y="1695932"/>
                  </a:cubicBezTo>
                  <a:cubicBezTo>
                    <a:pt x="478764" y="1703429"/>
                    <a:pt x="480307" y="1712386"/>
                    <a:pt x="478515" y="1720978"/>
                  </a:cubicBezTo>
                  <a:cubicBezTo>
                    <a:pt x="475695" y="1726120"/>
                    <a:pt x="482330" y="1732091"/>
                    <a:pt x="485979" y="1739390"/>
                  </a:cubicBezTo>
                  <a:cubicBezTo>
                    <a:pt x="489628" y="1746688"/>
                    <a:pt x="505054" y="1743039"/>
                    <a:pt x="510362" y="1745361"/>
                  </a:cubicBezTo>
                  <a:cubicBezTo>
                    <a:pt x="515670" y="1747683"/>
                    <a:pt x="526948" y="1763772"/>
                    <a:pt x="524958" y="1771071"/>
                  </a:cubicBezTo>
                  <a:cubicBezTo>
                    <a:pt x="522968" y="1778369"/>
                    <a:pt x="532422" y="1780027"/>
                    <a:pt x="537564" y="1777705"/>
                  </a:cubicBezTo>
                  <a:cubicBezTo>
                    <a:pt x="542706" y="1775383"/>
                    <a:pt x="547848" y="1781354"/>
                    <a:pt x="554151" y="1785169"/>
                  </a:cubicBezTo>
                  <a:cubicBezTo>
                    <a:pt x="559442" y="1788188"/>
                    <a:pt x="566060" y="1787591"/>
                    <a:pt x="570738" y="1783676"/>
                  </a:cubicBezTo>
                  <a:cubicBezTo>
                    <a:pt x="576543" y="1780027"/>
                    <a:pt x="586164" y="1777042"/>
                    <a:pt x="589149" y="1782184"/>
                  </a:cubicBezTo>
                  <a:cubicBezTo>
                    <a:pt x="592135" y="1787326"/>
                    <a:pt x="603912" y="1796946"/>
                    <a:pt x="603912" y="1799931"/>
                  </a:cubicBezTo>
                  <a:cubicBezTo>
                    <a:pt x="603912" y="1802917"/>
                    <a:pt x="622323" y="1799931"/>
                    <a:pt x="631114" y="1804244"/>
                  </a:cubicBezTo>
                  <a:cubicBezTo>
                    <a:pt x="639905" y="1808557"/>
                    <a:pt x="649525" y="1806400"/>
                    <a:pt x="659146" y="1811708"/>
                  </a:cubicBezTo>
                  <a:cubicBezTo>
                    <a:pt x="668766" y="1817016"/>
                    <a:pt x="677557" y="1817514"/>
                    <a:pt x="678386" y="1823485"/>
                  </a:cubicBezTo>
                  <a:cubicBezTo>
                    <a:pt x="679216" y="1829456"/>
                    <a:pt x="668766" y="1834432"/>
                    <a:pt x="668766" y="1837418"/>
                  </a:cubicBezTo>
                  <a:cubicBezTo>
                    <a:pt x="668766" y="1840403"/>
                    <a:pt x="676894" y="1842560"/>
                    <a:pt x="676894" y="1847038"/>
                  </a:cubicBezTo>
                  <a:cubicBezTo>
                    <a:pt x="676894" y="1851516"/>
                    <a:pt x="666444" y="1851516"/>
                    <a:pt x="665117" y="1855166"/>
                  </a:cubicBezTo>
                  <a:cubicBezTo>
                    <a:pt x="663790" y="1858815"/>
                    <a:pt x="670923" y="1863957"/>
                    <a:pt x="672415" y="1867606"/>
                  </a:cubicBezTo>
                  <a:cubicBezTo>
                    <a:pt x="673908" y="1871255"/>
                    <a:pt x="666444" y="1884193"/>
                    <a:pt x="666444" y="1887510"/>
                  </a:cubicBezTo>
                  <a:cubicBezTo>
                    <a:pt x="666444" y="1890827"/>
                    <a:pt x="644383" y="1887510"/>
                    <a:pt x="639242" y="1887510"/>
                  </a:cubicBezTo>
                  <a:cubicBezTo>
                    <a:pt x="634100" y="1887510"/>
                    <a:pt x="618674" y="1904097"/>
                    <a:pt x="613532" y="1905092"/>
                  </a:cubicBezTo>
                  <a:cubicBezTo>
                    <a:pt x="608390" y="1906087"/>
                    <a:pt x="611044" y="1913883"/>
                    <a:pt x="613532" y="1921679"/>
                  </a:cubicBezTo>
                  <a:cubicBezTo>
                    <a:pt x="630119" y="1918693"/>
                    <a:pt x="645710" y="1917532"/>
                    <a:pt x="646705" y="1921679"/>
                  </a:cubicBezTo>
                  <a:cubicBezTo>
                    <a:pt x="647701" y="1925826"/>
                    <a:pt x="612205" y="1943242"/>
                    <a:pt x="605404" y="1945730"/>
                  </a:cubicBezTo>
                  <a:cubicBezTo>
                    <a:pt x="598604" y="1948218"/>
                    <a:pt x="618674" y="1958502"/>
                    <a:pt x="618176" y="1964307"/>
                  </a:cubicBezTo>
                  <a:cubicBezTo>
                    <a:pt x="617678" y="1970112"/>
                    <a:pt x="596447" y="1971771"/>
                    <a:pt x="598438" y="1983548"/>
                  </a:cubicBezTo>
                  <a:cubicBezTo>
                    <a:pt x="600428" y="1995324"/>
                    <a:pt x="591637" y="1997812"/>
                    <a:pt x="580358" y="1997812"/>
                  </a:cubicBezTo>
                  <a:cubicBezTo>
                    <a:pt x="569079" y="1997812"/>
                    <a:pt x="566094" y="2004613"/>
                    <a:pt x="571402" y="2005608"/>
                  </a:cubicBezTo>
                  <a:cubicBezTo>
                    <a:pt x="576709" y="2006603"/>
                    <a:pt x="576377" y="2022195"/>
                    <a:pt x="597442" y="2026839"/>
                  </a:cubicBezTo>
                  <a:cubicBezTo>
                    <a:pt x="621660" y="2036029"/>
                    <a:pt x="643056" y="2051421"/>
                    <a:pt x="659478" y="2071458"/>
                  </a:cubicBezTo>
                  <a:cubicBezTo>
                    <a:pt x="661949" y="2074195"/>
                    <a:pt x="664868" y="2076484"/>
                    <a:pt x="668103" y="2078258"/>
                  </a:cubicBezTo>
                  <a:cubicBezTo>
                    <a:pt x="671884" y="2075638"/>
                    <a:pt x="676097" y="2073664"/>
                    <a:pt x="680543" y="2072453"/>
                  </a:cubicBezTo>
                  <a:cubicBezTo>
                    <a:pt x="694708" y="2072238"/>
                    <a:pt x="708591" y="2076351"/>
                    <a:pt x="720351" y="2084230"/>
                  </a:cubicBezTo>
                  <a:cubicBezTo>
                    <a:pt x="730635" y="2091694"/>
                    <a:pt x="767457" y="2082737"/>
                    <a:pt x="771936" y="2088708"/>
                  </a:cubicBezTo>
                  <a:cubicBezTo>
                    <a:pt x="776763" y="2095675"/>
                    <a:pt x="784161" y="2100452"/>
                    <a:pt x="792504" y="2101978"/>
                  </a:cubicBezTo>
                  <a:cubicBezTo>
                    <a:pt x="799968" y="2101978"/>
                    <a:pt x="807266" y="2116740"/>
                    <a:pt x="813237" y="2112262"/>
                  </a:cubicBezTo>
                  <a:cubicBezTo>
                    <a:pt x="823903" y="2108662"/>
                    <a:pt x="835165" y="2107136"/>
                    <a:pt x="846411" y="2107783"/>
                  </a:cubicBezTo>
                  <a:cubicBezTo>
                    <a:pt x="852382" y="2107783"/>
                    <a:pt x="852382" y="2112262"/>
                    <a:pt x="858187" y="2112262"/>
                  </a:cubicBezTo>
                  <a:cubicBezTo>
                    <a:pt x="863993" y="2112262"/>
                    <a:pt x="864159" y="2134322"/>
                    <a:pt x="868472" y="2132829"/>
                  </a:cubicBezTo>
                  <a:cubicBezTo>
                    <a:pt x="872784" y="2131337"/>
                    <a:pt x="889205" y="2146099"/>
                    <a:pt x="899489" y="2147592"/>
                  </a:cubicBezTo>
                  <a:cubicBezTo>
                    <a:pt x="909773" y="2149084"/>
                    <a:pt x="920057" y="2166832"/>
                    <a:pt x="924535" y="2165339"/>
                  </a:cubicBezTo>
                  <a:cubicBezTo>
                    <a:pt x="929014" y="2163847"/>
                    <a:pt x="936312" y="2172638"/>
                    <a:pt x="939297" y="2165339"/>
                  </a:cubicBezTo>
                  <a:cubicBezTo>
                    <a:pt x="942283" y="2158041"/>
                    <a:pt x="955884" y="2161691"/>
                    <a:pt x="960694" y="2148753"/>
                  </a:cubicBezTo>
                  <a:cubicBezTo>
                    <a:pt x="942117" y="2125863"/>
                    <a:pt x="922047" y="2100651"/>
                    <a:pt x="922544" y="2090865"/>
                  </a:cubicBezTo>
                  <a:cubicBezTo>
                    <a:pt x="923540" y="2074278"/>
                    <a:pt x="930506" y="2063330"/>
                    <a:pt x="909773" y="2045583"/>
                  </a:cubicBezTo>
                  <a:cubicBezTo>
                    <a:pt x="889039" y="2027835"/>
                    <a:pt x="911763" y="2016224"/>
                    <a:pt x="926360" y="1997481"/>
                  </a:cubicBezTo>
                  <a:cubicBezTo>
                    <a:pt x="940956" y="1978737"/>
                    <a:pt x="967495" y="1973430"/>
                    <a:pt x="985243" y="1961653"/>
                  </a:cubicBezTo>
                  <a:cubicBezTo>
                    <a:pt x="981875" y="1959132"/>
                    <a:pt x="978260" y="1956976"/>
                    <a:pt x="974461" y="1955184"/>
                  </a:cubicBezTo>
                  <a:cubicBezTo>
                    <a:pt x="961192" y="1949379"/>
                    <a:pt x="956713" y="1943408"/>
                    <a:pt x="967163" y="1940422"/>
                  </a:cubicBezTo>
                  <a:cubicBezTo>
                    <a:pt x="977613" y="1937436"/>
                    <a:pt x="972969" y="1931631"/>
                    <a:pt x="962685" y="1919854"/>
                  </a:cubicBezTo>
                  <a:cubicBezTo>
                    <a:pt x="952401" y="1908078"/>
                    <a:pt x="947922" y="1896301"/>
                    <a:pt x="942117" y="1896301"/>
                  </a:cubicBezTo>
                  <a:cubicBezTo>
                    <a:pt x="934188" y="1895389"/>
                    <a:pt x="926161" y="1895886"/>
                    <a:pt x="918398" y="1897794"/>
                  </a:cubicBezTo>
                  <a:cubicBezTo>
                    <a:pt x="909607" y="1900614"/>
                    <a:pt x="911099" y="1890330"/>
                    <a:pt x="912592" y="1880046"/>
                  </a:cubicBezTo>
                  <a:cubicBezTo>
                    <a:pt x="914086" y="1869762"/>
                    <a:pt x="896005" y="1871255"/>
                    <a:pt x="893352" y="1866776"/>
                  </a:cubicBezTo>
                  <a:cubicBezTo>
                    <a:pt x="890698" y="1862298"/>
                    <a:pt x="897830" y="1847702"/>
                    <a:pt x="900816" y="1846209"/>
                  </a:cubicBezTo>
                  <a:cubicBezTo>
                    <a:pt x="903801" y="1844716"/>
                    <a:pt x="912592" y="1840238"/>
                    <a:pt x="912592" y="1835759"/>
                  </a:cubicBezTo>
                  <a:cubicBezTo>
                    <a:pt x="912592" y="1831281"/>
                    <a:pt x="896005" y="1829954"/>
                    <a:pt x="902308" y="1819172"/>
                  </a:cubicBezTo>
                  <a:cubicBezTo>
                    <a:pt x="908612" y="1808391"/>
                    <a:pt x="919890" y="1808722"/>
                    <a:pt x="919890" y="1798439"/>
                  </a:cubicBezTo>
                  <a:cubicBezTo>
                    <a:pt x="919890" y="1788155"/>
                    <a:pt x="928848" y="1779364"/>
                    <a:pt x="939131" y="1786662"/>
                  </a:cubicBezTo>
                  <a:cubicBezTo>
                    <a:pt x="949415" y="1793960"/>
                    <a:pt x="953894" y="1813201"/>
                    <a:pt x="965670" y="1808722"/>
                  </a:cubicBezTo>
                  <a:cubicBezTo>
                    <a:pt x="977447" y="1804244"/>
                    <a:pt x="969983" y="1794126"/>
                    <a:pt x="968656" y="1788155"/>
                  </a:cubicBezTo>
                  <a:cubicBezTo>
                    <a:pt x="967329" y="1782184"/>
                    <a:pt x="964178" y="1773393"/>
                    <a:pt x="977447" y="1770407"/>
                  </a:cubicBezTo>
                  <a:cubicBezTo>
                    <a:pt x="990717" y="1767421"/>
                    <a:pt x="984745" y="1753820"/>
                    <a:pt x="995195" y="1753820"/>
                  </a:cubicBezTo>
                  <a:cubicBezTo>
                    <a:pt x="1007851" y="1750403"/>
                    <a:pt x="1019810" y="1744780"/>
                    <a:pt x="1030525" y="1737233"/>
                  </a:cubicBezTo>
                  <a:cubicBezTo>
                    <a:pt x="1036330" y="1734248"/>
                    <a:pt x="1049600" y="1726949"/>
                    <a:pt x="1055571" y="1729769"/>
                  </a:cubicBezTo>
                  <a:cubicBezTo>
                    <a:pt x="1061542" y="1732589"/>
                    <a:pt x="1068840" y="1740219"/>
                    <a:pt x="1073153" y="1729769"/>
                  </a:cubicBezTo>
                  <a:cubicBezTo>
                    <a:pt x="1077465" y="1719319"/>
                    <a:pt x="1095379" y="1723964"/>
                    <a:pt x="1096872" y="1729769"/>
                  </a:cubicBezTo>
                  <a:cubicBezTo>
                    <a:pt x="1098365" y="1735575"/>
                    <a:pt x="1126231" y="1735740"/>
                    <a:pt x="1135188" y="1741712"/>
                  </a:cubicBezTo>
                  <a:cubicBezTo>
                    <a:pt x="1144145" y="1747683"/>
                    <a:pt x="1163054" y="1759294"/>
                    <a:pt x="1163054" y="1765265"/>
                  </a:cubicBezTo>
                  <a:cubicBezTo>
                    <a:pt x="1163054" y="1771236"/>
                    <a:pt x="1172011" y="1780027"/>
                    <a:pt x="1172011" y="1769577"/>
                  </a:cubicBezTo>
                  <a:cubicBezTo>
                    <a:pt x="1172011" y="1759128"/>
                    <a:pt x="1179309" y="1762280"/>
                    <a:pt x="1191085" y="1769577"/>
                  </a:cubicBezTo>
                  <a:cubicBezTo>
                    <a:pt x="1202862" y="1776876"/>
                    <a:pt x="1219117" y="1774056"/>
                    <a:pt x="1222103" y="1766758"/>
                  </a:cubicBezTo>
                  <a:cubicBezTo>
                    <a:pt x="1225089" y="1759460"/>
                    <a:pt x="1247149" y="1750171"/>
                    <a:pt x="1254447" y="1756308"/>
                  </a:cubicBezTo>
                  <a:cubicBezTo>
                    <a:pt x="1261745" y="1762445"/>
                    <a:pt x="1264897" y="1766758"/>
                    <a:pt x="1273688" y="1757801"/>
                  </a:cubicBezTo>
                  <a:cubicBezTo>
                    <a:pt x="1282479" y="1748844"/>
                    <a:pt x="1303212" y="1750503"/>
                    <a:pt x="1306862" y="1759294"/>
                  </a:cubicBezTo>
                  <a:cubicBezTo>
                    <a:pt x="1310511" y="1768085"/>
                    <a:pt x="1319965" y="1769577"/>
                    <a:pt x="1328922" y="1769577"/>
                  </a:cubicBezTo>
                  <a:cubicBezTo>
                    <a:pt x="1337879" y="1769577"/>
                    <a:pt x="1339206" y="1782847"/>
                    <a:pt x="1345509" y="1780027"/>
                  </a:cubicBezTo>
                  <a:cubicBezTo>
                    <a:pt x="1351812" y="1777208"/>
                    <a:pt x="1349821" y="1762280"/>
                    <a:pt x="1357285" y="1763440"/>
                  </a:cubicBezTo>
                  <a:cubicBezTo>
                    <a:pt x="1364749" y="1764602"/>
                    <a:pt x="1370555" y="1773724"/>
                    <a:pt x="1382331" y="1773724"/>
                  </a:cubicBezTo>
                  <a:cubicBezTo>
                    <a:pt x="1394108" y="1773724"/>
                    <a:pt x="1402899" y="1770739"/>
                    <a:pt x="1402899" y="1761948"/>
                  </a:cubicBezTo>
                  <a:cubicBezTo>
                    <a:pt x="1402899" y="1753157"/>
                    <a:pt x="1401406" y="1738394"/>
                    <a:pt x="1394108" y="1738394"/>
                  </a:cubicBezTo>
                  <a:cubicBezTo>
                    <a:pt x="1386810" y="1738394"/>
                    <a:pt x="1379346" y="1730930"/>
                    <a:pt x="1370555" y="1730930"/>
                  </a:cubicBezTo>
                  <a:cubicBezTo>
                    <a:pt x="1361764" y="1730930"/>
                    <a:pt x="1352807" y="1716168"/>
                    <a:pt x="1361598" y="1713348"/>
                  </a:cubicBezTo>
                  <a:cubicBezTo>
                    <a:pt x="1370389" y="1710528"/>
                    <a:pt x="1385151" y="1703064"/>
                    <a:pt x="1382331" y="1695600"/>
                  </a:cubicBezTo>
                  <a:cubicBezTo>
                    <a:pt x="1379512" y="1688136"/>
                    <a:pt x="1376360" y="1673540"/>
                    <a:pt x="1388137" y="1672047"/>
                  </a:cubicBezTo>
                  <a:cubicBezTo>
                    <a:pt x="1399913" y="1670554"/>
                    <a:pt x="1424960" y="1670554"/>
                    <a:pt x="1423467" y="1666076"/>
                  </a:cubicBezTo>
                  <a:cubicBezTo>
                    <a:pt x="1421974" y="1661597"/>
                    <a:pt x="1398421" y="1658778"/>
                    <a:pt x="1394108" y="1651479"/>
                  </a:cubicBezTo>
                  <a:cubicBezTo>
                    <a:pt x="1389796" y="1644181"/>
                    <a:pt x="1388137" y="1626267"/>
                    <a:pt x="1392615" y="1623448"/>
                  </a:cubicBezTo>
                  <a:cubicBezTo>
                    <a:pt x="1397094" y="1620628"/>
                    <a:pt x="1411690" y="1624941"/>
                    <a:pt x="1420647" y="1621955"/>
                  </a:cubicBezTo>
                  <a:cubicBezTo>
                    <a:pt x="1429604" y="1618969"/>
                    <a:pt x="1448679" y="1626267"/>
                    <a:pt x="1460455" y="1617476"/>
                  </a:cubicBezTo>
                  <a:cubicBezTo>
                    <a:pt x="1475865" y="1609797"/>
                    <a:pt x="1493015" y="1606264"/>
                    <a:pt x="1510216" y="1607193"/>
                  </a:cubicBezTo>
                  <a:cubicBezTo>
                    <a:pt x="1523485" y="1607193"/>
                    <a:pt x="1533769" y="1598402"/>
                    <a:pt x="1543389" y="1596909"/>
                  </a:cubicBezTo>
                  <a:cubicBezTo>
                    <a:pt x="1559263" y="1594918"/>
                    <a:pt x="1575004" y="1591933"/>
                    <a:pt x="1590496" y="1587952"/>
                  </a:cubicBezTo>
                  <a:cubicBezTo>
                    <a:pt x="1597960" y="1585132"/>
                    <a:pt x="1637768" y="1579161"/>
                    <a:pt x="1639261" y="1571365"/>
                  </a:cubicBezTo>
                  <a:cubicBezTo>
                    <a:pt x="1640755" y="1563569"/>
                    <a:pt x="1672435" y="1558095"/>
                    <a:pt x="1680397" y="1561745"/>
                  </a:cubicBezTo>
                  <a:cubicBezTo>
                    <a:pt x="1688276" y="1566124"/>
                    <a:pt x="1697498" y="1567434"/>
                    <a:pt x="1706272" y="1565394"/>
                  </a:cubicBezTo>
                  <a:cubicBezTo>
                    <a:pt x="1713570" y="1562408"/>
                    <a:pt x="1729162" y="1570536"/>
                    <a:pt x="1727669" y="1578663"/>
                  </a:cubicBezTo>
                  <a:cubicBezTo>
                    <a:pt x="1726177" y="1586791"/>
                    <a:pt x="1734304" y="1595250"/>
                    <a:pt x="1733640" y="1602216"/>
                  </a:cubicBezTo>
                  <a:cubicBezTo>
                    <a:pt x="1732977" y="1609183"/>
                    <a:pt x="1725347" y="1611173"/>
                    <a:pt x="1729826" y="1616315"/>
                  </a:cubicBezTo>
                  <a:cubicBezTo>
                    <a:pt x="1734304" y="1621457"/>
                    <a:pt x="1754208" y="1617642"/>
                    <a:pt x="1760014" y="1611173"/>
                  </a:cubicBezTo>
                  <a:cubicBezTo>
                    <a:pt x="1765819" y="1604705"/>
                    <a:pt x="1772619" y="1613993"/>
                    <a:pt x="1772619" y="1619135"/>
                  </a:cubicBezTo>
                  <a:cubicBezTo>
                    <a:pt x="1772619" y="1624277"/>
                    <a:pt x="1782240" y="1628092"/>
                    <a:pt x="1782240" y="1621457"/>
                  </a:cubicBezTo>
                  <a:cubicBezTo>
                    <a:pt x="1782240" y="1614823"/>
                    <a:pt x="1794017" y="1619135"/>
                    <a:pt x="1797666" y="1623614"/>
                  </a:cubicBezTo>
                  <a:cubicBezTo>
                    <a:pt x="1801315" y="1628092"/>
                    <a:pt x="1815414" y="1618472"/>
                    <a:pt x="1815414" y="1625770"/>
                  </a:cubicBezTo>
                  <a:cubicBezTo>
                    <a:pt x="1815414" y="1633068"/>
                    <a:pt x="1794680" y="1639039"/>
                    <a:pt x="1803637" y="1647167"/>
                  </a:cubicBezTo>
                  <a:cubicBezTo>
                    <a:pt x="1812594" y="1655294"/>
                    <a:pt x="1817570" y="1637546"/>
                    <a:pt x="1828683" y="1641361"/>
                  </a:cubicBezTo>
                  <a:cubicBezTo>
                    <a:pt x="1839796" y="1645176"/>
                    <a:pt x="1854392" y="1628755"/>
                    <a:pt x="1864677" y="1626599"/>
                  </a:cubicBezTo>
                  <a:cubicBezTo>
                    <a:pt x="1875491" y="1622585"/>
                    <a:pt x="1885675" y="1616995"/>
                    <a:pt x="1894864" y="1610012"/>
                  </a:cubicBezTo>
                  <a:cubicBezTo>
                    <a:pt x="1903821" y="1604705"/>
                    <a:pt x="1922896" y="1606197"/>
                    <a:pt x="1917091" y="1612169"/>
                  </a:cubicBezTo>
                  <a:cubicBezTo>
                    <a:pt x="1911286" y="1618140"/>
                    <a:pt x="1904485" y="1628755"/>
                    <a:pt x="1926711" y="1637215"/>
                  </a:cubicBezTo>
                  <a:cubicBezTo>
                    <a:pt x="1948938" y="1645674"/>
                    <a:pt x="1973818" y="1688136"/>
                    <a:pt x="1987751" y="1709367"/>
                  </a:cubicBezTo>
                  <a:cubicBezTo>
                    <a:pt x="2001684" y="1730599"/>
                    <a:pt x="2015119" y="1769080"/>
                    <a:pt x="2022418" y="1769080"/>
                  </a:cubicBezTo>
                  <a:cubicBezTo>
                    <a:pt x="2029716" y="1769080"/>
                    <a:pt x="2032037" y="1750005"/>
                    <a:pt x="2041658" y="1747683"/>
                  </a:cubicBezTo>
                  <a:cubicBezTo>
                    <a:pt x="2051279" y="1745361"/>
                    <a:pt x="2057084" y="1764270"/>
                    <a:pt x="2067367" y="1766260"/>
                  </a:cubicBezTo>
                  <a:cubicBezTo>
                    <a:pt x="2077651" y="1768251"/>
                    <a:pt x="2091750" y="1774222"/>
                    <a:pt x="2100541" y="1771402"/>
                  </a:cubicBezTo>
                  <a:cubicBezTo>
                    <a:pt x="2109333" y="1768582"/>
                    <a:pt x="2127081" y="1758133"/>
                    <a:pt x="2133715" y="1761782"/>
                  </a:cubicBezTo>
                  <a:cubicBezTo>
                    <a:pt x="2140350" y="1765431"/>
                    <a:pt x="2149306" y="1765431"/>
                    <a:pt x="2155112" y="1779530"/>
                  </a:cubicBezTo>
                  <a:cubicBezTo>
                    <a:pt x="2160917" y="1793629"/>
                    <a:pt x="2169874" y="1796117"/>
                    <a:pt x="2175846" y="1796117"/>
                  </a:cubicBezTo>
                  <a:cubicBezTo>
                    <a:pt x="2181817" y="1796117"/>
                    <a:pt x="2182978" y="1802751"/>
                    <a:pt x="2182978" y="1808557"/>
                  </a:cubicBezTo>
                  <a:cubicBezTo>
                    <a:pt x="2182978" y="1814362"/>
                    <a:pt x="2193759" y="1822324"/>
                    <a:pt x="2199565" y="1822324"/>
                  </a:cubicBezTo>
                  <a:cubicBezTo>
                    <a:pt x="2208621" y="1822191"/>
                    <a:pt x="2217578" y="1820566"/>
                    <a:pt x="2226103" y="1817514"/>
                  </a:cubicBezTo>
                  <a:cubicBezTo>
                    <a:pt x="2231079" y="1814528"/>
                    <a:pt x="2237051" y="1811542"/>
                    <a:pt x="2237880" y="1818509"/>
                  </a:cubicBezTo>
                  <a:cubicBezTo>
                    <a:pt x="2238710" y="1825475"/>
                    <a:pt x="2247832" y="1836091"/>
                    <a:pt x="2253638" y="1836091"/>
                  </a:cubicBezTo>
                  <a:cubicBezTo>
                    <a:pt x="2259443" y="1836091"/>
                    <a:pt x="2271385" y="1841067"/>
                    <a:pt x="2272381" y="1836091"/>
                  </a:cubicBezTo>
                  <a:cubicBezTo>
                    <a:pt x="2273376" y="1831115"/>
                    <a:pt x="2288968" y="1828295"/>
                    <a:pt x="2294939" y="1827300"/>
                  </a:cubicBezTo>
                  <a:cubicBezTo>
                    <a:pt x="2300910" y="1826305"/>
                    <a:pt x="2321478" y="1822324"/>
                    <a:pt x="2325458" y="1813533"/>
                  </a:cubicBezTo>
                  <a:cubicBezTo>
                    <a:pt x="2329439" y="1804742"/>
                    <a:pt x="2346026" y="1804742"/>
                    <a:pt x="2351003" y="1798770"/>
                  </a:cubicBezTo>
                  <a:cubicBezTo>
                    <a:pt x="2355979" y="1792799"/>
                    <a:pt x="2369580" y="1789979"/>
                    <a:pt x="2372565" y="1784008"/>
                  </a:cubicBezTo>
                  <a:cubicBezTo>
                    <a:pt x="2375551" y="1778037"/>
                    <a:pt x="2393133" y="1779198"/>
                    <a:pt x="2395123" y="1774222"/>
                  </a:cubicBezTo>
                  <a:cubicBezTo>
                    <a:pt x="2397114" y="1769246"/>
                    <a:pt x="2411710" y="1768251"/>
                    <a:pt x="2418842" y="1770241"/>
                  </a:cubicBezTo>
                  <a:cubicBezTo>
                    <a:pt x="2433953" y="1774189"/>
                    <a:pt x="2449379" y="1776859"/>
                    <a:pt x="2464954" y="1778203"/>
                  </a:cubicBezTo>
                  <a:cubicBezTo>
                    <a:pt x="2469930" y="1777208"/>
                    <a:pt x="2470925" y="1795785"/>
                    <a:pt x="2475735" y="1796780"/>
                  </a:cubicBezTo>
                  <a:cubicBezTo>
                    <a:pt x="2480546" y="1797775"/>
                    <a:pt x="2498294" y="1811542"/>
                    <a:pt x="2503270" y="1807561"/>
                  </a:cubicBezTo>
                  <a:cubicBezTo>
                    <a:pt x="2511015" y="1801905"/>
                    <a:pt x="2521299" y="1801126"/>
                    <a:pt x="2529808" y="1805571"/>
                  </a:cubicBezTo>
                  <a:cubicBezTo>
                    <a:pt x="2539595" y="1811542"/>
                    <a:pt x="2549547" y="1819504"/>
                    <a:pt x="2553361" y="1812538"/>
                  </a:cubicBezTo>
                  <a:cubicBezTo>
                    <a:pt x="2557177" y="1805571"/>
                    <a:pt x="2577910" y="1802751"/>
                    <a:pt x="2580896" y="1798770"/>
                  </a:cubicBezTo>
                  <a:cubicBezTo>
                    <a:pt x="2583881" y="1794790"/>
                    <a:pt x="2586867" y="1783013"/>
                    <a:pt x="2581891" y="1779198"/>
                  </a:cubicBezTo>
                  <a:cubicBezTo>
                    <a:pt x="2576053" y="1770954"/>
                    <a:pt x="2572039" y="1761583"/>
                    <a:pt x="2570114" y="1751664"/>
                  </a:cubicBezTo>
                  <a:cubicBezTo>
                    <a:pt x="2568124" y="1743702"/>
                    <a:pt x="2581891" y="1741712"/>
                    <a:pt x="2583881" y="1735077"/>
                  </a:cubicBezTo>
                  <a:cubicBezTo>
                    <a:pt x="2585872" y="1728442"/>
                    <a:pt x="2597649" y="1727281"/>
                    <a:pt x="2601463" y="1723300"/>
                  </a:cubicBezTo>
                  <a:cubicBezTo>
                    <a:pt x="2605278" y="1719319"/>
                    <a:pt x="2606439" y="1710528"/>
                    <a:pt x="2613406" y="1712519"/>
                  </a:cubicBezTo>
                  <a:cubicBezTo>
                    <a:pt x="2621981" y="1714675"/>
                    <a:pt x="2630241" y="1717959"/>
                    <a:pt x="2637955" y="1722305"/>
                  </a:cubicBezTo>
                  <a:cubicBezTo>
                    <a:pt x="2644224" y="1725822"/>
                    <a:pt x="2651340" y="1727547"/>
                    <a:pt x="2658522" y="1727281"/>
                  </a:cubicBezTo>
                  <a:cubicBezTo>
                    <a:pt x="2667296" y="1728790"/>
                    <a:pt x="2675673" y="1732125"/>
                    <a:pt x="2683070" y="1737067"/>
                  </a:cubicBezTo>
                  <a:cubicBezTo>
                    <a:pt x="2690038" y="1741048"/>
                    <a:pt x="2711600" y="1741048"/>
                    <a:pt x="2716244" y="1746854"/>
                  </a:cubicBezTo>
                  <a:cubicBezTo>
                    <a:pt x="2720889" y="1752659"/>
                    <a:pt x="2715249" y="1769412"/>
                    <a:pt x="2720060" y="1775383"/>
                  </a:cubicBezTo>
                  <a:cubicBezTo>
                    <a:pt x="2724870" y="1781354"/>
                    <a:pt x="2736647" y="1793960"/>
                    <a:pt x="2740793" y="1791140"/>
                  </a:cubicBezTo>
                  <a:cubicBezTo>
                    <a:pt x="2744940" y="1788321"/>
                    <a:pt x="2763351" y="1800927"/>
                    <a:pt x="2770317" y="1799931"/>
                  </a:cubicBezTo>
                  <a:cubicBezTo>
                    <a:pt x="2777283" y="1798936"/>
                    <a:pt x="2787899" y="1788155"/>
                    <a:pt x="2793870" y="1788155"/>
                  </a:cubicBezTo>
                  <a:cubicBezTo>
                    <a:pt x="2799842" y="1788155"/>
                    <a:pt x="2818419" y="1783179"/>
                    <a:pt x="2824224" y="1784174"/>
                  </a:cubicBezTo>
                  <a:cubicBezTo>
                    <a:pt x="2830030" y="1785169"/>
                    <a:pt x="2851759" y="1793131"/>
                    <a:pt x="2854745" y="1791140"/>
                  </a:cubicBezTo>
                  <a:cubicBezTo>
                    <a:pt x="2857730" y="1789150"/>
                    <a:pt x="2877303" y="1792136"/>
                    <a:pt x="2880288" y="1797941"/>
                  </a:cubicBezTo>
                  <a:cubicBezTo>
                    <a:pt x="2883274" y="1803747"/>
                    <a:pt x="2907823" y="1803912"/>
                    <a:pt x="2907823" y="1810713"/>
                  </a:cubicBezTo>
                  <a:cubicBezTo>
                    <a:pt x="2907823" y="1817514"/>
                    <a:pt x="2921589" y="1821494"/>
                    <a:pt x="2925405" y="1829456"/>
                  </a:cubicBezTo>
                  <a:cubicBezTo>
                    <a:pt x="2929219" y="1837418"/>
                    <a:pt x="2961895" y="1832442"/>
                    <a:pt x="2967701" y="1837252"/>
                  </a:cubicBezTo>
                  <a:cubicBezTo>
                    <a:pt x="2982114" y="1841763"/>
                    <a:pt x="2997573" y="1841763"/>
                    <a:pt x="3011987" y="1837252"/>
                  </a:cubicBezTo>
                  <a:cubicBezTo>
                    <a:pt x="3011987" y="1833271"/>
                    <a:pt x="3048313" y="1831447"/>
                    <a:pt x="3055113" y="1826470"/>
                  </a:cubicBezTo>
                  <a:cubicBezTo>
                    <a:pt x="3061914" y="1821494"/>
                    <a:pt x="3080657" y="1823485"/>
                    <a:pt x="3081652" y="1816684"/>
                  </a:cubicBezTo>
                  <a:cubicBezTo>
                    <a:pt x="3082648" y="1809884"/>
                    <a:pt x="3100396" y="1804908"/>
                    <a:pt x="3108191" y="1798936"/>
                  </a:cubicBezTo>
                  <a:cubicBezTo>
                    <a:pt x="3115987" y="1792965"/>
                    <a:pt x="3147502" y="1793960"/>
                    <a:pt x="3149492" y="1800927"/>
                  </a:cubicBezTo>
                  <a:cubicBezTo>
                    <a:pt x="3151483" y="1807893"/>
                    <a:pt x="3170060" y="1809718"/>
                    <a:pt x="3178022" y="1806732"/>
                  </a:cubicBezTo>
                  <a:cubicBezTo>
                    <a:pt x="3185983" y="1803747"/>
                    <a:pt x="3206551" y="1807727"/>
                    <a:pt x="3209537" y="1814694"/>
                  </a:cubicBezTo>
                  <a:cubicBezTo>
                    <a:pt x="3212523" y="1821660"/>
                    <a:pt x="3236076" y="1825475"/>
                    <a:pt x="3242711" y="1823485"/>
                  </a:cubicBezTo>
                  <a:cubicBezTo>
                    <a:pt x="3252894" y="1817364"/>
                    <a:pt x="3263411" y="1811824"/>
                    <a:pt x="3274225" y="1806898"/>
                  </a:cubicBezTo>
                  <a:cubicBezTo>
                    <a:pt x="3281026" y="1805903"/>
                    <a:pt x="3290812" y="1799102"/>
                    <a:pt x="3288822" y="1792302"/>
                  </a:cubicBezTo>
                  <a:cubicBezTo>
                    <a:pt x="3286831" y="1785501"/>
                    <a:pt x="3302589" y="1765763"/>
                    <a:pt x="3304579" y="1757801"/>
                  </a:cubicBezTo>
                  <a:cubicBezTo>
                    <a:pt x="3309008" y="1745908"/>
                    <a:pt x="3316090" y="1735177"/>
                    <a:pt x="3325313" y="1726452"/>
                  </a:cubicBezTo>
                  <a:cubicBezTo>
                    <a:pt x="3330123" y="1724462"/>
                    <a:pt x="3341900" y="1715505"/>
                    <a:pt x="3339909" y="1709865"/>
                  </a:cubicBezTo>
                  <a:cubicBezTo>
                    <a:pt x="3337919" y="1704226"/>
                    <a:pt x="3336094" y="1686312"/>
                    <a:pt x="3330123" y="1686312"/>
                  </a:cubicBezTo>
                  <a:cubicBezTo>
                    <a:pt x="3324152" y="1686312"/>
                    <a:pt x="3313536" y="1687307"/>
                    <a:pt x="3327303" y="1668564"/>
                  </a:cubicBezTo>
                  <a:cubicBezTo>
                    <a:pt x="3337951" y="1656887"/>
                    <a:pt x="3353942" y="1651662"/>
                    <a:pt x="3369433" y="1654797"/>
                  </a:cubicBezTo>
                  <a:cubicBezTo>
                    <a:pt x="3385739" y="1651065"/>
                    <a:pt x="3402508" y="1649787"/>
                    <a:pt x="3419194" y="1650982"/>
                  </a:cubicBezTo>
                  <a:cubicBezTo>
                    <a:pt x="3432961" y="1654797"/>
                    <a:pt x="3441918" y="1648991"/>
                    <a:pt x="3456514" y="1656787"/>
                  </a:cubicBezTo>
                  <a:cubicBezTo>
                    <a:pt x="3471111" y="1664583"/>
                    <a:pt x="3492010" y="1661763"/>
                    <a:pt x="3496820" y="1668564"/>
                  </a:cubicBezTo>
                  <a:cubicBezTo>
                    <a:pt x="3501631" y="1675364"/>
                    <a:pt x="3521535" y="1681336"/>
                    <a:pt x="3518549" y="1693112"/>
                  </a:cubicBezTo>
                  <a:cubicBezTo>
                    <a:pt x="3515563" y="1704889"/>
                    <a:pt x="3529331" y="1698088"/>
                    <a:pt x="3534141" y="1723632"/>
                  </a:cubicBezTo>
                  <a:cubicBezTo>
                    <a:pt x="3538951" y="1749176"/>
                    <a:pt x="3550727" y="1751166"/>
                    <a:pt x="3553879" y="1762943"/>
                  </a:cubicBezTo>
                  <a:cubicBezTo>
                    <a:pt x="3557030" y="1774720"/>
                    <a:pt x="3572622" y="1796117"/>
                    <a:pt x="3570466" y="1803249"/>
                  </a:cubicBezTo>
                  <a:cubicBezTo>
                    <a:pt x="3568309" y="1810381"/>
                    <a:pt x="3566485" y="1820831"/>
                    <a:pt x="3583238" y="1821826"/>
                  </a:cubicBezTo>
                  <a:cubicBezTo>
                    <a:pt x="3599991" y="1822821"/>
                    <a:pt x="3611768" y="1835593"/>
                    <a:pt x="3615582" y="1833603"/>
                  </a:cubicBezTo>
                  <a:cubicBezTo>
                    <a:pt x="3628023" y="1834532"/>
                    <a:pt x="3639749" y="1839740"/>
                    <a:pt x="3648756" y="1848365"/>
                  </a:cubicBezTo>
                  <a:cubicBezTo>
                    <a:pt x="3658542" y="1858317"/>
                    <a:pt x="3673304" y="1853341"/>
                    <a:pt x="3672309" y="1864123"/>
                  </a:cubicBezTo>
                  <a:cubicBezTo>
                    <a:pt x="3671314" y="1874904"/>
                    <a:pt x="3680105" y="1883695"/>
                    <a:pt x="3679110" y="1892652"/>
                  </a:cubicBezTo>
                  <a:cubicBezTo>
                    <a:pt x="3678115" y="1901609"/>
                    <a:pt x="3697852" y="1907414"/>
                    <a:pt x="3712284" y="1905424"/>
                  </a:cubicBezTo>
                  <a:cubicBezTo>
                    <a:pt x="3726714" y="1903433"/>
                    <a:pt x="3735837" y="1910234"/>
                    <a:pt x="3741642" y="1898457"/>
                  </a:cubicBezTo>
                  <a:cubicBezTo>
                    <a:pt x="3747448" y="1886681"/>
                    <a:pt x="3767186" y="1891657"/>
                    <a:pt x="3774816" y="1886681"/>
                  </a:cubicBezTo>
                  <a:cubicBezTo>
                    <a:pt x="3782446" y="1881705"/>
                    <a:pt x="3802350" y="1875899"/>
                    <a:pt x="3801355" y="1893647"/>
                  </a:cubicBezTo>
                  <a:cubicBezTo>
                    <a:pt x="3800360" y="1911395"/>
                    <a:pt x="3812136" y="1915210"/>
                    <a:pt x="3802350" y="1921181"/>
                  </a:cubicBezTo>
                  <a:cubicBezTo>
                    <a:pt x="3792564" y="1927152"/>
                    <a:pt x="3787588" y="1952530"/>
                    <a:pt x="3784602" y="1963312"/>
                  </a:cubicBezTo>
                  <a:cubicBezTo>
                    <a:pt x="3781617" y="1974093"/>
                    <a:pt x="3767020" y="1977079"/>
                    <a:pt x="3765030" y="1988855"/>
                  </a:cubicBezTo>
                  <a:cubicBezTo>
                    <a:pt x="3763040" y="2000632"/>
                    <a:pt x="3748443" y="2001627"/>
                    <a:pt x="3748443" y="2010584"/>
                  </a:cubicBezTo>
                  <a:cubicBezTo>
                    <a:pt x="3748443" y="2019541"/>
                    <a:pt x="3728705" y="2017385"/>
                    <a:pt x="3718918" y="2010584"/>
                  </a:cubicBezTo>
                  <a:cubicBezTo>
                    <a:pt x="3709132" y="2003784"/>
                    <a:pt x="3699346" y="2023356"/>
                    <a:pt x="3691384" y="2023356"/>
                  </a:cubicBezTo>
                  <a:cubicBezTo>
                    <a:pt x="3683422" y="2023356"/>
                    <a:pt x="3684583" y="2039943"/>
                    <a:pt x="3686574" y="2046909"/>
                  </a:cubicBezTo>
                  <a:cubicBezTo>
                    <a:pt x="3688564" y="2053876"/>
                    <a:pt x="3683588" y="2062667"/>
                    <a:pt x="3688564" y="2074444"/>
                  </a:cubicBezTo>
                  <a:cubicBezTo>
                    <a:pt x="3690190" y="2084926"/>
                    <a:pt x="3690969" y="2095525"/>
                    <a:pt x="3690886" y="2106125"/>
                  </a:cubicBezTo>
                  <a:cubicBezTo>
                    <a:pt x="3698898" y="2099241"/>
                    <a:pt x="3708286" y="2094165"/>
                    <a:pt x="3718421" y="2091196"/>
                  </a:cubicBezTo>
                  <a:cubicBezTo>
                    <a:pt x="3730695" y="2091196"/>
                    <a:pt x="3742969" y="2112262"/>
                    <a:pt x="3756737" y="2112759"/>
                  </a:cubicBezTo>
                  <a:cubicBezTo>
                    <a:pt x="3770503" y="2113257"/>
                    <a:pt x="3833036" y="2071458"/>
                    <a:pt x="3833368" y="2064657"/>
                  </a:cubicBezTo>
                  <a:cubicBezTo>
                    <a:pt x="3833699" y="2057857"/>
                    <a:pt x="3870356" y="2022858"/>
                    <a:pt x="3887441" y="2004613"/>
                  </a:cubicBezTo>
                  <a:cubicBezTo>
                    <a:pt x="3906897" y="1985422"/>
                    <a:pt x="3923351" y="1963378"/>
                    <a:pt x="3936206" y="1939261"/>
                  </a:cubicBezTo>
                  <a:cubicBezTo>
                    <a:pt x="3947086" y="1922906"/>
                    <a:pt x="3958879" y="1907182"/>
                    <a:pt x="3971535" y="1892154"/>
                  </a:cubicBezTo>
                  <a:cubicBezTo>
                    <a:pt x="3979547" y="1881854"/>
                    <a:pt x="3986430" y="1870741"/>
                    <a:pt x="3992104" y="1858981"/>
                  </a:cubicBezTo>
                  <a:cubicBezTo>
                    <a:pt x="4002885" y="1835759"/>
                    <a:pt x="4002885" y="1776047"/>
                    <a:pt x="4006368" y="1771402"/>
                  </a:cubicBezTo>
                  <a:cubicBezTo>
                    <a:pt x="4009852" y="1766758"/>
                    <a:pt x="4007860" y="1757137"/>
                    <a:pt x="4012837" y="1750835"/>
                  </a:cubicBezTo>
                  <a:cubicBezTo>
                    <a:pt x="4017813" y="1744531"/>
                    <a:pt x="4015159" y="1735575"/>
                    <a:pt x="4024945" y="1727281"/>
                  </a:cubicBezTo>
                  <a:cubicBezTo>
                    <a:pt x="4032410" y="1722521"/>
                    <a:pt x="4034814" y="1712735"/>
                    <a:pt x="4030419" y="1705055"/>
                  </a:cubicBezTo>
                  <a:cubicBezTo>
                    <a:pt x="4027931" y="1698752"/>
                    <a:pt x="4030419" y="1684487"/>
                    <a:pt x="4028429" y="1680009"/>
                  </a:cubicBezTo>
                  <a:cubicBezTo>
                    <a:pt x="4026439" y="1675530"/>
                    <a:pt x="4026439" y="1673706"/>
                    <a:pt x="4032410" y="1670223"/>
                  </a:cubicBezTo>
                  <a:cubicBezTo>
                    <a:pt x="4038381" y="1666739"/>
                    <a:pt x="4028429" y="1657948"/>
                    <a:pt x="4020135" y="1653636"/>
                  </a:cubicBezTo>
                  <a:cubicBezTo>
                    <a:pt x="4011842" y="1649323"/>
                    <a:pt x="4000894" y="1646337"/>
                    <a:pt x="4000065" y="1637049"/>
                  </a:cubicBezTo>
                  <a:cubicBezTo>
                    <a:pt x="3996532" y="1625471"/>
                    <a:pt x="3985949" y="1617509"/>
                    <a:pt x="3973858" y="1617311"/>
                  </a:cubicBezTo>
                  <a:cubicBezTo>
                    <a:pt x="3963077" y="1618306"/>
                    <a:pt x="3943006" y="1611505"/>
                    <a:pt x="3945495" y="1618306"/>
                  </a:cubicBezTo>
                  <a:cubicBezTo>
                    <a:pt x="3947982" y="1625106"/>
                    <a:pt x="3944500" y="1631078"/>
                    <a:pt x="3939026" y="1629585"/>
                  </a:cubicBezTo>
                  <a:cubicBezTo>
                    <a:pt x="3933552" y="1628092"/>
                    <a:pt x="3931229" y="1632570"/>
                    <a:pt x="3924761" y="1642357"/>
                  </a:cubicBezTo>
                  <a:cubicBezTo>
                    <a:pt x="3918292" y="1652143"/>
                    <a:pt x="3895899" y="1653138"/>
                    <a:pt x="3906184" y="1643850"/>
                  </a:cubicBezTo>
                  <a:cubicBezTo>
                    <a:pt x="3916468" y="1634561"/>
                    <a:pt x="3902700" y="1634063"/>
                    <a:pt x="3904691" y="1624277"/>
                  </a:cubicBezTo>
                  <a:cubicBezTo>
                    <a:pt x="3906681" y="1614491"/>
                    <a:pt x="3914975" y="1604539"/>
                    <a:pt x="3903696" y="1611007"/>
                  </a:cubicBezTo>
                  <a:cubicBezTo>
                    <a:pt x="3892417" y="1617476"/>
                    <a:pt x="3892417" y="1632570"/>
                    <a:pt x="3883128" y="1634561"/>
                  </a:cubicBezTo>
                  <a:cubicBezTo>
                    <a:pt x="3873840" y="1636551"/>
                    <a:pt x="3876659" y="1608022"/>
                    <a:pt x="3879147" y="1600558"/>
                  </a:cubicBezTo>
                  <a:cubicBezTo>
                    <a:pt x="3881635" y="1593094"/>
                    <a:pt x="3862561" y="1600558"/>
                    <a:pt x="3841329" y="1599729"/>
                  </a:cubicBezTo>
                  <a:cubicBezTo>
                    <a:pt x="3820098" y="1598899"/>
                    <a:pt x="3826069" y="1583971"/>
                    <a:pt x="3842822" y="1575014"/>
                  </a:cubicBezTo>
                  <a:cubicBezTo>
                    <a:pt x="3859574" y="1566057"/>
                    <a:pt x="3856589" y="1558427"/>
                    <a:pt x="3864882" y="1554447"/>
                  </a:cubicBezTo>
                  <a:cubicBezTo>
                    <a:pt x="3873175" y="1550466"/>
                    <a:pt x="3894904" y="1536698"/>
                    <a:pt x="3907676" y="1529400"/>
                  </a:cubicBezTo>
                  <a:cubicBezTo>
                    <a:pt x="3914875" y="1524474"/>
                    <a:pt x="3920051" y="1517109"/>
                    <a:pt x="3922273" y="1508667"/>
                  </a:cubicBezTo>
                  <a:cubicBezTo>
                    <a:pt x="3925258" y="1500373"/>
                    <a:pt x="3948811" y="1489924"/>
                    <a:pt x="3970043" y="1472839"/>
                  </a:cubicBezTo>
                  <a:cubicBezTo>
                    <a:pt x="3984606" y="1462987"/>
                    <a:pt x="3996980" y="1450215"/>
                    <a:pt x="4006368" y="1435353"/>
                  </a:cubicBezTo>
                  <a:cubicBezTo>
                    <a:pt x="4011178" y="1425069"/>
                    <a:pt x="4042693" y="1412297"/>
                    <a:pt x="4043190" y="1404501"/>
                  </a:cubicBezTo>
                  <a:cubicBezTo>
                    <a:pt x="4043688" y="1396706"/>
                    <a:pt x="4080511" y="1376967"/>
                    <a:pt x="4105557" y="1371328"/>
                  </a:cubicBezTo>
                  <a:cubicBezTo>
                    <a:pt x="4130603" y="1365688"/>
                    <a:pt x="4170412" y="1372821"/>
                    <a:pt x="4177875" y="1380285"/>
                  </a:cubicBezTo>
                  <a:cubicBezTo>
                    <a:pt x="4181226" y="1384863"/>
                    <a:pt x="4187662" y="1385858"/>
                    <a:pt x="4192256" y="1382491"/>
                  </a:cubicBezTo>
                  <a:cubicBezTo>
                    <a:pt x="4193103" y="1381877"/>
                    <a:pt x="4193849" y="1381131"/>
                    <a:pt x="4194462" y="1380285"/>
                  </a:cubicBezTo>
                  <a:cubicBezTo>
                    <a:pt x="4198941" y="1375309"/>
                    <a:pt x="4208728" y="1377797"/>
                    <a:pt x="4225481" y="1380285"/>
                  </a:cubicBezTo>
                  <a:cubicBezTo>
                    <a:pt x="4242232" y="1382773"/>
                    <a:pt x="4246048" y="1372323"/>
                    <a:pt x="4257327" y="1375806"/>
                  </a:cubicBezTo>
                  <a:cubicBezTo>
                    <a:pt x="4268606" y="1379289"/>
                    <a:pt x="4278061" y="1381280"/>
                    <a:pt x="4284861" y="1368010"/>
                  </a:cubicBezTo>
                  <a:cubicBezTo>
                    <a:pt x="4291662" y="1354741"/>
                    <a:pt x="4324171" y="1357229"/>
                    <a:pt x="4331636" y="1362537"/>
                  </a:cubicBezTo>
                  <a:cubicBezTo>
                    <a:pt x="4339100" y="1367845"/>
                    <a:pt x="4344905" y="1375309"/>
                    <a:pt x="4356682" y="1367513"/>
                  </a:cubicBezTo>
                  <a:cubicBezTo>
                    <a:pt x="4368459" y="1359717"/>
                    <a:pt x="4368459" y="1377797"/>
                    <a:pt x="4379738" y="1379289"/>
                  </a:cubicBezTo>
                  <a:cubicBezTo>
                    <a:pt x="4391017" y="1380782"/>
                    <a:pt x="4383719" y="1390569"/>
                    <a:pt x="4373766" y="1389573"/>
                  </a:cubicBezTo>
                  <a:cubicBezTo>
                    <a:pt x="4363814" y="1388578"/>
                    <a:pt x="4351706" y="1394549"/>
                    <a:pt x="4362985" y="1400852"/>
                  </a:cubicBezTo>
                  <a:cubicBezTo>
                    <a:pt x="4374264" y="1407155"/>
                    <a:pt x="4387533" y="1395047"/>
                    <a:pt x="4396159" y="1395876"/>
                  </a:cubicBezTo>
                  <a:cubicBezTo>
                    <a:pt x="4408085" y="1398116"/>
                    <a:pt x="4420425" y="1396059"/>
                    <a:pt x="4430991" y="1390071"/>
                  </a:cubicBezTo>
                  <a:cubicBezTo>
                    <a:pt x="4443265" y="1382275"/>
                    <a:pt x="4447578" y="1396540"/>
                    <a:pt x="4454545" y="1390071"/>
                  </a:cubicBezTo>
                  <a:cubicBezTo>
                    <a:pt x="4464811" y="1383735"/>
                    <a:pt x="4476837" y="1380832"/>
                    <a:pt x="4488879" y="1381778"/>
                  </a:cubicBezTo>
                  <a:cubicBezTo>
                    <a:pt x="4497836" y="1381778"/>
                    <a:pt x="4490372" y="1371328"/>
                    <a:pt x="4475609" y="1371328"/>
                  </a:cubicBezTo>
                  <a:cubicBezTo>
                    <a:pt x="4460847" y="1371328"/>
                    <a:pt x="4461345" y="1363532"/>
                    <a:pt x="4473287" y="1343462"/>
                  </a:cubicBezTo>
                  <a:cubicBezTo>
                    <a:pt x="4485230" y="1323392"/>
                    <a:pt x="4507622" y="1312444"/>
                    <a:pt x="4521887" y="1300170"/>
                  </a:cubicBezTo>
                  <a:cubicBezTo>
                    <a:pt x="4536152" y="1287896"/>
                    <a:pt x="4546435" y="1293867"/>
                    <a:pt x="4546435" y="1285906"/>
                  </a:cubicBezTo>
                  <a:cubicBezTo>
                    <a:pt x="4546435" y="1277944"/>
                    <a:pt x="4553236" y="1255884"/>
                    <a:pt x="4564183" y="1255552"/>
                  </a:cubicBezTo>
                  <a:cubicBezTo>
                    <a:pt x="4575130" y="1255220"/>
                    <a:pt x="4602001" y="1259864"/>
                    <a:pt x="4618588" y="1250576"/>
                  </a:cubicBezTo>
                  <a:cubicBezTo>
                    <a:pt x="4635175" y="1241287"/>
                    <a:pt x="4633848" y="1257376"/>
                    <a:pt x="4640814" y="1259864"/>
                  </a:cubicBezTo>
                  <a:cubicBezTo>
                    <a:pt x="4647781" y="1262352"/>
                    <a:pt x="4657401" y="1245600"/>
                    <a:pt x="4664866" y="1250576"/>
                  </a:cubicBezTo>
                  <a:cubicBezTo>
                    <a:pt x="4672329" y="1255552"/>
                    <a:pt x="4653089" y="1267162"/>
                    <a:pt x="4648279" y="1281427"/>
                  </a:cubicBezTo>
                  <a:cubicBezTo>
                    <a:pt x="4643468" y="1295692"/>
                    <a:pt x="4658563" y="1290384"/>
                    <a:pt x="4667022" y="1294199"/>
                  </a:cubicBezTo>
                  <a:cubicBezTo>
                    <a:pt x="4675480" y="1298014"/>
                    <a:pt x="4656074" y="1304151"/>
                    <a:pt x="4658064" y="1307966"/>
                  </a:cubicBezTo>
                  <a:cubicBezTo>
                    <a:pt x="4660055" y="1311781"/>
                    <a:pt x="4676808" y="1311947"/>
                    <a:pt x="4698370" y="1290384"/>
                  </a:cubicBezTo>
                  <a:cubicBezTo>
                    <a:pt x="4711906" y="1273913"/>
                    <a:pt x="4732108" y="1264359"/>
                    <a:pt x="4753439" y="1264343"/>
                  </a:cubicBezTo>
                  <a:cubicBezTo>
                    <a:pt x="4767206" y="1265836"/>
                    <a:pt x="4759245" y="1252068"/>
                    <a:pt x="4760240" y="1231169"/>
                  </a:cubicBezTo>
                  <a:cubicBezTo>
                    <a:pt x="4761235" y="1210270"/>
                    <a:pt x="4803531" y="1205128"/>
                    <a:pt x="4817299" y="1211099"/>
                  </a:cubicBezTo>
                  <a:cubicBezTo>
                    <a:pt x="4831065" y="1217070"/>
                    <a:pt x="4830070" y="1222378"/>
                    <a:pt x="4817299" y="1218895"/>
                  </a:cubicBezTo>
                  <a:cubicBezTo>
                    <a:pt x="4804526" y="1215412"/>
                    <a:pt x="4791754" y="1227354"/>
                    <a:pt x="4792252" y="1243941"/>
                  </a:cubicBezTo>
                  <a:cubicBezTo>
                    <a:pt x="4792749" y="1260528"/>
                    <a:pt x="4780475" y="1266002"/>
                    <a:pt x="4786778" y="1272470"/>
                  </a:cubicBezTo>
                  <a:cubicBezTo>
                    <a:pt x="4793081" y="1278939"/>
                    <a:pt x="4777490" y="1280266"/>
                    <a:pt x="4776993" y="1287233"/>
                  </a:cubicBezTo>
                  <a:cubicBezTo>
                    <a:pt x="4776495" y="1294199"/>
                    <a:pt x="4776993" y="1299507"/>
                    <a:pt x="4767206" y="1302493"/>
                  </a:cubicBezTo>
                  <a:cubicBezTo>
                    <a:pt x="4757419" y="1305478"/>
                    <a:pt x="4724412" y="1308795"/>
                    <a:pt x="4723417" y="1321567"/>
                  </a:cubicBezTo>
                  <a:cubicBezTo>
                    <a:pt x="4722421" y="1334339"/>
                    <a:pt x="4704839" y="1335832"/>
                    <a:pt x="4696380" y="1351589"/>
                  </a:cubicBezTo>
                  <a:cubicBezTo>
                    <a:pt x="4687921" y="1367347"/>
                    <a:pt x="4656074" y="1376636"/>
                    <a:pt x="4635008" y="1408151"/>
                  </a:cubicBezTo>
                  <a:cubicBezTo>
                    <a:pt x="4613944" y="1439665"/>
                    <a:pt x="4580438" y="1439500"/>
                    <a:pt x="4580438" y="1445471"/>
                  </a:cubicBezTo>
                  <a:cubicBezTo>
                    <a:pt x="4580438" y="1451442"/>
                    <a:pt x="4557382" y="1450779"/>
                    <a:pt x="4549587" y="1451774"/>
                  </a:cubicBezTo>
                  <a:cubicBezTo>
                    <a:pt x="4541791" y="1452769"/>
                    <a:pt x="4556885" y="1472010"/>
                    <a:pt x="4538308" y="1492080"/>
                  </a:cubicBezTo>
                  <a:cubicBezTo>
                    <a:pt x="4518868" y="1512681"/>
                    <a:pt x="4507970" y="1539883"/>
                    <a:pt x="4507788" y="1568213"/>
                  </a:cubicBezTo>
                  <a:cubicBezTo>
                    <a:pt x="4507788" y="1596245"/>
                    <a:pt x="4517574" y="1676857"/>
                    <a:pt x="4526034" y="1691122"/>
                  </a:cubicBezTo>
                  <a:cubicBezTo>
                    <a:pt x="4534492" y="1705387"/>
                    <a:pt x="4529350" y="1740882"/>
                    <a:pt x="4536318" y="1747517"/>
                  </a:cubicBezTo>
                  <a:cubicBezTo>
                    <a:pt x="4543284" y="1754152"/>
                    <a:pt x="4540630" y="1767255"/>
                    <a:pt x="4545108" y="1771734"/>
                  </a:cubicBezTo>
                  <a:cubicBezTo>
                    <a:pt x="4549587" y="1776212"/>
                    <a:pt x="4567666" y="1751995"/>
                    <a:pt x="4579941" y="1741712"/>
                  </a:cubicBezTo>
                  <a:cubicBezTo>
                    <a:pt x="4592215" y="1731428"/>
                    <a:pt x="4588400" y="1727945"/>
                    <a:pt x="4596528" y="1722471"/>
                  </a:cubicBezTo>
                  <a:cubicBezTo>
                    <a:pt x="4604655" y="1716997"/>
                    <a:pt x="4601504" y="1694439"/>
                    <a:pt x="4603991" y="1689297"/>
                  </a:cubicBezTo>
                  <a:cubicBezTo>
                    <a:pt x="4606480" y="1684155"/>
                    <a:pt x="4621573" y="1680506"/>
                    <a:pt x="4626550" y="1674037"/>
                  </a:cubicBezTo>
                  <a:cubicBezTo>
                    <a:pt x="4631526" y="1667569"/>
                    <a:pt x="4644132" y="1671550"/>
                    <a:pt x="4651098" y="1669061"/>
                  </a:cubicBezTo>
                  <a:cubicBezTo>
                    <a:pt x="4658064" y="1666573"/>
                    <a:pt x="4651098" y="1650484"/>
                    <a:pt x="4648113" y="1641196"/>
                  </a:cubicBezTo>
                  <a:cubicBezTo>
                    <a:pt x="4645127" y="1631907"/>
                    <a:pt x="4668182" y="1618969"/>
                    <a:pt x="4680125" y="1610676"/>
                  </a:cubicBezTo>
                  <a:cubicBezTo>
                    <a:pt x="4692067" y="1602382"/>
                    <a:pt x="4706664" y="1616149"/>
                    <a:pt x="4719768" y="1603875"/>
                  </a:cubicBezTo>
                  <a:cubicBezTo>
                    <a:pt x="4732871" y="1591601"/>
                    <a:pt x="4718939" y="1577336"/>
                    <a:pt x="4713962" y="1570702"/>
                  </a:cubicBezTo>
                  <a:cubicBezTo>
                    <a:pt x="4708986" y="1564067"/>
                    <a:pt x="4727232" y="1533381"/>
                    <a:pt x="4737516" y="1530395"/>
                  </a:cubicBezTo>
                  <a:cubicBezTo>
                    <a:pt x="4747800" y="1527410"/>
                    <a:pt x="4754103" y="1537860"/>
                    <a:pt x="4763059" y="1528903"/>
                  </a:cubicBezTo>
                  <a:cubicBezTo>
                    <a:pt x="4772016" y="1519946"/>
                    <a:pt x="4754268" y="1505847"/>
                    <a:pt x="4746473" y="1506842"/>
                  </a:cubicBezTo>
                  <a:cubicBezTo>
                    <a:pt x="4738676" y="1507837"/>
                    <a:pt x="4737184" y="1481796"/>
                    <a:pt x="4753439" y="1469522"/>
                  </a:cubicBezTo>
                  <a:cubicBezTo>
                    <a:pt x="4769694" y="1457248"/>
                    <a:pt x="4763225" y="1454760"/>
                    <a:pt x="4752444" y="1451774"/>
                  </a:cubicBezTo>
                  <a:cubicBezTo>
                    <a:pt x="4741663" y="1448788"/>
                    <a:pt x="4739672" y="1452769"/>
                    <a:pt x="4731379" y="1453267"/>
                  </a:cubicBezTo>
                  <a:cubicBezTo>
                    <a:pt x="4723086" y="1453764"/>
                    <a:pt x="4714792" y="1436680"/>
                    <a:pt x="4727397" y="1418932"/>
                  </a:cubicBezTo>
                  <a:cubicBezTo>
                    <a:pt x="4740003" y="1401184"/>
                    <a:pt x="4752444" y="1403672"/>
                    <a:pt x="4755429" y="1389407"/>
                  </a:cubicBezTo>
                  <a:cubicBezTo>
                    <a:pt x="4761599" y="1374280"/>
                    <a:pt x="4770059" y="1360181"/>
                    <a:pt x="4780475" y="1347609"/>
                  </a:cubicBezTo>
                  <a:cubicBezTo>
                    <a:pt x="4784788" y="1340310"/>
                    <a:pt x="4802536" y="1347609"/>
                    <a:pt x="4809336" y="1346116"/>
                  </a:cubicBezTo>
                  <a:cubicBezTo>
                    <a:pt x="4816137" y="1344623"/>
                    <a:pt x="4813815" y="1359385"/>
                    <a:pt x="4822274" y="1352087"/>
                  </a:cubicBezTo>
                  <a:cubicBezTo>
                    <a:pt x="4830734" y="1344789"/>
                    <a:pt x="4844335" y="1320240"/>
                    <a:pt x="4855448" y="1320240"/>
                  </a:cubicBezTo>
                  <a:cubicBezTo>
                    <a:pt x="4866561" y="1320240"/>
                    <a:pt x="4859429" y="1338320"/>
                    <a:pt x="4862414" y="1349101"/>
                  </a:cubicBezTo>
                  <a:cubicBezTo>
                    <a:pt x="4865400" y="1359883"/>
                    <a:pt x="4871703" y="1346116"/>
                    <a:pt x="4893266" y="1331519"/>
                  </a:cubicBezTo>
                  <a:cubicBezTo>
                    <a:pt x="4919091" y="1318946"/>
                    <a:pt x="4948732" y="1316624"/>
                    <a:pt x="4976200" y="1325051"/>
                  </a:cubicBezTo>
                  <a:cubicBezTo>
                    <a:pt x="4990465" y="1332017"/>
                    <a:pt x="4992787" y="1348106"/>
                    <a:pt x="5000915" y="1346116"/>
                  </a:cubicBezTo>
                  <a:cubicBezTo>
                    <a:pt x="5012857" y="1343296"/>
                    <a:pt x="5002739" y="1329529"/>
                    <a:pt x="5014681" y="1326543"/>
                  </a:cubicBezTo>
                  <a:cubicBezTo>
                    <a:pt x="5031849" y="1319710"/>
                    <a:pt x="5048021" y="1310620"/>
                    <a:pt x="5062783" y="1299507"/>
                  </a:cubicBezTo>
                  <a:cubicBezTo>
                    <a:pt x="5078541" y="1288228"/>
                    <a:pt x="5074062" y="1296521"/>
                    <a:pt x="5082356" y="1286237"/>
                  </a:cubicBezTo>
                  <a:cubicBezTo>
                    <a:pt x="5090649" y="1275953"/>
                    <a:pt x="5098943" y="1280432"/>
                    <a:pt x="5101596" y="1273466"/>
                  </a:cubicBezTo>
                  <a:cubicBezTo>
                    <a:pt x="5104251" y="1266499"/>
                    <a:pt x="5126642" y="1255386"/>
                    <a:pt x="5157660" y="1248419"/>
                  </a:cubicBezTo>
                  <a:cubicBezTo>
                    <a:pt x="5188677" y="1241453"/>
                    <a:pt x="5228818" y="1220885"/>
                    <a:pt x="5226827" y="1215246"/>
                  </a:cubicBezTo>
                  <a:cubicBezTo>
                    <a:pt x="5224837" y="1209606"/>
                    <a:pt x="5238603" y="1205791"/>
                    <a:pt x="5240097" y="1212260"/>
                  </a:cubicBezTo>
                  <a:cubicBezTo>
                    <a:pt x="5241589" y="1218729"/>
                    <a:pt x="5253366" y="1216241"/>
                    <a:pt x="5269621" y="1219558"/>
                  </a:cubicBezTo>
                  <a:cubicBezTo>
                    <a:pt x="5285877" y="1222876"/>
                    <a:pt x="5293175" y="1229510"/>
                    <a:pt x="5305946" y="1216573"/>
                  </a:cubicBezTo>
                  <a:cubicBezTo>
                    <a:pt x="5318718" y="1203635"/>
                    <a:pt x="5304454" y="1199986"/>
                    <a:pt x="5304951" y="1189702"/>
                  </a:cubicBezTo>
                  <a:cubicBezTo>
                    <a:pt x="5305449" y="1179418"/>
                    <a:pt x="5282891" y="1169466"/>
                    <a:pt x="5285877" y="1159182"/>
                  </a:cubicBezTo>
                  <a:cubicBezTo>
                    <a:pt x="5288862" y="1148898"/>
                    <a:pt x="5269290" y="1121364"/>
                    <a:pt x="5263318" y="1126009"/>
                  </a:cubicBezTo>
                  <a:cubicBezTo>
                    <a:pt x="5257347" y="1130653"/>
                    <a:pt x="5243579" y="1121696"/>
                    <a:pt x="5243579" y="1113900"/>
                  </a:cubicBezTo>
                  <a:cubicBezTo>
                    <a:pt x="5243579" y="1106104"/>
                    <a:pt x="5242584" y="1097313"/>
                    <a:pt x="5233296" y="1102455"/>
                  </a:cubicBezTo>
                  <a:cubicBezTo>
                    <a:pt x="5224007" y="1107597"/>
                    <a:pt x="5208250" y="1105441"/>
                    <a:pt x="5205264" y="1096650"/>
                  </a:cubicBezTo>
                  <a:cubicBezTo>
                    <a:pt x="5202278" y="1087859"/>
                    <a:pt x="5223510" y="1081390"/>
                    <a:pt x="5238437" y="1087361"/>
                  </a:cubicBezTo>
                  <a:cubicBezTo>
                    <a:pt x="5253366" y="1093333"/>
                    <a:pt x="5248887" y="1099138"/>
                    <a:pt x="5256185" y="1103948"/>
                  </a:cubicBezTo>
                  <a:cubicBezTo>
                    <a:pt x="5268675" y="1107780"/>
                    <a:pt x="5282128" y="1106900"/>
                    <a:pt x="5294004" y="1101460"/>
                  </a:cubicBezTo>
                  <a:cubicBezTo>
                    <a:pt x="5304288" y="1096650"/>
                    <a:pt x="5333315" y="1087361"/>
                    <a:pt x="5338290" y="1078902"/>
                  </a:cubicBezTo>
                  <a:cubicBezTo>
                    <a:pt x="5343266" y="1070443"/>
                    <a:pt x="5338290" y="1066628"/>
                    <a:pt x="5347579" y="1062315"/>
                  </a:cubicBezTo>
                  <a:cubicBezTo>
                    <a:pt x="5356868" y="1058003"/>
                    <a:pt x="5350067" y="1047221"/>
                    <a:pt x="5341608" y="1042743"/>
                  </a:cubicBezTo>
                  <a:cubicBezTo>
                    <a:pt x="5337113" y="1041449"/>
                    <a:pt x="5334525" y="1036755"/>
                    <a:pt x="5335819" y="1032276"/>
                  </a:cubicBezTo>
                  <a:cubicBezTo>
                    <a:pt x="5336880" y="1028594"/>
                    <a:pt x="5340265" y="1026090"/>
                    <a:pt x="5344095" y="1026156"/>
                  </a:cubicBezTo>
                  <a:cubicBezTo>
                    <a:pt x="5352887" y="1026156"/>
                    <a:pt x="5350565" y="1015872"/>
                    <a:pt x="5356371" y="1015374"/>
                  </a:cubicBezTo>
                  <a:cubicBezTo>
                    <a:pt x="5362176" y="1014877"/>
                    <a:pt x="5363337" y="1019853"/>
                    <a:pt x="5374119" y="1014379"/>
                  </a:cubicBezTo>
                  <a:cubicBezTo>
                    <a:pt x="5384899" y="1008906"/>
                    <a:pt x="5374119" y="1022672"/>
                    <a:pt x="5369640" y="1032127"/>
                  </a:cubicBezTo>
                  <a:cubicBezTo>
                    <a:pt x="5365161" y="1041581"/>
                    <a:pt x="5380090" y="1048714"/>
                    <a:pt x="5381416" y="1054685"/>
                  </a:cubicBezTo>
                  <a:cubicBezTo>
                    <a:pt x="5382743" y="1060656"/>
                    <a:pt x="5404141" y="1061983"/>
                    <a:pt x="5415917" y="1055680"/>
                  </a:cubicBezTo>
                  <a:cubicBezTo>
                    <a:pt x="5427694" y="1049377"/>
                    <a:pt x="5465677" y="1063476"/>
                    <a:pt x="5468000" y="1072267"/>
                  </a:cubicBezTo>
                  <a:cubicBezTo>
                    <a:pt x="5471084" y="1084873"/>
                    <a:pt x="5479759" y="1095389"/>
                    <a:pt x="5491553" y="1100797"/>
                  </a:cubicBezTo>
                  <a:cubicBezTo>
                    <a:pt x="5508139" y="1108592"/>
                    <a:pt x="5521575" y="1105109"/>
                    <a:pt x="5524726" y="1112573"/>
                  </a:cubicBezTo>
                  <a:cubicBezTo>
                    <a:pt x="5527115" y="1120004"/>
                    <a:pt x="5535010" y="1124134"/>
                    <a:pt x="5542474" y="1121862"/>
                  </a:cubicBezTo>
                  <a:cubicBezTo>
                    <a:pt x="5551266" y="1119871"/>
                    <a:pt x="5556242" y="1129658"/>
                    <a:pt x="5562545" y="1123852"/>
                  </a:cubicBezTo>
                  <a:cubicBezTo>
                    <a:pt x="5568848" y="1118047"/>
                    <a:pt x="5572496" y="1127336"/>
                    <a:pt x="5580790" y="1119871"/>
                  </a:cubicBezTo>
                  <a:cubicBezTo>
                    <a:pt x="5589083" y="1112407"/>
                    <a:pt x="5562545" y="1107597"/>
                    <a:pt x="5566027" y="1101626"/>
                  </a:cubicBezTo>
                  <a:cubicBezTo>
                    <a:pt x="5569511" y="1095655"/>
                    <a:pt x="5574819" y="1106104"/>
                    <a:pt x="5582614" y="1105607"/>
                  </a:cubicBezTo>
                  <a:cubicBezTo>
                    <a:pt x="5590410" y="1105109"/>
                    <a:pt x="5580624" y="1090844"/>
                    <a:pt x="5586098" y="1089020"/>
                  </a:cubicBezTo>
                  <a:cubicBezTo>
                    <a:pt x="5591572" y="1087195"/>
                    <a:pt x="5586098" y="1058168"/>
                    <a:pt x="5581122" y="1055846"/>
                  </a:cubicBezTo>
                  <a:cubicBezTo>
                    <a:pt x="5576146" y="1053524"/>
                    <a:pt x="5580127" y="1043572"/>
                    <a:pt x="5591406" y="1051865"/>
                  </a:cubicBezTo>
                  <a:cubicBezTo>
                    <a:pt x="5602751" y="1058235"/>
                    <a:pt x="5615772" y="1061005"/>
                    <a:pt x="5628726" y="1059827"/>
                  </a:cubicBezTo>
                  <a:cubicBezTo>
                    <a:pt x="5637185" y="1059827"/>
                    <a:pt x="5628726" y="1051865"/>
                    <a:pt x="5620930" y="1050373"/>
                  </a:cubicBezTo>
                  <a:cubicBezTo>
                    <a:pt x="5613134" y="1048880"/>
                    <a:pt x="5622423" y="1042079"/>
                    <a:pt x="5628228" y="1047387"/>
                  </a:cubicBezTo>
                  <a:cubicBezTo>
                    <a:pt x="5634034" y="1052695"/>
                    <a:pt x="5644815" y="1055349"/>
                    <a:pt x="5646474" y="1049377"/>
                  </a:cubicBezTo>
                  <a:cubicBezTo>
                    <a:pt x="5648132" y="1043406"/>
                    <a:pt x="5653274" y="1030800"/>
                    <a:pt x="5663061" y="1031298"/>
                  </a:cubicBezTo>
                  <a:cubicBezTo>
                    <a:pt x="5672847" y="1031795"/>
                    <a:pt x="5677491" y="1025658"/>
                    <a:pt x="5667705" y="1022175"/>
                  </a:cubicBezTo>
                  <a:close/>
                  <a:moveTo>
                    <a:pt x="2927063" y="1666905"/>
                  </a:moveTo>
                  <a:cubicBezTo>
                    <a:pt x="2899031" y="1691951"/>
                    <a:pt x="2842968" y="1697757"/>
                    <a:pt x="2842968" y="1718490"/>
                  </a:cubicBezTo>
                  <a:cubicBezTo>
                    <a:pt x="2842968" y="1739224"/>
                    <a:pt x="2775293" y="1749342"/>
                    <a:pt x="2769322" y="1740551"/>
                  </a:cubicBezTo>
                  <a:cubicBezTo>
                    <a:pt x="2763351" y="1731760"/>
                    <a:pt x="2819083" y="1730267"/>
                    <a:pt x="2832684" y="1700742"/>
                  </a:cubicBezTo>
                  <a:cubicBezTo>
                    <a:pt x="2846285" y="1671218"/>
                    <a:pt x="2896378" y="1656124"/>
                    <a:pt x="2921092" y="1616647"/>
                  </a:cubicBezTo>
                  <a:cubicBezTo>
                    <a:pt x="2938840" y="1588781"/>
                    <a:pt x="2954266" y="1545987"/>
                    <a:pt x="2963885" y="1548973"/>
                  </a:cubicBezTo>
                  <a:cubicBezTo>
                    <a:pt x="2973506" y="1551958"/>
                    <a:pt x="2955758" y="1641693"/>
                    <a:pt x="2927063" y="1666905"/>
                  </a:cubicBezTo>
                  <a:close/>
                  <a:moveTo>
                    <a:pt x="3051796" y="512793"/>
                  </a:moveTo>
                  <a:cubicBezTo>
                    <a:pt x="3047981" y="520589"/>
                    <a:pt x="3026584" y="521087"/>
                    <a:pt x="3032224" y="529380"/>
                  </a:cubicBezTo>
                  <a:cubicBezTo>
                    <a:pt x="3042010" y="542152"/>
                    <a:pt x="3091107" y="535186"/>
                    <a:pt x="3092102" y="519428"/>
                  </a:cubicBezTo>
                  <a:cubicBezTo>
                    <a:pt x="3093097" y="503671"/>
                    <a:pt x="3056440" y="504832"/>
                    <a:pt x="3052459" y="512793"/>
                  </a:cubicBezTo>
                  <a:close/>
                  <a:moveTo>
                    <a:pt x="1263238" y="27297"/>
                  </a:moveTo>
                  <a:cubicBezTo>
                    <a:pt x="1286791" y="27297"/>
                    <a:pt x="1279825" y="12700"/>
                    <a:pt x="1295583" y="14525"/>
                  </a:cubicBezTo>
                  <a:cubicBezTo>
                    <a:pt x="1311340" y="16350"/>
                    <a:pt x="1331907" y="15520"/>
                    <a:pt x="1324111" y="5734"/>
                  </a:cubicBezTo>
                  <a:cubicBezTo>
                    <a:pt x="1316316" y="-4052"/>
                    <a:pt x="1259257" y="-237"/>
                    <a:pt x="1265062" y="7724"/>
                  </a:cubicBezTo>
                  <a:cubicBezTo>
                    <a:pt x="1270868" y="15686"/>
                    <a:pt x="1218951" y="12700"/>
                    <a:pt x="1219946" y="15520"/>
                  </a:cubicBezTo>
                  <a:cubicBezTo>
                    <a:pt x="1221937" y="21491"/>
                    <a:pt x="1239685" y="27297"/>
                    <a:pt x="1263238" y="27297"/>
                  </a:cubicBezTo>
                  <a:close/>
                  <a:moveTo>
                    <a:pt x="1141325" y="93644"/>
                  </a:moveTo>
                  <a:cubicBezTo>
                    <a:pt x="1141325" y="77057"/>
                    <a:pt x="1090238" y="95303"/>
                    <a:pt x="1100024" y="98620"/>
                  </a:cubicBezTo>
                  <a:cubicBezTo>
                    <a:pt x="1109810" y="101938"/>
                    <a:pt x="1141325" y="108904"/>
                    <a:pt x="1141325" y="93147"/>
                  </a:cubicBezTo>
                  <a:close/>
                  <a:moveTo>
                    <a:pt x="1268048" y="80872"/>
                  </a:moveTo>
                  <a:cubicBezTo>
                    <a:pt x="1271034" y="88834"/>
                    <a:pt x="1263238" y="89829"/>
                    <a:pt x="1243500" y="89829"/>
                  </a:cubicBezTo>
                  <a:cubicBezTo>
                    <a:pt x="1223761" y="89829"/>
                    <a:pt x="1213644" y="100776"/>
                    <a:pt x="1223927" y="109402"/>
                  </a:cubicBezTo>
                  <a:cubicBezTo>
                    <a:pt x="1234211" y="118027"/>
                    <a:pt x="1287787" y="115373"/>
                    <a:pt x="1296578" y="103430"/>
                  </a:cubicBezTo>
                  <a:cubicBezTo>
                    <a:pt x="1305369" y="91488"/>
                    <a:pt x="1328093" y="101606"/>
                    <a:pt x="1331907" y="89829"/>
                  </a:cubicBezTo>
                  <a:cubicBezTo>
                    <a:pt x="1335722" y="78052"/>
                    <a:pt x="1265062" y="72579"/>
                    <a:pt x="1268380" y="80375"/>
                  </a:cubicBezTo>
                  <a:close/>
                  <a:moveTo>
                    <a:pt x="1436073" y="62295"/>
                  </a:moveTo>
                  <a:cubicBezTo>
                    <a:pt x="1443039" y="53338"/>
                    <a:pt x="1423301" y="53338"/>
                    <a:pt x="1421311" y="44547"/>
                  </a:cubicBezTo>
                  <a:cubicBezTo>
                    <a:pt x="1419320" y="35756"/>
                    <a:pt x="1364418" y="33766"/>
                    <a:pt x="1367403" y="43552"/>
                  </a:cubicBezTo>
                  <a:cubicBezTo>
                    <a:pt x="1370389" y="53338"/>
                    <a:pt x="1329254" y="64120"/>
                    <a:pt x="1341860" y="74072"/>
                  </a:cubicBezTo>
                  <a:cubicBezTo>
                    <a:pt x="1365413" y="92151"/>
                    <a:pt x="1429272" y="70588"/>
                    <a:pt x="1436073" y="62295"/>
                  </a:cubicBezTo>
                  <a:close/>
                  <a:moveTo>
                    <a:pt x="1279825" y="45708"/>
                  </a:moveTo>
                  <a:cubicBezTo>
                    <a:pt x="1282810" y="25141"/>
                    <a:pt x="1248476" y="41727"/>
                    <a:pt x="1222932" y="30946"/>
                  </a:cubicBezTo>
                  <a:cubicBezTo>
                    <a:pt x="1197388" y="20164"/>
                    <a:pt x="1182294" y="20994"/>
                    <a:pt x="1199379" y="35922"/>
                  </a:cubicBezTo>
                  <a:cubicBezTo>
                    <a:pt x="1207175" y="42723"/>
                    <a:pt x="1155590" y="48196"/>
                    <a:pt x="1163883" y="56490"/>
                  </a:cubicBezTo>
                  <a:cubicBezTo>
                    <a:pt x="1182626" y="75565"/>
                    <a:pt x="1277005" y="66608"/>
                    <a:pt x="1279825" y="45708"/>
                  </a:cubicBezTo>
                  <a:close/>
                  <a:moveTo>
                    <a:pt x="1133529" y="591083"/>
                  </a:moveTo>
                  <a:cubicBezTo>
                    <a:pt x="1134524" y="600869"/>
                    <a:pt x="1128553" y="607670"/>
                    <a:pt x="1109976" y="607670"/>
                  </a:cubicBezTo>
                  <a:cubicBezTo>
                    <a:pt x="1091398" y="607670"/>
                    <a:pt x="1118767" y="619447"/>
                    <a:pt x="1120757" y="630228"/>
                  </a:cubicBezTo>
                  <a:cubicBezTo>
                    <a:pt x="1122748" y="641010"/>
                    <a:pt x="1102014" y="633048"/>
                    <a:pt x="1101019" y="649801"/>
                  </a:cubicBezTo>
                  <a:cubicBezTo>
                    <a:pt x="1100024" y="666553"/>
                    <a:pt x="1064694" y="649801"/>
                    <a:pt x="1059883" y="671363"/>
                  </a:cubicBezTo>
                  <a:cubicBezTo>
                    <a:pt x="1055074" y="692926"/>
                    <a:pt x="1077465" y="690107"/>
                    <a:pt x="1093057" y="691102"/>
                  </a:cubicBezTo>
                  <a:cubicBezTo>
                    <a:pt x="1108649" y="692097"/>
                    <a:pt x="1087086" y="706859"/>
                    <a:pt x="1098863" y="715650"/>
                  </a:cubicBezTo>
                  <a:cubicBezTo>
                    <a:pt x="1110639" y="724441"/>
                    <a:pt x="1119596" y="721622"/>
                    <a:pt x="1111634" y="704869"/>
                  </a:cubicBezTo>
                  <a:cubicBezTo>
                    <a:pt x="1103673" y="688116"/>
                    <a:pt x="1152936" y="710840"/>
                    <a:pt x="1138173" y="723612"/>
                  </a:cubicBezTo>
                  <a:cubicBezTo>
                    <a:pt x="1123411" y="736384"/>
                    <a:pt x="1161727" y="746170"/>
                    <a:pt x="1180470" y="747165"/>
                  </a:cubicBezTo>
                  <a:cubicBezTo>
                    <a:pt x="1199213" y="748161"/>
                    <a:pt x="1265394" y="762591"/>
                    <a:pt x="1266887" y="747165"/>
                  </a:cubicBezTo>
                  <a:cubicBezTo>
                    <a:pt x="1267882" y="737213"/>
                    <a:pt x="1242339" y="728422"/>
                    <a:pt x="1221771" y="706859"/>
                  </a:cubicBezTo>
                  <a:cubicBezTo>
                    <a:pt x="1201204" y="685296"/>
                    <a:pt x="1186441" y="649801"/>
                    <a:pt x="1209995" y="635038"/>
                  </a:cubicBezTo>
                  <a:cubicBezTo>
                    <a:pt x="1233548" y="620276"/>
                    <a:pt x="1212980" y="613475"/>
                    <a:pt x="1236533" y="596723"/>
                  </a:cubicBezTo>
                  <a:cubicBezTo>
                    <a:pt x="1260087" y="579970"/>
                    <a:pt x="1246320" y="564378"/>
                    <a:pt x="1265892" y="562388"/>
                  </a:cubicBezTo>
                  <a:cubicBezTo>
                    <a:pt x="1285464" y="560398"/>
                    <a:pt x="1264067" y="542816"/>
                    <a:pt x="1283640" y="539830"/>
                  </a:cubicBezTo>
                  <a:cubicBezTo>
                    <a:pt x="1298054" y="537159"/>
                    <a:pt x="1307558" y="523310"/>
                    <a:pt x="1304887" y="508895"/>
                  </a:cubicBezTo>
                  <a:cubicBezTo>
                    <a:pt x="1304755" y="508132"/>
                    <a:pt x="1304573" y="507386"/>
                    <a:pt x="1304374" y="506656"/>
                  </a:cubicBezTo>
                  <a:cubicBezTo>
                    <a:pt x="1301388" y="498861"/>
                    <a:pt x="1324941" y="507652"/>
                    <a:pt x="1335722" y="495875"/>
                  </a:cubicBezTo>
                  <a:cubicBezTo>
                    <a:pt x="1346504" y="484098"/>
                    <a:pt x="1372048" y="492060"/>
                    <a:pt x="1380010" y="475307"/>
                  </a:cubicBezTo>
                  <a:cubicBezTo>
                    <a:pt x="1387971" y="458554"/>
                    <a:pt x="1500762" y="420239"/>
                    <a:pt x="1564787" y="405477"/>
                  </a:cubicBezTo>
                  <a:cubicBezTo>
                    <a:pt x="1628812" y="390714"/>
                    <a:pt x="1672767" y="364175"/>
                    <a:pt x="1650209" y="346593"/>
                  </a:cubicBezTo>
                  <a:cubicBezTo>
                    <a:pt x="1627651" y="329011"/>
                    <a:pt x="1563625" y="353394"/>
                    <a:pt x="1548034" y="366166"/>
                  </a:cubicBezTo>
                  <a:cubicBezTo>
                    <a:pt x="1532443" y="378938"/>
                    <a:pt x="1509718" y="370147"/>
                    <a:pt x="1493961" y="378938"/>
                  </a:cubicBezTo>
                  <a:cubicBezTo>
                    <a:pt x="1478203" y="387729"/>
                    <a:pt x="1444200" y="395524"/>
                    <a:pt x="1427614" y="384909"/>
                  </a:cubicBezTo>
                  <a:cubicBezTo>
                    <a:pt x="1411027" y="374293"/>
                    <a:pt x="1391288" y="397681"/>
                    <a:pt x="1377853" y="396686"/>
                  </a:cubicBezTo>
                  <a:cubicBezTo>
                    <a:pt x="1364418" y="395690"/>
                    <a:pt x="1350319" y="409457"/>
                    <a:pt x="1336552" y="408462"/>
                  </a:cubicBezTo>
                  <a:cubicBezTo>
                    <a:pt x="1322785" y="407467"/>
                    <a:pt x="1295251" y="419244"/>
                    <a:pt x="1293260" y="427040"/>
                  </a:cubicBezTo>
                  <a:cubicBezTo>
                    <a:pt x="1291270" y="434835"/>
                    <a:pt x="1267716" y="433011"/>
                    <a:pt x="1267716" y="442797"/>
                  </a:cubicBezTo>
                  <a:cubicBezTo>
                    <a:pt x="1264897" y="452567"/>
                    <a:pt x="1254696" y="458206"/>
                    <a:pt x="1244926" y="455386"/>
                  </a:cubicBezTo>
                  <a:cubicBezTo>
                    <a:pt x="1242870" y="454789"/>
                    <a:pt x="1240929" y="453844"/>
                    <a:pt x="1239187" y="452583"/>
                  </a:cubicBezTo>
                  <a:cubicBezTo>
                    <a:pt x="1229401" y="443792"/>
                    <a:pt x="1217624" y="462535"/>
                    <a:pt x="1231391" y="475307"/>
                  </a:cubicBezTo>
                  <a:cubicBezTo>
                    <a:pt x="1245159" y="488079"/>
                    <a:pt x="1205848" y="489074"/>
                    <a:pt x="1212648" y="496870"/>
                  </a:cubicBezTo>
                  <a:cubicBezTo>
                    <a:pt x="1219449" y="504666"/>
                    <a:pt x="1198052" y="509642"/>
                    <a:pt x="1202862" y="518433"/>
                  </a:cubicBezTo>
                  <a:cubicBezTo>
                    <a:pt x="1207672" y="527224"/>
                    <a:pt x="1189095" y="530375"/>
                    <a:pt x="1174332" y="533195"/>
                  </a:cubicBezTo>
                  <a:cubicBezTo>
                    <a:pt x="1159570" y="536015"/>
                    <a:pt x="1151775" y="555753"/>
                    <a:pt x="1170518" y="556748"/>
                  </a:cubicBezTo>
                  <a:cubicBezTo>
                    <a:pt x="1189261" y="557744"/>
                    <a:pt x="1159736" y="560729"/>
                    <a:pt x="1161727" y="575492"/>
                  </a:cubicBezTo>
                  <a:cubicBezTo>
                    <a:pt x="1163717" y="590254"/>
                    <a:pt x="1132534" y="581629"/>
                    <a:pt x="1133529" y="591415"/>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588" name="Freeform: Shape 587">
              <a:extLst>
                <a:ext uri="{FF2B5EF4-FFF2-40B4-BE49-F238E27FC236}">
                  <a16:creationId xmlns:a16="http://schemas.microsoft.com/office/drawing/2014/main" id="{A591D8CB-588B-4A76-8125-229F94C6595A}"/>
                </a:ext>
              </a:extLst>
            </p:cNvPr>
            <p:cNvSpPr/>
            <p:nvPr/>
          </p:nvSpPr>
          <p:spPr>
            <a:xfrm>
              <a:off x="7257200" y="3474033"/>
              <a:ext cx="211477" cy="140620"/>
            </a:xfrm>
            <a:custGeom>
              <a:avLst/>
              <a:gdLst>
                <a:gd name="connsiteX0" fmla="*/ 233791 w 247307"/>
                <a:gd name="connsiteY0" fmla="*/ 145521 h 167663"/>
                <a:gd name="connsiteX1" fmla="*/ 242748 w 247307"/>
                <a:gd name="connsiteY1" fmla="*/ 128105 h 167663"/>
                <a:gd name="connsiteX2" fmla="*/ 247227 w 247307"/>
                <a:gd name="connsiteY2" fmla="*/ 106542 h 167663"/>
                <a:gd name="connsiteX3" fmla="*/ 214053 w 247307"/>
                <a:gd name="connsiteY3" fmla="*/ 85477 h 167663"/>
                <a:gd name="connsiteX4" fmla="*/ 208745 w 247307"/>
                <a:gd name="connsiteY4" fmla="*/ 56615 h 167663"/>
                <a:gd name="connsiteX5" fmla="*/ 165453 w 247307"/>
                <a:gd name="connsiteY5" fmla="*/ 59269 h 167663"/>
                <a:gd name="connsiteX6" fmla="*/ 137920 w 247307"/>
                <a:gd name="connsiteY6" fmla="*/ 53962 h 167663"/>
                <a:gd name="connsiteX7" fmla="*/ 107731 w 247307"/>
                <a:gd name="connsiteY7" fmla="*/ 52635 h 167663"/>
                <a:gd name="connsiteX8" fmla="*/ 60625 w 247307"/>
                <a:gd name="connsiteY8" fmla="*/ 48820 h 167663"/>
                <a:gd name="connsiteX9" fmla="*/ 84178 w 247307"/>
                <a:gd name="connsiteY9" fmla="*/ 29081 h 167663"/>
                <a:gd name="connsiteX10" fmla="*/ 94462 w 247307"/>
                <a:gd name="connsiteY10" fmla="*/ 29081 h 167663"/>
                <a:gd name="connsiteX11" fmla="*/ 106073 w 247307"/>
                <a:gd name="connsiteY11" fmla="*/ 1713 h 167663"/>
                <a:gd name="connsiteX12" fmla="*/ 83515 w 247307"/>
                <a:gd name="connsiteY12" fmla="*/ 6689 h 167663"/>
                <a:gd name="connsiteX13" fmla="*/ 57971 w 247307"/>
                <a:gd name="connsiteY13" fmla="*/ 12494 h 167663"/>
                <a:gd name="connsiteX14" fmla="*/ 42213 w 247307"/>
                <a:gd name="connsiteY14" fmla="*/ 30242 h 167663"/>
                <a:gd name="connsiteX15" fmla="*/ 31432 w 247307"/>
                <a:gd name="connsiteY15" fmla="*/ 48986 h 167663"/>
                <a:gd name="connsiteX16" fmla="*/ 83 w 247307"/>
                <a:gd name="connsiteY16" fmla="*/ 60762 h 167663"/>
                <a:gd name="connsiteX17" fmla="*/ 20651 w 247307"/>
                <a:gd name="connsiteY17" fmla="*/ 86306 h 167663"/>
                <a:gd name="connsiteX18" fmla="*/ 24631 w 247307"/>
                <a:gd name="connsiteY18" fmla="*/ 115831 h 167663"/>
                <a:gd name="connsiteX19" fmla="*/ 10864 w 247307"/>
                <a:gd name="connsiteY19" fmla="*/ 150497 h 167663"/>
                <a:gd name="connsiteX20" fmla="*/ 26456 w 247307"/>
                <a:gd name="connsiteY20" fmla="*/ 152156 h 167663"/>
                <a:gd name="connsiteX21" fmla="*/ 60625 w 247307"/>
                <a:gd name="connsiteY21" fmla="*/ 142867 h 167663"/>
                <a:gd name="connsiteX22" fmla="*/ 91974 w 247307"/>
                <a:gd name="connsiteY22" fmla="*/ 127110 h 167663"/>
                <a:gd name="connsiteX23" fmla="*/ 122162 w 247307"/>
                <a:gd name="connsiteY23" fmla="*/ 98249 h 167663"/>
                <a:gd name="connsiteX24" fmla="*/ 135266 w 247307"/>
                <a:gd name="connsiteY24" fmla="*/ 125783 h 167663"/>
                <a:gd name="connsiteX25" fmla="*/ 136592 w 247307"/>
                <a:gd name="connsiteY25" fmla="*/ 165259 h 167663"/>
                <a:gd name="connsiteX26" fmla="*/ 152350 w 247307"/>
                <a:gd name="connsiteY26" fmla="*/ 165259 h 167663"/>
                <a:gd name="connsiteX27" fmla="*/ 170098 w 247307"/>
                <a:gd name="connsiteY27" fmla="*/ 159454 h 167663"/>
                <a:gd name="connsiteX28" fmla="*/ 217702 w 247307"/>
                <a:gd name="connsiteY28" fmla="*/ 159454 h 167663"/>
                <a:gd name="connsiteX29" fmla="*/ 233791 w 247307"/>
                <a:gd name="connsiteY29" fmla="*/ 145521 h 16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7307" h="167663">
                  <a:moveTo>
                    <a:pt x="233791" y="145521"/>
                  </a:moveTo>
                  <a:cubicBezTo>
                    <a:pt x="239265" y="135569"/>
                    <a:pt x="242748" y="128105"/>
                    <a:pt x="242748" y="128105"/>
                  </a:cubicBezTo>
                  <a:cubicBezTo>
                    <a:pt x="246098" y="121437"/>
                    <a:pt x="247641" y="114006"/>
                    <a:pt x="247227" y="106542"/>
                  </a:cubicBezTo>
                  <a:cubicBezTo>
                    <a:pt x="245900" y="96092"/>
                    <a:pt x="214053" y="85477"/>
                    <a:pt x="214053" y="85477"/>
                  </a:cubicBezTo>
                  <a:lnTo>
                    <a:pt x="208745" y="56615"/>
                  </a:lnTo>
                  <a:cubicBezTo>
                    <a:pt x="194447" y="59037"/>
                    <a:pt x="179934" y="59933"/>
                    <a:pt x="165453" y="59269"/>
                  </a:cubicBezTo>
                  <a:cubicBezTo>
                    <a:pt x="158985" y="56615"/>
                    <a:pt x="144554" y="63250"/>
                    <a:pt x="137920" y="53962"/>
                  </a:cubicBezTo>
                  <a:cubicBezTo>
                    <a:pt x="131285" y="44673"/>
                    <a:pt x="119674" y="60596"/>
                    <a:pt x="107731" y="52635"/>
                  </a:cubicBezTo>
                  <a:cubicBezTo>
                    <a:pt x="95789" y="44673"/>
                    <a:pt x="61952" y="55289"/>
                    <a:pt x="60625" y="48820"/>
                  </a:cubicBezTo>
                  <a:cubicBezTo>
                    <a:pt x="59298" y="42351"/>
                    <a:pt x="74889" y="27755"/>
                    <a:pt x="84178" y="29081"/>
                  </a:cubicBezTo>
                  <a:cubicBezTo>
                    <a:pt x="87595" y="29380"/>
                    <a:pt x="91045" y="29380"/>
                    <a:pt x="94462" y="29081"/>
                  </a:cubicBezTo>
                  <a:cubicBezTo>
                    <a:pt x="98774" y="22115"/>
                    <a:pt x="108395" y="5694"/>
                    <a:pt x="106073" y="1713"/>
                  </a:cubicBezTo>
                  <a:cubicBezTo>
                    <a:pt x="103750" y="-2268"/>
                    <a:pt x="91310" y="718"/>
                    <a:pt x="83515" y="6689"/>
                  </a:cubicBezTo>
                  <a:cubicBezTo>
                    <a:pt x="75719" y="12660"/>
                    <a:pt x="60957" y="3703"/>
                    <a:pt x="57971" y="12494"/>
                  </a:cubicBezTo>
                  <a:cubicBezTo>
                    <a:pt x="54985" y="21286"/>
                    <a:pt x="51170" y="30242"/>
                    <a:pt x="42213" y="30242"/>
                  </a:cubicBezTo>
                  <a:cubicBezTo>
                    <a:pt x="33256" y="30242"/>
                    <a:pt x="40223" y="45005"/>
                    <a:pt x="31432" y="48986"/>
                  </a:cubicBezTo>
                  <a:cubicBezTo>
                    <a:pt x="22641" y="52966"/>
                    <a:pt x="1907" y="51805"/>
                    <a:pt x="83" y="60762"/>
                  </a:cubicBezTo>
                  <a:cubicBezTo>
                    <a:pt x="-1742" y="69719"/>
                    <a:pt x="22641" y="75524"/>
                    <a:pt x="20651" y="86306"/>
                  </a:cubicBezTo>
                  <a:cubicBezTo>
                    <a:pt x="18660" y="97087"/>
                    <a:pt x="33422" y="108864"/>
                    <a:pt x="24631" y="115831"/>
                  </a:cubicBezTo>
                  <a:cubicBezTo>
                    <a:pt x="14265" y="124157"/>
                    <a:pt x="9040" y="137327"/>
                    <a:pt x="10864" y="150497"/>
                  </a:cubicBezTo>
                  <a:cubicBezTo>
                    <a:pt x="17333" y="154478"/>
                    <a:pt x="23305" y="158127"/>
                    <a:pt x="26456" y="152156"/>
                  </a:cubicBezTo>
                  <a:cubicBezTo>
                    <a:pt x="31598" y="141540"/>
                    <a:pt x="60625" y="152156"/>
                    <a:pt x="60625" y="142867"/>
                  </a:cubicBezTo>
                  <a:cubicBezTo>
                    <a:pt x="60625" y="133578"/>
                    <a:pt x="91974" y="136398"/>
                    <a:pt x="91974" y="127110"/>
                  </a:cubicBezTo>
                  <a:cubicBezTo>
                    <a:pt x="91974" y="117821"/>
                    <a:pt x="110385" y="96922"/>
                    <a:pt x="122162" y="98249"/>
                  </a:cubicBezTo>
                  <a:cubicBezTo>
                    <a:pt x="133938" y="99575"/>
                    <a:pt x="121001" y="119314"/>
                    <a:pt x="135266" y="125783"/>
                  </a:cubicBezTo>
                  <a:cubicBezTo>
                    <a:pt x="149530" y="132251"/>
                    <a:pt x="128797" y="155971"/>
                    <a:pt x="136592" y="165259"/>
                  </a:cubicBezTo>
                  <a:cubicBezTo>
                    <a:pt x="139578" y="168577"/>
                    <a:pt x="145383" y="168079"/>
                    <a:pt x="152350" y="165259"/>
                  </a:cubicBezTo>
                  <a:cubicBezTo>
                    <a:pt x="159316" y="162440"/>
                    <a:pt x="163795" y="161444"/>
                    <a:pt x="170098" y="159454"/>
                  </a:cubicBezTo>
                  <a:cubicBezTo>
                    <a:pt x="176401" y="157463"/>
                    <a:pt x="201613" y="161113"/>
                    <a:pt x="217702" y="159454"/>
                  </a:cubicBezTo>
                  <a:cubicBezTo>
                    <a:pt x="233791" y="157795"/>
                    <a:pt x="231967" y="148672"/>
                    <a:pt x="233791" y="145521"/>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89" name="Freeform: Shape 588">
              <a:extLst>
                <a:ext uri="{FF2B5EF4-FFF2-40B4-BE49-F238E27FC236}">
                  <a16:creationId xmlns:a16="http://schemas.microsoft.com/office/drawing/2014/main" id="{730E91C2-7112-424C-86D4-B92815202852}"/>
                </a:ext>
              </a:extLst>
            </p:cNvPr>
            <p:cNvSpPr/>
            <p:nvPr/>
          </p:nvSpPr>
          <p:spPr>
            <a:xfrm>
              <a:off x="6556749" y="3457865"/>
              <a:ext cx="95314" cy="79315"/>
            </a:xfrm>
            <a:custGeom>
              <a:avLst/>
              <a:gdLst>
                <a:gd name="connsiteX0" fmla="*/ 104150 w 111463"/>
                <a:gd name="connsiteY0" fmla="*/ 73404 h 94568"/>
                <a:gd name="connsiteX1" fmla="*/ 83583 w 111463"/>
                <a:gd name="connsiteY1" fmla="*/ 48855 h 94568"/>
                <a:gd name="connsiteX2" fmla="*/ 71640 w 111463"/>
                <a:gd name="connsiteY2" fmla="*/ 22316 h 94568"/>
                <a:gd name="connsiteX3" fmla="*/ 62517 w 111463"/>
                <a:gd name="connsiteY3" fmla="*/ 3076 h 94568"/>
                <a:gd name="connsiteX4" fmla="*/ 33159 w 111463"/>
                <a:gd name="connsiteY4" fmla="*/ 90 h 94568"/>
                <a:gd name="connsiteX5" fmla="*/ -15 w 111463"/>
                <a:gd name="connsiteY5" fmla="*/ 6891 h 94568"/>
                <a:gd name="connsiteX6" fmla="*/ 7283 w 111463"/>
                <a:gd name="connsiteY6" fmla="*/ 33264 h 94568"/>
                <a:gd name="connsiteX7" fmla="*/ 32827 w 111463"/>
                <a:gd name="connsiteY7" fmla="*/ 44045 h 94568"/>
                <a:gd name="connsiteX8" fmla="*/ 38964 w 111463"/>
                <a:gd name="connsiteY8" fmla="*/ 56153 h 94568"/>
                <a:gd name="connsiteX9" fmla="*/ 42116 w 111463"/>
                <a:gd name="connsiteY9" fmla="*/ 56153 h 94568"/>
                <a:gd name="connsiteX10" fmla="*/ 50907 w 111463"/>
                <a:gd name="connsiteY10" fmla="*/ 63452 h 94568"/>
                <a:gd name="connsiteX11" fmla="*/ 67494 w 111463"/>
                <a:gd name="connsiteY11" fmla="*/ 71082 h 94568"/>
                <a:gd name="connsiteX12" fmla="*/ 83085 w 111463"/>
                <a:gd name="connsiteY12" fmla="*/ 76721 h 94568"/>
                <a:gd name="connsiteX13" fmla="*/ 90051 w 111463"/>
                <a:gd name="connsiteY13" fmla="*/ 94469 h 94568"/>
                <a:gd name="connsiteX14" fmla="*/ 111449 w 111463"/>
                <a:gd name="connsiteY14" fmla="*/ 89825 h 94568"/>
                <a:gd name="connsiteX15" fmla="*/ 104150 w 111463"/>
                <a:gd name="connsiteY15" fmla="*/ 73404 h 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463" h="94568">
                  <a:moveTo>
                    <a:pt x="104150" y="73404"/>
                  </a:moveTo>
                  <a:cubicBezTo>
                    <a:pt x="104150" y="65608"/>
                    <a:pt x="83583" y="58642"/>
                    <a:pt x="83583" y="48855"/>
                  </a:cubicBezTo>
                  <a:cubicBezTo>
                    <a:pt x="83583" y="39069"/>
                    <a:pt x="69815" y="30278"/>
                    <a:pt x="71640" y="22316"/>
                  </a:cubicBezTo>
                  <a:cubicBezTo>
                    <a:pt x="73133" y="17008"/>
                    <a:pt x="66166" y="9213"/>
                    <a:pt x="62517" y="3076"/>
                  </a:cubicBezTo>
                  <a:cubicBezTo>
                    <a:pt x="52963" y="455"/>
                    <a:pt x="43045" y="-557"/>
                    <a:pt x="33159" y="90"/>
                  </a:cubicBezTo>
                  <a:cubicBezTo>
                    <a:pt x="20719" y="1583"/>
                    <a:pt x="11596" y="5066"/>
                    <a:pt x="-15" y="6891"/>
                  </a:cubicBezTo>
                  <a:cubicBezTo>
                    <a:pt x="6454" y="16677"/>
                    <a:pt x="1809" y="19497"/>
                    <a:pt x="7283" y="33264"/>
                  </a:cubicBezTo>
                  <a:cubicBezTo>
                    <a:pt x="12757" y="47031"/>
                    <a:pt x="28017" y="40064"/>
                    <a:pt x="32827" y="44045"/>
                  </a:cubicBezTo>
                  <a:cubicBezTo>
                    <a:pt x="35713" y="47595"/>
                    <a:pt x="37820" y="51725"/>
                    <a:pt x="38964" y="56153"/>
                  </a:cubicBezTo>
                  <a:cubicBezTo>
                    <a:pt x="40009" y="56004"/>
                    <a:pt x="41070" y="56004"/>
                    <a:pt x="42116" y="56153"/>
                  </a:cubicBezTo>
                  <a:cubicBezTo>
                    <a:pt x="46295" y="56502"/>
                    <a:pt x="49812" y="59404"/>
                    <a:pt x="50907" y="63452"/>
                  </a:cubicBezTo>
                  <a:cubicBezTo>
                    <a:pt x="56745" y="65276"/>
                    <a:pt x="62318" y="67847"/>
                    <a:pt x="67494" y="71082"/>
                  </a:cubicBezTo>
                  <a:cubicBezTo>
                    <a:pt x="71640" y="72906"/>
                    <a:pt x="74460" y="67267"/>
                    <a:pt x="83085" y="76721"/>
                  </a:cubicBezTo>
                  <a:cubicBezTo>
                    <a:pt x="91710" y="86176"/>
                    <a:pt x="91047" y="87005"/>
                    <a:pt x="90051" y="94469"/>
                  </a:cubicBezTo>
                  <a:cubicBezTo>
                    <a:pt x="97433" y="94469"/>
                    <a:pt x="104731" y="92893"/>
                    <a:pt x="111449" y="89825"/>
                  </a:cubicBezTo>
                  <a:cubicBezTo>
                    <a:pt x="107949" y="84898"/>
                    <a:pt x="105461" y="79309"/>
                    <a:pt x="104150" y="73404"/>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90" name="Freeform: Shape 589">
              <a:extLst>
                <a:ext uri="{FF2B5EF4-FFF2-40B4-BE49-F238E27FC236}">
                  <a16:creationId xmlns:a16="http://schemas.microsoft.com/office/drawing/2014/main" id="{891D89FE-61A7-472C-AC06-8F4566829286}"/>
                </a:ext>
              </a:extLst>
            </p:cNvPr>
            <p:cNvSpPr/>
            <p:nvPr/>
          </p:nvSpPr>
          <p:spPr>
            <a:xfrm>
              <a:off x="6599584" y="3440079"/>
              <a:ext cx="136562" cy="112683"/>
            </a:xfrm>
            <a:custGeom>
              <a:avLst/>
              <a:gdLst>
                <a:gd name="connsiteX0" fmla="*/ 156233 w 159699"/>
                <a:gd name="connsiteY0" fmla="*/ 43524 h 134353"/>
                <a:gd name="connsiteX1" fmla="*/ 126543 w 159699"/>
                <a:gd name="connsiteY1" fmla="*/ 5208 h 134353"/>
                <a:gd name="connsiteX2" fmla="*/ 105145 w 159699"/>
                <a:gd name="connsiteY2" fmla="*/ 21795 h 134353"/>
                <a:gd name="connsiteX3" fmla="*/ 90383 w 159699"/>
                <a:gd name="connsiteY3" fmla="*/ 21795 h 134353"/>
                <a:gd name="connsiteX4" fmla="*/ 65337 w 159699"/>
                <a:gd name="connsiteY4" fmla="*/ 4047 h 134353"/>
                <a:gd name="connsiteX5" fmla="*/ 54722 w 159699"/>
                <a:gd name="connsiteY5" fmla="*/ -100 h 134353"/>
                <a:gd name="connsiteX6" fmla="*/ 48087 w 159699"/>
                <a:gd name="connsiteY6" fmla="*/ 12009 h 134353"/>
                <a:gd name="connsiteX7" fmla="*/ 58869 w 159699"/>
                <a:gd name="connsiteY7" fmla="*/ 26771 h 134353"/>
                <a:gd name="connsiteX8" fmla="*/ 33491 w 159699"/>
                <a:gd name="connsiteY8" fmla="*/ 24781 h 134353"/>
                <a:gd name="connsiteX9" fmla="*/ 10767 w 159699"/>
                <a:gd name="connsiteY9" fmla="*/ 17814 h 134353"/>
                <a:gd name="connsiteX10" fmla="*/ 21548 w 159699"/>
                <a:gd name="connsiteY10" fmla="*/ 44353 h 134353"/>
                <a:gd name="connsiteX11" fmla="*/ 33491 w 159699"/>
                <a:gd name="connsiteY11" fmla="*/ 70892 h 134353"/>
                <a:gd name="connsiteX12" fmla="*/ 54058 w 159699"/>
                <a:gd name="connsiteY12" fmla="*/ 95441 h 134353"/>
                <a:gd name="connsiteX13" fmla="*/ 60527 w 159699"/>
                <a:gd name="connsiteY13" fmla="*/ 112028 h 134353"/>
                <a:gd name="connsiteX14" fmla="*/ 100336 w 159699"/>
                <a:gd name="connsiteY14" fmla="*/ 87479 h 134353"/>
                <a:gd name="connsiteX15" fmla="*/ 106970 w 159699"/>
                <a:gd name="connsiteY15" fmla="*/ 117667 h 134353"/>
                <a:gd name="connsiteX16" fmla="*/ 130689 w 159699"/>
                <a:gd name="connsiteY16" fmla="*/ 134254 h 134353"/>
                <a:gd name="connsiteX17" fmla="*/ 136661 w 159699"/>
                <a:gd name="connsiteY17" fmla="*/ 114516 h 134353"/>
                <a:gd name="connsiteX18" fmla="*/ 156233 w 159699"/>
                <a:gd name="connsiteY18" fmla="*/ 43524 h 134353"/>
                <a:gd name="connsiteX19" fmla="*/ 16572 w 159699"/>
                <a:gd name="connsiteY19" fmla="*/ 92455 h 134353"/>
                <a:gd name="connsiteX20" fmla="*/ -15 w 159699"/>
                <a:gd name="connsiteY20" fmla="*/ 84825 h 134353"/>
                <a:gd name="connsiteX21" fmla="*/ 10767 w 159699"/>
                <a:gd name="connsiteY21" fmla="*/ 102407 h 134353"/>
                <a:gd name="connsiteX22" fmla="*/ 33159 w 159699"/>
                <a:gd name="connsiteY22" fmla="*/ 115511 h 134353"/>
                <a:gd name="connsiteX23" fmla="*/ 38798 w 159699"/>
                <a:gd name="connsiteY23" fmla="*/ 115511 h 134353"/>
                <a:gd name="connsiteX24" fmla="*/ 31832 w 159699"/>
                <a:gd name="connsiteY24" fmla="*/ 97763 h 134353"/>
                <a:gd name="connsiteX25" fmla="*/ 16572 w 159699"/>
                <a:gd name="connsiteY25" fmla="*/ 92455 h 134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9699" h="134353">
                  <a:moveTo>
                    <a:pt x="156233" y="43524"/>
                  </a:moveTo>
                  <a:cubicBezTo>
                    <a:pt x="147094" y="30188"/>
                    <a:pt x="137175" y="17383"/>
                    <a:pt x="126543" y="5208"/>
                  </a:cubicBezTo>
                  <a:cubicBezTo>
                    <a:pt x="122396" y="17317"/>
                    <a:pt x="107965" y="13999"/>
                    <a:pt x="105145" y="21795"/>
                  </a:cubicBezTo>
                  <a:cubicBezTo>
                    <a:pt x="102326" y="29591"/>
                    <a:pt x="94862" y="20302"/>
                    <a:pt x="90383" y="21795"/>
                  </a:cubicBezTo>
                  <a:cubicBezTo>
                    <a:pt x="85905" y="23288"/>
                    <a:pt x="75621" y="5208"/>
                    <a:pt x="65337" y="4047"/>
                  </a:cubicBezTo>
                  <a:cubicBezTo>
                    <a:pt x="61589" y="3284"/>
                    <a:pt x="57989" y="1891"/>
                    <a:pt x="54722" y="-100"/>
                  </a:cubicBezTo>
                  <a:cubicBezTo>
                    <a:pt x="50575" y="4379"/>
                    <a:pt x="46594" y="9521"/>
                    <a:pt x="48087" y="12009"/>
                  </a:cubicBezTo>
                  <a:cubicBezTo>
                    <a:pt x="49580" y="14497"/>
                    <a:pt x="63844" y="21795"/>
                    <a:pt x="58869" y="26771"/>
                  </a:cubicBezTo>
                  <a:cubicBezTo>
                    <a:pt x="50708" y="30934"/>
                    <a:pt x="40905" y="30155"/>
                    <a:pt x="33491" y="24781"/>
                  </a:cubicBezTo>
                  <a:cubicBezTo>
                    <a:pt x="28514" y="19805"/>
                    <a:pt x="13752" y="12009"/>
                    <a:pt x="10767" y="17814"/>
                  </a:cubicBezTo>
                  <a:cubicBezTo>
                    <a:pt x="7781" y="23620"/>
                    <a:pt x="23539" y="36557"/>
                    <a:pt x="21548" y="44353"/>
                  </a:cubicBezTo>
                  <a:cubicBezTo>
                    <a:pt x="19558" y="52149"/>
                    <a:pt x="33491" y="60940"/>
                    <a:pt x="33491" y="70892"/>
                  </a:cubicBezTo>
                  <a:cubicBezTo>
                    <a:pt x="33491" y="80844"/>
                    <a:pt x="54058" y="87479"/>
                    <a:pt x="54058" y="95441"/>
                  </a:cubicBezTo>
                  <a:cubicBezTo>
                    <a:pt x="55103" y="101346"/>
                    <a:pt x="57293" y="106985"/>
                    <a:pt x="60527" y="112028"/>
                  </a:cubicBezTo>
                  <a:cubicBezTo>
                    <a:pt x="74245" y="104597"/>
                    <a:pt x="87531" y="96403"/>
                    <a:pt x="100336" y="87479"/>
                  </a:cubicBezTo>
                  <a:cubicBezTo>
                    <a:pt x="116093" y="79517"/>
                    <a:pt x="109624" y="112359"/>
                    <a:pt x="106970" y="117667"/>
                  </a:cubicBezTo>
                  <a:cubicBezTo>
                    <a:pt x="104316" y="122975"/>
                    <a:pt x="117586" y="129775"/>
                    <a:pt x="130689" y="134254"/>
                  </a:cubicBezTo>
                  <a:cubicBezTo>
                    <a:pt x="130109" y="127155"/>
                    <a:pt x="132248" y="120105"/>
                    <a:pt x="136661" y="114516"/>
                  </a:cubicBezTo>
                  <a:cubicBezTo>
                    <a:pt x="153579" y="93616"/>
                    <a:pt x="166019" y="61272"/>
                    <a:pt x="156233" y="43524"/>
                  </a:cubicBezTo>
                  <a:close/>
                  <a:moveTo>
                    <a:pt x="16572" y="92455"/>
                  </a:moveTo>
                  <a:cubicBezTo>
                    <a:pt x="11397" y="89221"/>
                    <a:pt x="5824" y="86650"/>
                    <a:pt x="-15" y="84825"/>
                  </a:cubicBezTo>
                  <a:cubicBezTo>
                    <a:pt x="1975" y="90630"/>
                    <a:pt x="1810" y="98261"/>
                    <a:pt x="10767" y="102407"/>
                  </a:cubicBezTo>
                  <a:cubicBezTo>
                    <a:pt x="25197" y="108876"/>
                    <a:pt x="4298" y="111530"/>
                    <a:pt x="33159" y="115511"/>
                  </a:cubicBezTo>
                  <a:lnTo>
                    <a:pt x="38798" y="115511"/>
                  </a:lnTo>
                  <a:cubicBezTo>
                    <a:pt x="39794" y="108047"/>
                    <a:pt x="38798" y="106056"/>
                    <a:pt x="31832" y="97763"/>
                  </a:cubicBezTo>
                  <a:cubicBezTo>
                    <a:pt x="24865" y="89470"/>
                    <a:pt x="20885" y="94280"/>
                    <a:pt x="16572" y="92455"/>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91" name="Freeform: Shape 590">
              <a:extLst>
                <a:ext uri="{FF2B5EF4-FFF2-40B4-BE49-F238E27FC236}">
                  <a16:creationId xmlns:a16="http://schemas.microsoft.com/office/drawing/2014/main" id="{D98788E6-78E6-4179-91E0-91FBB1666E53}"/>
                </a:ext>
              </a:extLst>
            </p:cNvPr>
            <p:cNvSpPr/>
            <p:nvPr/>
          </p:nvSpPr>
          <p:spPr>
            <a:xfrm>
              <a:off x="7055101" y="3556746"/>
              <a:ext cx="390116" cy="283149"/>
            </a:xfrm>
            <a:custGeom>
              <a:avLst/>
              <a:gdLst>
                <a:gd name="connsiteX0" fmla="*/ 456198 w 456212"/>
                <a:gd name="connsiteY0" fmla="*/ 61000 h 337601"/>
                <a:gd name="connsiteX1" fmla="*/ 406437 w 456212"/>
                <a:gd name="connsiteY1" fmla="*/ 61000 h 337601"/>
                <a:gd name="connsiteX2" fmla="*/ 389851 w 456212"/>
                <a:gd name="connsiteY2" fmla="*/ 66971 h 337601"/>
                <a:gd name="connsiteX3" fmla="*/ 373264 w 456212"/>
                <a:gd name="connsiteY3" fmla="*/ 66971 h 337601"/>
                <a:gd name="connsiteX4" fmla="*/ 371937 w 456212"/>
                <a:gd name="connsiteY4" fmla="*/ 27495 h 337601"/>
                <a:gd name="connsiteX5" fmla="*/ 358833 w 456212"/>
                <a:gd name="connsiteY5" fmla="*/ -40 h 337601"/>
                <a:gd name="connsiteX6" fmla="*/ 328646 w 456212"/>
                <a:gd name="connsiteY6" fmla="*/ 28822 h 337601"/>
                <a:gd name="connsiteX7" fmla="*/ 297296 w 456212"/>
                <a:gd name="connsiteY7" fmla="*/ 44579 h 337601"/>
                <a:gd name="connsiteX8" fmla="*/ 263127 w 456212"/>
                <a:gd name="connsiteY8" fmla="*/ 53868 h 337601"/>
                <a:gd name="connsiteX9" fmla="*/ 234267 w 456212"/>
                <a:gd name="connsiteY9" fmla="*/ 45906 h 337601"/>
                <a:gd name="connsiteX10" fmla="*/ 206732 w 456212"/>
                <a:gd name="connsiteY10" fmla="*/ 36783 h 337601"/>
                <a:gd name="connsiteX11" fmla="*/ 179198 w 456212"/>
                <a:gd name="connsiteY11" fmla="*/ 31476 h 337601"/>
                <a:gd name="connsiteX12" fmla="*/ 152825 w 456212"/>
                <a:gd name="connsiteY12" fmla="*/ 48062 h 337601"/>
                <a:gd name="connsiteX13" fmla="*/ 133253 w 456212"/>
                <a:gd name="connsiteY13" fmla="*/ 81236 h 337601"/>
                <a:gd name="connsiteX14" fmla="*/ 85980 w 456212"/>
                <a:gd name="connsiteY14" fmla="*/ 108770 h 337601"/>
                <a:gd name="connsiteX15" fmla="*/ 57119 w 456212"/>
                <a:gd name="connsiteY15" fmla="*/ 119220 h 337601"/>
                <a:gd name="connsiteX16" fmla="*/ 33566 w 456212"/>
                <a:gd name="connsiteY16" fmla="*/ 112751 h 337601"/>
                <a:gd name="connsiteX17" fmla="*/ 18969 w 456212"/>
                <a:gd name="connsiteY17" fmla="*/ 128508 h 337601"/>
                <a:gd name="connsiteX18" fmla="*/ 5866 w 456212"/>
                <a:gd name="connsiteY18" fmla="*/ 154716 h 337601"/>
                <a:gd name="connsiteX19" fmla="*/ 2051 w 456212"/>
                <a:gd name="connsiteY19" fmla="*/ 183576 h 337601"/>
                <a:gd name="connsiteX20" fmla="*/ 2051 w 456212"/>
                <a:gd name="connsiteY20" fmla="*/ 218907 h 337601"/>
                <a:gd name="connsiteX21" fmla="*/ 7193 w 456212"/>
                <a:gd name="connsiteY21" fmla="*/ 257057 h 337601"/>
                <a:gd name="connsiteX22" fmla="*/ 40366 w 456212"/>
                <a:gd name="connsiteY22" fmla="*/ 273643 h 337601"/>
                <a:gd name="connsiteX23" fmla="*/ 6198 w 456212"/>
                <a:gd name="connsiteY23" fmla="*/ 320750 h 337601"/>
                <a:gd name="connsiteX24" fmla="*/ 12998 w 456212"/>
                <a:gd name="connsiteY24" fmla="*/ 331863 h 337601"/>
                <a:gd name="connsiteX25" fmla="*/ 64086 w 456212"/>
                <a:gd name="connsiteY25" fmla="*/ 337502 h 337601"/>
                <a:gd name="connsiteX26" fmla="*/ 197609 w 456212"/>
                <a:gd name="connsiteY26" fmla="*/ 320915 h 337601"/>
                <a:gd name="connsiteX27" fmla="*/ 194790 w 456212"/>
                <a:gd name="connsiteY27" fmla="*/ 287742 h 337601"/>
                <a:gd name="connsiteX28" fmla="*/ 221329 w 456212"/>
                <a:gd name="connsiteY28" fmla="*/ 271985 h 337601"/>
                <a:gd name="connsiteX29" fmla="*/ 243887 w 456212"/>
                <a:gd name="connsiteY29" fmla="*/ 266013 h 337601"/>
                <a:gd name="connsiteX30" fmla="*/ 279217 w 456212"/>
                <a:gd name="connsiteY30" fmla="*/ 254237 h 337601"/>
                <a:gd name="connsiteX31" fmla="*/ 294974 w 456212"/>
                <a:gd name="connsiteY31" fmla="*/ 239475 h 337601"/>
                <a:gd name="connsiteX32" fmla="*/ 305756 w 456212"/>
                <a:gd name="connsiteY32" fmla="*/ 204144 h 337601"/>
                <a:gd name="connsiteX33" fmla="*/ 328314 w 456212"/>
                <a:gd name="connsiteY33" fmla="*/ 190377 h 337601"/>
                <a:gd name="connsiteX34" fmla="*/ 317532 w 456212"/>
                <a:gd name="connsiteY34" fmla="*/ 168814 h 337601"/>
                <a:gd name="connsiteX35" fmla="*/ 354853 w 456212"/>
                <a:gd name="connsiteY35" fmla="*/ 169810 h 337601"/>
                <a:gd name="connsiteX36" fmla="*/ 357838 w 456212"/>
                <a:gd name="connsiteY36" fmla="*/ 143271 h 337601"/>
                <a:gd name="connsiteX37" fmla="*/ 373596 w 456212"/>
                <a:gd name="connsiteY37" fmla="*/ 119717 h 337601"/>
                <a:gd name="connsiteX38" fmla="*/ 367624 w 456212"/>
                <a:gd name="connsiteY38" fmla="*/ 99979 h 337601"/>
                <a:gd name="connsiteX39" fmla="*/ 365999 w 456212"/>
                <a:gd name="connsiteY39" fmla="*/ 86942 h 337601"/>
                <a:gd name="connsiteX40" fmla="*/ 372601 w 456212"/>
                <a:gd name="connsiteY40" fmla="*/ 83392 h 337601"/>
                <a:gd name="connsiteX41" fmla="*/ 377577 w 456212"/>
                <a:gd name="connsiteY41" fmla="*/ 81402 h 337601"/>
                <a:gd name="connsiteX42" fmla="*/ 394163 w 456212"/>
                <a:gd name="connsiteY42" fmla="*/ 75265 h 337601"/>
                <a:gd name="connsiteX43" fmla="*/ 439114 w 456212"/>
                <a:gd name="connsiteY43" fmla="*/ 61995 h 337601"/>
                <a:gd name="connsiteX44" fmla="*/ 456198 w 456212"/>
                <a:gd name="connsiteY44" fmla="*/ 61000 h 33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56212" h="337601">
                  <a:moveTo>
                    <a:pt x="456198" y="61000"/>
                  </a:moveTo>
                  <a:cubicBezTo>
                    <a:pt x="449398" y="62161"/>
                    <a:pt x="425678" y="54531"/>
                    <a:pt x="406437" y="61000"/>
                  </a:cubicBezTo>
                  <a:lnTo>
                    <a:pt x="389851" y="66971"/>
                  </a:lnTo>
                  <a:cubicBezTo>
                    <a:pt x="382553" y="69127"/>
                    <a:pt x="376581" y="69791"/>
                    <a:pt x="373264" y="66971"/>
                  </a:cubicBezTo>
                  <a:cubicBezTo>
                    <a:pt x="365468" y="57683"/>
                    <a:pt x="386368" y="33798"/>
                    <a:pt x="371937" y="27495"/>
                  </a:cubicBezTo>
                  <a:cubicBezTo>
                    <a:pt x="357507" y="21192"/>
                    <a:pt x="370610" y="1287"/>
                    <a:pt x="358833" y="-40"/>
                  </a:cubicBezTo>
                  <a:cubicBezTo>
                    <a:pt x="347057" y="-1367"/>
                    <a:pt x="328646" y="19699"/>
                    <a:pt x="328646" y="28822"/>
                  </a:cubicBezTo>
                  <a:cubicBezTo>
                    <a:pt x="328646" y="37944"/>
                    <a:pt x="297296" y="35456"/>
                    <a:pt x="297296" y="44579"/>
                  </a:cubicBezTo>
                  <a:cubicBezTo>
                    <a:pt x="297296" y="53702"/>
                    <a:pt x="268269" y="43252"/>
                    <a:pt x="263127" y="53868"/>
                  </a:cubicBezTo>
                  <a:cubicBezTo>
                    <a:pt x="257986" y="64483"/>
                    <a:pt x="243389" y="45906"/>
                    <a:pt x="234267" y="45906"/>
                  </a:cubicBezTo>
                  <a:cubicBezTo>
                    <a:pt x="225143" y="45906"/>
                    <a:pt x="217680" y="32802"/>
                    <a:pt x="206732" y="36783"/>
                  </a:cubicBezTo>
                  <a:cubicBezTo>
                    <a:pt x="195785" y="40764"/>
                    <a:pt x="188321" y="32802"/>
                    <a:pt x="179198" y="31476"/>
                  </a:cubicBezTo>
                  <a:cubicBezTo>
                    <a:pt x="170075" y="30149"/>
                    <a:pt x="162611" y="51214"/>
                    <a:pt x="152825" y="48062"/>
                  </a:cubicBezTo>
                  <a:cubicBezTo>
                    <a:pt x="143039" y="44911"/>
                    <a:pt x="137067" y="67801"/>
                    <a:pt x="133253" y="81236"/>
                  </a:cubicBezTo>
                  <a:cubicBezTo>
                    <a:pt x="129438" y="94671"/>
                    <a:pt x="84653" y="94339"/>
                    <a:pt x="85980" y="108770"/>
                  </a:cubicBezTo>
                  <a:cubicBezTo>
                    <a:pt x="87307" y="123201"/>
                    <a:pt x="59773" y="128508"/>
                    <a:pt x="57119" y="119220"/>
                  </a:cubicBezTo>
                  <a:cubicBezTo>
                    <a:pt x="54465" y="109931"/>
                    <a:pt x="37380" y="115239"/>
                    <a:pt x="33566" y="112751"/>
                  </a:cubicBezTo>
                  <a:cubicBezTo>
                    <a:pt x="29751" y="110263"/>
                    <a:pt x="17808" y="115239"/>
                    <a:pt x="18969" y="128508"/>
                  </a:cubicBezTo>
                  <a:cubicBezTo>
                    <a:pt x="20131" y="141778"/>
                    <a:pt x="7193" y="149408"/>
                    <a:pt x="5866" y="154716"/>
                  </a:cubicBezTo>
                  <a:cubicBezTo>
                    <a:pt x="4539" y="160023"/>
                    <a:pt x="-3257" y="175615"/>
                    <a:pt x="2051" y="183576"/>
                  </a:cubicBezTo>
                  <a:cubicBezTo>
                    <a:pt x="7358" y="191538"/>
                    <a:pt x="-4584" y="204476"/>
                    <a:pt x="2051" y="218907"/>
                  </a:cubicBezTo>
                  <a:cubicBezTo>
                    <a:pt x="8686" y="233337"/>
                    <a:pt x="4705" y="252080"/>
                    <a:pt x="7193" y="257057"/>
                  </a:cubicBezTo>
                  <a:cubicBezTo>
                    <a:pt x="9681" y="262032"/>
                    <a:pt x="34727" y="259710"/>
                    <a:pt x="40366" y="273643"/>
                  </a:cubicBezTo>
                  <a:cubicBezTo>
                    <a:pt x="46006" y="287576"/>
                    <a:pt x="7193" y="312954"/>
                    <a:pt x="6198" y="320750"/>
                  </a:cubicBezTo>
                  <a:cubicBezTo>
                    <a:pt x="6198" y="324067"/>
                    <a:pt x="8852" y="327882"/>
                    <a:pt x="12998" y="331863"/>
                  </a:cubicBezTo>
                  <a:cubicBezTo>
                    <a:pt x="30132" y="332642"/>
                    <a:pt x="47200" y="334517"/>
                    <a:pt x="64086" y="337502"/>
                  </a:cubicBezTo>
                  <a:cubicBezTo>
                    <a:pt x="109086" y="337104"/>
                    <a:pt x="153887" y="331531"/>
                    <a:pt x="197609" y="320915"/>
                  </a:cubicBezTo>
                  <a:cubicBezTo>
                    <a:pt x="199766" y="316935"/>
                    <a:pt x="193795" y="292386"/>
                    <a:pt x="194790" y="287742"/>
                  </a:cubicBezTo>
                  <a:cubicBezTo>
                    <a:pt x="200230" y="278171"/>
                    <a:pt x="210315" y="272184"/>
                    <a:pt x="221329" y="271985"/>
                  </a:cubicBezTo>
                  <a:cubicBezTo>
                    <a:pt x="233105" y="272980"/>
                    <a:pt x="243887" y="274970"/>
                    <a:pt x="243887" y="266013"/>
                  </a:cubicBezTo>
                  <a:cubicBezTo>
                    <a:pt x="243887" y="257057"/>
                    <a:pt x="277060" y="246441"/>
                    <a:pt x="279217" y="254237"/>
                  </a:cubicBezTo>
                  <a:cubicBezTo>
                    <a:pt x="281373" y="262032"/>
                    <a:pt x="293979" y="259212"/>
                    <a:pt x="294974" y="239475"/>
                  </a:cubicBezTo>
                  <a:cubicBezTo>
                    <a:pt x="295970" y="219736"/>
                    <a:pt x="293979" y="205140"/>
                    <a:pt x="305756" y="204144"/>
                  </a:cubicBezTo>
                  <a:cubicBezTo>
                    <a:pt x="317532" y="203149"/>
                    <a:pt x="329309" y="196349"/>
                    <a:pt x="328314" y="190377"/>
                  </a:cubicBezTo>
                  <a:cubicBezTo>
                    <a:pt x="327318" y="184406"/>
                    <a:pt x="313717" y="172795"/>
                    <a:pt x="317532" y="168814"/>
                  </a:cubicBezTo>
                  <a:cubicBezTo>
                    <a:pt x="321347" y="164834"/>
                    <a:pt x="350706" y="178601"/>
                    <a:pt x="354853" y="169810"/>
                  </a:cubicBezTo>
                  <a:cubicBezTo>
                    <a:pt x="358999" y="161019"/>
                    <a:pt x="353028" y="151066"/>
                    <a:pt x="357838" y="143271"/>
                  </a:cubicBezTo>
                  <a:cubicBezTo>
                    <a:pt x="362648" y="135475"/>
                    <a:pt x="374425" y="127513"/>
                    <a:pt x="373596" y="119717"/>
                  </a:cubicBezTo>
                  <a:cubicBezTo>
                    <a:pt x="372766" y="111921"/>
                    <a:pt x="374591" y="106945"/>
                    <a:pt x="367624" y="99979"/>
                  </a:cubicBezTo>
                  <a:cubicBezTo>
                    <a:pt x="363577" y="96828"/>
                    <a:pt x="362847" y="90989"/>
                    <a:pt x="365999" y="86942"/>
                  </a:cubicBezTo>
                  <a:cubicBezTo>
                    <a:pt x="367608" y="84885"/>
                    <a:pt x="369996" y="83591"/>
                    <a:pt x="372601" y="83392"/>
                  </a:cubicBezTo>
                  <a:cubicBezTo>
                    <a:pt x="374392" y="83143"/>
                    <a:pt x="376100" y="82463"/>
                    <a:pt x="377577" y="81402"/>
                  </a:cubicBezTo>
                  <a:cubicBezTo>
                    <a:pt x="383465" y="80490"/>
                    <a:pt x="389104" y="78416"/>
                    <a:pt x="394163" y="75265"/>
                  </a:cubicBezTo>
                  <a:cubicBezTo>
                    <a:pt x="407134" y="65727"/>
                    <a:pt x="423041" y="61017"/>
                    <a:pt x="439114" y="61995"/>
                  </a:cubicBezTo>
                  <a:cubicBezTo>
                    <a:pt x="444803" y="63090"/>
                    <a:pt x="450675" y="62742"/>
                    <a:pt x="456198" y="61000"/>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92" name="Freeform: Shape 591">
              <a:extLst>
                <a:ext uri="{FF2B5EF4-FFF2-40B4-BE49-F238E27FC236}">
                  <a16:creationId xmlns:a16="http://schemas.microsoft.com/office/drawing/2014/main" id="{8D18ADFF-F88F-45ED-92C1-5477A1B27EAA}"/>
                </a:ext>
              </a:extLst>
            </p:cNvPr>
            <p:cNvSpPr/>
            <p:nvPr/>
          </p:nvSpPr>
          <p:spPr>
            <a:xfrm>
              <a:off x="8012210" y="4535367"/>
              <a:ext cx="1302282" cy="450885"/>
            </a:xfrm>
            <a:custGeom>
              <a:avLst/>
              <a:gdLst>
                <a:gd name="connsiteX0" fmla="*/ 105895 w 1522923"/>
                <a:gd name="connsiteY0" fmla="*/ 226768 h 537594"/>
                <a:gd name="connsiteX1" fmla="*/ 121653 w 1522923"/>
                <a:gd name="connsiteY1" fmla="*/ 245511 h 537594"/>
                <a:gd name="connsiteX2" fmla="*/ 105895 w 1522923"/>
                <a:gd name="connsiteY2" fmla="*/ 226768 h 537594"/>
                <a:gd name="connsiteX3" fmla="*/ 427183 w 1522923"/>
                <a:gd name="connsiteY3" fmla="*/ 286646 h 537594"/>
                <a:gd name="connsiteX4" fmla="*/ 409601 w 1522923"/>
                <a:gd name="connsiteY4" fmla="*/ 294608 h 537594"/>
                <a:gd name="connsiteX5" fmla="*/ 427183 w 1522923"/>
                <a:gd name="connsiteY5" fmla="*/ 286149 h 537594"/>
                <a:gd name="connsiteX6" fmla="*/ 57794 w 1522923"/>
                <a:gd name="connsiteY6" fmla="*/ 142341 h 537594"/>
                <a:gd name="connsiteX7" fmla="*/ 78361 w 1522923"/>
                <a:gd name="connsiteY7" fmla="*/ 168880 h 537594"/>
                <a:gd name="connsiteX8" fmla="*/ 57794 w 1522923"/>
                <a:gd name="connsiteY8" fmla="*/ 141843 h 537594"/>
                <a:gd name="connsiteX9" fmla="*/ 799722 w 1522923"/>
                <a:gd name="connsiteY9" fmla="*/ 309702 h 537594"/>
                <a:gd name="connsiteX10" fmla="*/ 809509 w 1522923"/>
                <a:gd name="connsiteY10" fmla="*/ 345032 h 537594"/>
                <a:gd name="connsiteX11" fmla="*/ 813490 w 1522923"/>
                <a:gd name="connsiteY11" fmla="*/ 383348 h 537594"/>
                <a:gd name="connsiteX12" fmla="*/ 830076 w 1522923"/>
                <a:gd name="connsiteY12" fmla="*/ 350174 h 537594"/>
                <a:gd name="connsiteX13" fmla="*/ 826096 w 1522923"/>
                <a:gd name="connsiteY13" fmla="*/ 289300 h 537594"/>
                <a:gd name="connsiteX14" fmla="*/ 847824 w 1522923"/>
                <a:gd name="connsiteY14" fmla="*/ 303068 h 537594"/>
                <a:gd name="connsiteX15" fmla="*/ 864411 w 1522923"/>
                <a:gd name="connsiteY15" fmla="*/ 336241 h 537594"/>
                <a:gd name="connsiteX16" fmla="*/ 894931 w 1522923"/>
                <a:gd name="connsiteY16" fmla="*/ 340056 h 537594"/>
                <a:gd name="connsiteX17" fmla="*/ 896921 w 1522923"/>
                <a:gd name="connsiteY17" fmla="*/ 314512 h 537594"/>
                <a:gd name="connsiteX18" fmla="*/ 890121 w 1522923"/>
                <a:gd name="connsiteY18" fmla="*/ 276197 h 537594"/>
                <a:gd name="connsiteX19" fmla="*/ 879174 w 1522923"/>
                <a:gd name="connsiteY19" fmla="*/ 248663 h 537594"/>
                <a:gd name="connsiteX20" fmla="*/ 928934 w 1522923"/>
                <a:gd name="connsiteY20" fmla="*/ 212338 h 537594"/>
                <a:gd name="connsiteX21" fmla="*/ 861260 w 1522923"/>
                <a:gd name="connsiteY21" fmla="*/ 232076 h 537594"/>
                <a:gd name="connsiteX22" fmla="*/ 819959 w 1522923"/>
                <a:gd name="connsiteY22" fmla="*/ 198902 h 537594"/>
                <a:gd name="connsiteX23" fmla="*/ 929929 w 1522923"/>
                <a:gd name="connsiteY23" fmla="*/ 174354 h 537594"/>
                <a:gd name="connsiteX24" fmla="*/ 987983 w 1522923"/>
                <a:gd name="connsiteY24" fmla="*/ 140019 h 537594"/>
                <a:gd name="connsiteX25" fmla="*/ 952653 w 1522923"/>
                <a:gd name="connsiteY25" fmla="*/ 153786 h 537594"/>
                <a:gd name="connsiteX26" fmla="*/ 869719 w 1522923"/>
                <a:gd name="connsiteY26" fmla="*/ 144829 h 537594"/>
                <a:gd name="connsiteX27" fmla="*/ 829413 w 1522923"/>
                <a:gd name="connsiteY27" fmla="*/ 161416 h 537594"/>
                <a:gd name="connsiteX28" fmla="*/ 805859 w 1522923"/>
                <a:gd name="connsiteY28" fmla="*/ 211176 h 537594"/>
                <a:gd name="connsiteX29" fmla="*/ 779321 w 1522923"/>
                <a:gd name="connsiteY29" fmla="*/ 275036 h 537594"/>
                <a:gd name="connsiteX30" fmla="*/ 799722 w 1522923"/>
                <a:gd name="connsiteY30" fmla="*/ 309702 h 537594"/>
                <a:gd name="connsiteX31" fmla="*/ 350551 w 1522923"/>
                <a:gd name="connsiteY31" fmla="*/ 335246 h 537594"/>
                <a:gd name="connsiteX32" fmla="*/ 355527 w 1522923"/>
                <a:gd name="connsiteY32" fmla="*/ 300745 h 537594"/>
                <a:gd name="connsiteX33" fmla="*/ 369294 w 1522923"/>
                <a:gd name="connsiteY33" fmla="*/ 292949 h 537594"/>
                <a:gd name="connsiteX34" fmla="*/ 370289 w 1522923"/>
                <a:gd name="connsiteY34" fmla="*/ 272382 h 537594"/>
                <a:gd name="connsiteX35" fmla="*/ 342755 w 1522923"/>
                <a:gd name="connsiteY35" fmla="*/ 245843 h 537594"/>
                <a:gd name="connsiteX36" fmla="*/ 338775 w 1522923"/>
                <a:gd name="connsiteY36" fmla="*/ 260605 h 537594"/>
                <a:gd name="connsiteX37" fmla="*/ 351547 w 1522923"/>
                <a:gd name="connsiteY37" fmla="*/ 276197 h 537594"/>
                <a:gd name="connsiteX38" fmla="*/ 330978 w 1522923"/>
                <a:gd name="connsiteY38" fmla="*/ 270391 h 537594"/>
                <a:gd name="connsiteX39" fmla="*/ 310245 w 1522923"/>
                <a:gd name="connsiteY39" fmla="*/ 252643 h 537594"/>
                <a:gd name="connsiteX40" fmla="*/ 280887 w 1522923"/>
                <a:gd name="connsiteY40" fmla="*/ 223285 h 537594"/>
                <a:gd name="connsiteX41" fmla="*/ 273920 w 1522923"/>
                <a:gd name="connsiteY41" fmla="*/ 199565 h 537594"/>
                <a:gd name="connsiteX42" fmla="*/ 257333 w 1522923"/>
                <a:gd name="connsiteY42" fmla="*/ 169212 h 537594"/>
                <a:gd name="connsiteX43" fmla="*/ 239751 w 1522923"/>
                <a:gd name="connsiteY43" fmla="*/ 154450 h 537594"/>
                <a:gd name="connsiteX44" fmla="*/ 223164 w 1522923"/>
                <a:gd name="connsiteY44" fmla="*/ 137863 h 537594"/>
                <a:gd name="connsiteX45" fmla="*/ 202596 w 1522923"/>
                <a:gd name="connsiteY45" fmla="*/ 128076 h 537594"/>
                <a:gd name="connsiteX46" fmla="*/ 177053 w 1522923"/>
                <a:gd name="connsiteY46" fmla="*/ 117295 h 537594"/>
                <a:gd name="connsiteX47" fmla="*/ 148523 w 1522923"/>
                <a:gd name="connsiteY47" fmla="*/ 88765 h 537594"/>
                <a:gd name="connsiteX48" fmla="*/ 92460 w 1522923"/>
                <a:gd name="connsiteY48" fmla="*/ 39005 h 537594"/>
                <a:gd name="connsiteX49" fmla="*/ 44358 w 1522923"/>
                <a:gd name="connsiteY49" fmla="*/ 16281 h 537594"/>
                <a:gd name="connsiteX50" fmla="*/ 1067 w 1522923"/>
                <a:gd name="connsiteY50" fmla="*/ 3509 h 537594"/>
                <a:gd name="connsiteX51" fmla="*/ 46349 w 1522923"/>
                <a:gd name="connsiteY51" fmla="*/ 67534 h 537594"/>
                <a:gd name="connsiteX52" fmla="*/ 91464 w 1522923"/>
                <a:gd name="connsiteY52" fmla="*/ 114641 h 537594"/>
                <a:gd name="connsiteX53" fmla="*/ 127790 w 1522923"/>
                <a:gd name="connsiteY53" fmla="*/ 180988 h 537594"/>
                <a:gd name="connsiteX54" fmla="*/ 178877 w 1522923"/>
                <a:gd name="connsiteY54" fmla="*/ 257619 h 537594"/>
                <a:gd name="connsiteX55" fmla="*/ 227146 w 1522923"/>
                <a:gd name="connsiteY55" fmla="*/ 314512 h 537594"/>
                <a:gd name="connsiteX56" fmla="*/ 287024 w 1522923"/>
                <a:gd name="connsiteY56" fmla="*/ 366595 h 537594"/>
                <a:gd name="connsiteX57" fmla="*/ 303611 w 1522923"/>
                <a:gd name="connsiteY57" fmla="*/ 383182 h 537594"/>
                <a:gd name="connsiteX58" fmla="*/ 338941 w 1522923"/>
                <a:gd name="connsiteY58" fmla="*/ 384177 h 537594"/>
                <a:gd name="connsiteX59" fmla="*/ 350551 w 1522923"/>
                <a:gd name="connsiteY59" fmla="*/ 335412 h 537594"/>
                <a:gd name="connsiteX60" fmla="*/ 1101271 w 1522923"/>
                <a:gd name="connsiteY60" fmla="*/ 178003 h 537594"/>
                <a:gd name="connsiteX61" fmla="*/ 1113048 w 1522923"/>
                <a:gd name="connsiteY61" fmla="*/ 153454 h 537594"/>
                <a:gd name="connsiteX62" fmla="*/ 1093475 w 1522923"/>
                <a:gd name="connsiteY62" fmla="*/ 144497 h 537594"/>
                <a:gd name="connsiteX63" fmla="*/ 1070918 w 1522923"/>
                <a:gd name="connsiteY63" fmla="*/ 131725 h 537594"/>
                <a:gd name="connsiteX64" fmla="*/ 1088500 w 1522923"/>
                <a:gd name="connsiteY64" fmla="*/ 204542 h 537594"/>
                <a:gd name="connsiteX65" fmla="*/ 1101271 w 1522923"/>
                <a:gd name="connsiteY65" fmla="*/ 178169 h 537594"/>
                <a:gd name="connsiteX66" fmla="*/ 1020659 w 1522923"/>
                <a:gd name="connsiteY66" fmla="*/ 300745 h 537594"/>
                <a:gd name="connsiteX67" fmla="*/ 1060965 w 1522923"/>
                <a:gd name="connsiteY67" fmla="*/ 311692 h 537594"/>
                <a:gd name="connsiteX68" fmla="*/ 1020659 w 1522923"/>
                <a:gd name="connsiteY68" fmla="*/ 300911 h 537594"/>
                <a:gd name="connsiteX69" fmla="*/ 943033 w 1522923"/>
                <a:gd name="connsiteY69" fmla="*/ 466613 h 537594"/>
                <a:gd name="connsiteX70" fmla="*/ 872373 w 1522923"/>
                <a:gd name="connsiteY70" fmla="*/ 472419 h 537594"/>
                <a:gd name="connsiteX71" fmla="*/ 810504 w 1522923"/>
                <a:gd name="connsiteY71" fmla="*/ 481376 h 537594"/>
                <a:gd name="connsiteX72" fmla="*/ 864411 w 1522923"/>
                <a:gd name="connsiteY72" fmla="*/ 491162 h 537594"/>
                <a:gd name="connsiteX73" fmla="*/ 932251 w 1522923"/>
                <a:gd name="connsiteY73" fmla="*/ 476400 h 537594"/>
                <a:gd name="connsiteX74" fmla="*/ 943033 w 1522923"/>
                <a:gd name="connsiteY74" fmla="*/ 467111 h 537594"/>
                <a:gd name="connsiteX75" fmla="*/ 1153354 w 1522923"/>
                <a:gd name="connsiteY75" fmla="*/ 286812 h 537594"/>
                <a:gd name="connsiteX76" fmla="*/ 1088500 w 1522923"/>
                <a:gd name="connsiteY76" fmla="*/ 298589 h 537594"/>
                <a:gd name="connsiteX77" fmla="*/ 1133781 w 1522923"/>
                <a:gd name="connsiteY77" fmla="*/ 305389 h 537594"/>
                <a:gd name="connsiteX78" fmla="*/ 1175911 w 1522923"/>
                <a:gd name="connsiteY78" fmla="*/ 320152 h 537594"/>
                <a:gd name="connsiteX79" fmla="*/ 1153354 w 1522923"/>
                <a:gd name="connsiteY79" fmla="*/ 287310 h 537594"/>
                <a:gd name="connsiteX80" fmla="*/ 635513 w 1522923"/>
                <a:gd name="connsiteY80" fmla="*/ 455666 h 537594"/>
                <a:gd name="connsiteX81" fmla="*/ 577624 w 1522923"/>
                <a:gd name="connsiteY81" fmla="*/ 446875 h 537594"/>
                <a:gd name="connsiteX82" fmla="*/ 610798 w 1522923"/>
                <a:gd name="connsiteY82" fmla="*/ 424317 h 537594"/>
                <a:gd name="connsiteX83" fmla="*/ 571487 w 1522923"/>
                <a:gd name="connsiteY83" fmla="*/ 423322 h 537594"/>
                <a:gd name="connsiteX84" fmla="*/ 502653 w 1522923"/>
                <a:gd name="connsiteY84" fmla="*/ 415360 h 537594"/>
                <a:gd name="connsiteX85" fmla="*/ 431993 w 1522923"/>
                <a:gd name="connsiteY85" fmla="*/ 399769 h 537594"/>
                <a:gd name="connsiteX86" fmla="*/ 354366 w 1522923"/>
                <a:gd name="connsiteY86" fmla="*/ 395788 h 537594"/>
                <a:gd name="connsiteX87" fmla="*/ 337779 w 1522923"/>
                <a:gd name="connsiteY87" fmla="*/ 415360 h 537594"/>
                <a:gd name="connsiteX88" fmla="*/ 362328 w 1522923"/>
                <a:gd name="connsiteY88" fmla="*/ 420337 h 537594"/>
                <a:gd name="connsiteX89" fmla="*/ 380076 w 1522923"/>
                <a:gd name="connsiteY89" fmla="*/ 439079 h 537594"/>
                <a:gd name="connsiteX90" fmla="*/ 438959 w 1522923"/>
                <a:gd name="connsiteY90" fmla="*/ 443890 h 537594"/>
                <a:gd name="connsiteX91" fmla="*/ 501823 w 1522923"/>
                <a:gd name="connsiteY91" fmla="*/ 459647 h 537594"/>
                <a:gd name="connsiteX92" fmla="*/ 584758 w 1522923"/>
                <a:gd name="connsiteY92" fmla="*/ 473414 h 537594"/>
                <a:gd name="connsiteX93" fmla="*/ 629044 w 1522923"/>
                <a:gd name="connsiteY93" fmla="*/ 475404 h 537594"/>
                <a:gd name="connsiteX94" fmla="*/ 668355 w 1522923"/>
                <a:gd name="connsiteY94" fmla="*/ 476400 h 537594"/>
                <a:gd name="connsiteX95" fmla="*/ 635513 w 1522923"/>
                <a:gd name="connsiteY95" fmla="*/ 456164 h 537594"/>
                <a:gd name="connsiteX96" fmla="*/ 1408791 w 1522923"/>
                <a:gd name="connsiteY96" fmla="*/ 241531 h 537594"/>
                <a:gd name="connsiteX97" fmla="*/ 1379432 w 1522923"/>
                <a:gd name="connsiteY97" fmla="*/ 268069 h 537594"/>
                <a:gd name="connsiteX98" fmla="*/ 1325359 w 1522923"/>
                <a:gd name="connsiteY98" fmla="*/ 302404 h 537594"/>
                <a:gd name="connsiteX99" fmla="*/ 1290029 w 1522923"/>
                <a:gd name="connsiteY99" fmla="*/ 219470 h 537594"/>
                <a:gd name="connsiteX100" fmla="*/ 1214393 w 1522923"/>
                <a:gd name="connsiteY100" fmla="*/ 209518 h 537594"/>
                <a:gd name="connsiteX101" fmla="*/ 1185864 w 1522923"/>
                <a:gd name="connsiteY101" fmla="*/ 231246 h 537594"/>
                <a:gd name="connsiteX102" fmla="*/ 1203446 w 1522923"/>
                <a:gd name="connsiteY102" fmla="*/ 240037 h 537594"/>
                <a:gd name="connsiteX103" fmla="*/ 1222189 w 1522923"/>
                <a:gd name="connsiteY103" fmla="*/ 262596 h 537594"/>
                <a:gd name="connsiteX104" fmla="*/ 1275266 w 1522923"/>
                <a:gd name="connsiteY104" fmla="*/ 265581 h 537594"/>
                <a:gd name="connsiteX105" fmla="*/ 1272281 w 1522923"/>
                <a:gd name="connsiteY105" fmla="*/ 275367 h 537594"/>
                <a:gd name="connsiteX106" fmla="*/ 1243752 w 1522923"/>
                <a:gd name="connsiteY106" fmla="*/ 280344 h 537594"/>
                <a:gd name="connsiteX107" fmla="*/ 1224180 w 1522923"/>
                <a:gd name="connsiteY107" fmla="*/ 285153 h 537594"/>
                <a:gd name="connsiteX108" fmla="*/ 1244747 w 1522923"/>
                <a:gd name="connsiteY108" fmla="*/ 314678 h 537594"/>
                <a:gd name="connsiteX109" fmla="*/ 1267305 w 1522923"/>
                <a:gd name="connsiteY109" fmla="*/ 314678 h 537594"/>
                <a:gd name="connsiteX110" fmla="*/ 1301806 w 1522923"/>
                <a:gd name="connsiteY110" fmla="*/ 324465 h 537594"/>
                <a:gd name="connsiteX111" fmla="*/ 1331165 w 1522923"/>
                <a:gd name="connsiteY111" fmla="*/ 340222 h 537594"/>
                <a:gd name="connsiteX112" fmla="*/ 1424548 w 1522923"/>
                <a:gd name="connsiteY112" fmla="*/ 373396 h 537594"/>
                <a:gd name="connsiteX113" fmla="*/ 1443291 w 1522923"/>
                <a:gd name="connsiteY113" fmla="*/ 411711 h 537594"/>
                <a:gd name="connsiteX114" fmla="*/ 1442296 w 1522923"/>
                <a:gd name="connsiteY114" fmla="*/ 441236 h 537594"/>
                <a:gd name="connsiteX115" fmla="*/ 1410782 w 1522923"/>
                <a:gd name="connsiteY115" fmla="*/ 467775 h 537594"/>
                <a:gd name="connsiteX116" fmla="*/ 1487413 w 1522923"/>
                <a:gd name="connsiteY116" fmla="*/ 463794 h 537594"/>
                <a:gd name="connsiteX117" fmla="*/ 1522909 w 1522923"/>
                <a:gd name="connsiteY117" fmla="*/ 491328 h 537594"/>
                <a:gd name="connsiteX118" fmla="*/ 1522909 w 1522923"/>
                <a:gd name="connsiteY118" fmla="*/ 282002 h 537594"/>
                <a:gd name="connsiteX119" fmla="*/ 1408791 w 1522923"/>
                <a:gd name="connsiteY119" fmla="*/ 242028 h 537594"/>
                <a:gd name="connsiteX120" fmla="*/ 983505 w 1522923"/>
                <a:gd name="connsiteY120" fmla="*/ 490333 h 537594"/>
                <a:gd name="connsiteX121" fmla="*/ 972723 w 1522923"/>
                <a:gd name="connsiteY121" fmla="*/ 494811 h 537594"/>
                <a:gd name="connsiteX122" fmla="*/ 967747 w 1522923"/>
                <a:gd name="connsiteY122" fmla="*/ 504266 h 537594"/>
                <a:gd name="connsiteX123" fmla="*/ 956966 w 1522923"/>
                <a:gd name="connsiteY123" fmla="*/ 498294 h 537594"/>
                <a:gd name="connsiteX124" fmla="*/ 940379 w 1522923"/>
                <a:gd name="connsiteY124" fmla="*/ 535947 h 537594"/>
                <a:gd name="connsiteX125" fmla="*/ 982177 w 1522923"/>
                <a:gd name="connsiteY125" fmla="*/ 512227 h 537594"/>
                <a:gd name="connsiteX126" fmla="*/ 986656 w 1522923"/>
                <a:gd name="connsiteY126" fmla="*/ 506422 h 537594"/>
                <a:gd name="connsiteX127" fmla="*/ 989974 w 1522923"/>
                <a:gd name="connsiteY127" fmla="*/ 503436 h 537594"/>
                <a:gd name="connsiteX128" fmla="*/ 993290 w 1522923"/>
                <a:gd name="connsiteY128" fmla="*/ 501280 h 537594"/>
                <a:gd name="connsiteX129" fmla="*/ 983505 w 1522923"/>
                <a:gd name="connsiteY129" fmla="*/ 491162 h 537594"/>
                <a:gd name="connsiteX130" fmla="*/ 710319 w 1522923"/>
                <a:gd name="connsiteY130" fmla="*/ 237218 h 537594"/>
                <a:gd name="connsiteX131" fmla="*/ 729892 w 1522923"/>
                <a:gd name="connsiteY131" fmla="*/ 186130 h 537594"/>
                <a:gd name="connsiteX132" fmla="*/ 779653 w 1522923"/>
                <a:gd name="connsiteY132" fmla="*/ 157601 h 537594"/>
                <a:gd name="connsiteX133" fmla="*/ 757094 w 1522923"/>
                <a:gd name="connsiteY133" fmla="*/ 131062 h 537594"/>
                <a:gd name="connsiteX134" fmla="*/ 746313 w 1522923"/>
                <a:gd name="connsiteY134" fmla="*/ 104689 h 537594"/>
                <a:gd name="connsiteX135" fmla="*/ 735365 w 1522923"/>
                <a:gd name="connsiteY135" fmla="*/ 75164 h 537594"/>
                <a:gd name="connsiteX136" fmla="*/ 737356 w 1522923"/>
                <a:gd name="connsiteY136" fmla="*/ 50616 h 537594"/>
                <a:gd name="connsiteX137" fmla="*/ 742332 w 1522923"/>
                <a:gd name="connsiteY137" fmla="*/ 48128 h 537594"/>
                <a:gd name="connsiteX138" fmla="*/ 725746 w 1522923"/>
                <a:gd name="connsiteY138" fmla="*/ 42654 h 537594"/>
                <a:gd name="connsiteX139" fmla="*/ 674658 w 1522923"/>
                <a:gd name="connsiteY139" fmla="*/ 64383 h 537594"/>
                <a:gd name="connsiteX140" fmla="*/ 655086 w 1522923"/>
                <a:gd name="connsiteY140" fmla="*/ 93742 h 537594"/>
                <a:gd name="connsiteX141" fmla="*/ 645133 w 1522923"/>
                <a:gd name="connsiteY141" fmla="*/ 125257 h 537594"/>
                <a:gd name="connsiteX142" fmla="*/ 615609 w 1522923"/>
                <a:gd name="connsiteY142" fmla="*/ 144829 h 537594"/>
                <a:gd name="connsiteX143" fmla="*/ 584260 w 1522923"/>
                <a:gd name="connsiteY143" fmla="*/ 139024 h 537594"/>
                <a:gd name="connsiteX144" fmla="*/ 551086 w 1522923"/>
                <a:gd name="connsiteY144" fmla="*/ 152791 h 537594"/>
                <a:gd name="connsiteX145" fmla="*/ 507794 w 1522923"/>
                <a:gd name="connsiteY145" fmla="*/ 156606 h 537594"/>
                <a:gd name="connsiteX146" fmla="*/ 480260 w 1522923"/>
                <a:gd name="connsiteY146" fmla="*/ 143005 h 537594"/>
                <a:gd name="connsiteX147" fmla="*/ 470308 w 1522923"/>
                <a:gd name="connsiteY147" fmla="*/ 121774 h 537594"/>
                <a:gd name="connsiteX148" fmla="*/ 466493 w 1522923"/>
                <a:gd name="connsiteY148" fmla="*/ 121774 h 537594"/>
                <a:gd name="connsiteX149" fmla="*/ 444930 w 1522923"/>
                <a:gd name="connsiteY149" fmla="*/ 168050 h 537594"/>
                <a:gd name="connsiteX150" fmla="*/ 462512 w 1522923"/>
                <a:gd name="connsiteY150" fmla="*/ 214162 h 537594"/>
                <a:gd name="connsiteX151" fmla="*/ 491042 w 1522923"/>
                <a:gd name="connsiteY151" fmla="*/ 247335 h 537594"/>
                <a:gd name="connsiteX152" fmla="*/ 522557 w 1522923"/>
                <a:gd name="connsiteY152" fmla="*/ 291623 h 537594"/>
                <a:gd name="connsiteX153" fmla="*/ 549096 w 1522923"/>
                <a:gd name="connsiteY153" fmla="*/ 304394 h 537594"/>
                <a:gd name="connsiteX154" fmla="*/ 593216 w 1522923"/>
                <a:gd name="connsiteY154" fmla="*/ 299584 h 537594"/>
                <a:gd name="connsiteX155" fmla="*/ 635513 w 1522923"/>
                <a:gd name="connsiteY155" fmla="*/ 319157 h 537594"/>
                <a:gd name="connsiteX156" fmla="*/ 683614 w 1522923"/>
                <a:gd name="connsiteY156" fmla="*/ 311361 h 537594"/>
                <a:gd name="connsiteX157" fmla="*/ 710319 w 1522923"/>
                <a:gd name="connsiteY157" fmla="*/ 238047 h 537594"/>
                <a:gd name="connsiteX158" fmla="*/ 783965 w 1522923"/>
                <a:gd name="connsiteY158" fmla="*/ 512393 h 537594"/>
                <a:gd name="connsiteX159" fmla="*/ 813490 w 1522923"/>
                <a:gd name="connsiteY159" fmla="*/ 527155 h 537594"/>
                <a:gd name="connsiteX160" fmla="*/ 844839 w 1522923"/>
                <a:gd name="connsiteY160" fmla="*/ 529146 h 537594"/>
                <a:gd name="connsiteX161" fmla="*/ 783965 w 1522923"/>
                <a:gd name="connsiteY161" fmla="*/ 513222 h 537594"/>
                <a:gd name="connsiteX162" fmla="*/ 734204 w 1522923"/>
                <a:gd name="connsiteY162" fmla="*/ 464292 h 537594"/>
                <a:gd name="connsiteX163" fmla="*/ 703851 w 1522923"/>
                <a:gd name="connsiteY163" fmla="*/ 468106 h 537594"/>
                <a:gd name="connsiteX164" fmla="*/ 688093 w 1522923"/>
                <a:gd name="connsiteY164" fmla="*/ 485854 h 537594"/>
                <a:gd name="connsiteX165" fmla="*/ 736194 w 1522923"/>
                <a:gd name="connsiteY165" fmla="*/ 493816 h 537594"/>
                <a:gd name="connsiteX166" fmla="*/ 783468 w 1522923"/>
                <a:gd name="connsiteY166" fmla="*/ 480049 h 537594"/>
                <a:gd name="connsiteX167" fmla="*/ 734702 w 1522923"/>
                <a:gd name="connsiteY167" fmla="*/ 465121 h 53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522923" h="537594">
                  <a:moveTo>
                    <a:pt x="105895" y="226768"/>
                  </a:moveTo>
                  <a:cubicBezTo>
                    <a:pt x="103905" y="231744"/>
                    <a:pt x="114686" y="251317"/>
                    <a:pt x="121653" y="245511"/>
                  </a:cubicBezTo>
                  <a:cubicBezTo>
                    <a:pt x="128620" y="239706"/>
                    <a:pt x="112198" y="210181"/>
                    <a:pt x="105895" y="226768"/>
                  </a:cubicBezTo>
                  <a:close/>
                  <a:moveTo>
                    <a:pt x="427183" y="286646"/>
                  </a:moveTo>
                  <a:cubicBezTo>
                    <a:pt x="427183" y="277855"/>
                    <a:pt x="401804" y="282168"/>
                    <a:pt x="409601" y="294608"/>
                  </a:cubicBezTo>
                  <a:cubicBezTo>
                    <a:pt x="417396" y="307048"/>
                    <a:pt x="427183" y="295106"/>
                    <a:pt x="427183" y="286149"/>
                  </a:cubicBezTo>
                  <a:close/>
                  <a:moveTo>
                    <a:pt x="57794" y="142341"/>
                  </a:moveTo>
                  <a:cubicBezTo>
                    <a:pt x="55803" y="152127"/>
                    <a:pt x="66584" y="180657"/>
                    <a:pt x="78361" y="168880"/>
                  </a:cubicBezTo>
                  <a:cubicBezTo>
                    <a:pt x="90138" y="157103"/>
                    <a:pt x="59618" y="132223"/>
                    <a:pt x="57794" y="141843"/>
                  </a:cubicBezTo>
                  <a:close/>
                  <a:moveTo>
                    <a:pt x="799722" y="309702"/>
                  </a:moveTo>
                  <a:cubicBezTo>
                    <a:pt x="814319" y="310697"/>
                    <a:pt x="812494" y="332260"/>
                    <a:pt x="809509" y="345032"/>
                  </a:cubicBezTo>
                  <a:cubicBezTo>
                    <a:pt x="806523" y="357804"/>
                    <a:pt x="800551" y="388158"/>
                    <a:pt x="813490" y="383348"/>
                  </a:cubicBezTo>
                  <a:cubicBezTo>
                    <a:pt x="829081" y="377376"/>
                    <a:pt x="839033" y="357804"/>
                    <a:pt x="830076" y="350174"/>
                  </a:cubicBezTo>
                  <a:cubicBezTo>
                    <a:pt x="821120" y="342544"/>
                    <a:pt x="822280" y="300414"/>
                    <a:pt x="826096" y="289300"/>
                  </a:cubicBezTo>
                  <a:cubicBezTo>
                    <a:pt x="829910" y="278187"/>
                    <a:pt x="856615" y="286481"/>
                    <a:pt x="847824" y="303068"/>
                  </a:cubicBezTo>
                  <a:cubicBezTo>
                    <a:pt x="839033" y="319654"/>
                    <a:pt x="864411" y="317830"/>
                    <a:pt x="864411" y="336241"/>
                  </a:cubicBezTo>
                  <a:cubicBezTo>
                    <a:pt x="864411" y="354652"/>
                    <a:pt x="879174" y="345032"/>
                    <a:pt x="894931" y="340056"/>
                  </a:cubicBezTo>
                  <a:cubicBezTo>
                    <a:pt x="910688" y="335080"/>
                    <a:pt x="907703" y="326289"/>
                    <a:pt x="896921" y="314512"/>
                  </a:cubicBezTo>
                  <a:cubicBezTo>
                    <a:pt x="886140" y="302735"/>
                    <a:pt x="904717" y="286149"/>
                    <a:pt x="890121" y="276197"/>
                  </a:cubicBezTo>
                  <a:cubicBezTo>
                    <a:pt x="875524" y="266245"/>
                    <a:pt x="865406" y="251648"/>
                    <a:pt x="879174" y="248663"/>
                  </a:cubicBezTo>
                  <a:cubicBezTo>
                    <a:pt x="892940" y="245677"/>
                    <a:pt x="934241" y="222290"/>
                    <a:pt x="928934" y="212338"/>
                  </a:cubicBezTo>
                  <a:cubicBezTo>
                    <a:pt x="923626" y="202385"/>
                    <a:pt x="866070" y="214328"/>
                    <a:pt x="861260" y="232076"/>
                  </a:cubicBezTo>
                  <a:cubicBezTo>
                    <a:pt x="856449" y="249824"/>
                    <a:pt x="814982" y="230086"/>
                    <a:pt x="819959" y="198902"/>
                  </a:cubicBezTo>
                  <a:cubicBezTo>
                    <a:pt x="824935" y="167719"/>
                    <a:pt x="906375" y="163572"/>
                    <a:pt x="929929" y="174354"/>
                  </a:cubicBezTo>
                  <a:cubicBezTo>
                    <a:pt x="953483" y="185135"/>
                    <a:pt x="979690" y="156606"/>
                    <a:pt x="987983" y="140019"/>
                  </a:cubicBezTo>
                  <a:cubicBezTo>
                    <a:pt x="996277" y="123432"/>
                    <a:pt x="969240" y="142839"/>
                    <a:pt x="952653" y="153786"/>
                  </a:cubicBezTo>
                  <a:cubicBezTo>
                    <a:pt x="936067" y="164733"/>
                    <a:pt x="891614" y="152791"/>
                    <a:pt x="869719" y="144829"/>
                  </a:cubicBezTo>
                  <a:cubicBezTo>
                    <a:pt x="847824" y="136867"/>
                    <a:pt x="848156" y="158596"/>
                    <a:pt x="829413" y="161416"/>
                  </a:cubicBezTo>
                  <a:cubicBezTo>
                    <a:pt x="810670" y="164236"/>
                    <a:pt x="814651" y="205703"/>
                    <a:pt x="805859" y="211176"/>
                  </a:cubicBezTo>
                  <a:cubicBezTo>
                    <a:pt x="797069" y="216650"/>
                    <a:pt x="797069" y="246506"/>
                    <a:pt x="779321" y="275036"/>
                  </a:cubicBezTo>
                  <a:cubicBezTo>
                    <a:pt x="761573" y="303565"/>
                    <a:pt x="784960" y="309702"/>
                    <a:pt x="799722" y="309702"/>
                  </a:cubicBezTo>
                  <a:close/>
                  <a:moveTo>
                    <a:pt x="350551" y="335246"/>
                  </a:moveTo>
                  <a:cubicBezTo>
                    <a:pt x="351215" y="323618"/>
                    <a:pt x="352890" y="312074"/>
                    <a:pt x="355527" y="300745"/>
                  </a:cubicBezTo>
                  <a:cubicBezTo>
                    <a:pt x="355527" y="293944"/>
                    <a:pt x="360337" y="290959"/>
                    <a:pt x="369294" y="292949"/>
                  </a:cubicBezTo>
                  <a:cubicBezTo>
                    <a:pt x="378251" y="294940"/>
                    <a:pt x="377090" y="274206"/>
                    <a:pt x="370289" y="272382"/>
                  </a:cubicBezTo>
                  <a:cubicBezTo>
                    <a:pt x="363489" y="270557"/>
                    <a:pt x="359508" y="245843"/>
                    <a:pt x="342755" y="245843"/>
                  </a:cubicBezTo>
                  <a:cubicBezTo>
                    <a:pt x="326002" y="245843"/>
                    <a:pt x="328988" y="259444"/>
                    <a:pt x="338775" y="260605"/>
                  </a:cubicBezTo>
                  <a:cubicBezTo>
                    <a:pt x="348560" y="261766"/>
                    <a:pt x="355361" y="269396"/>
                    <a:pt x="351547" y="276197"/>
                  </a:cubicBezTo>
                  <a:cubicBezTo>
                    <a:pt x="347731" y="282998"/>
                    <a:pt x="344746" y="269396"/>
                    <a:pt x="330978" y="270391"/>
                  </a:cubicBezTo>
                  <a:cubicBezTo>
                    <a:pt x="317212" y="271387"/>
                    <a:pt x="326002" y="253805"/>
                    <a:pt x="310245" y="252643"/>
                  </a:cubicBezTo>
                  <a:cubicBezTo>
                    <a:pt x="294488" y="251482"/>
                    <a:pt x="297474" y="223285"/>
                    <a:pt x="280887" y="223285"/>
                  </a:cubicBezTo>
                  <a:cubicBezTo>
                    <a:pt x="264300" y="223285"/>
                    <a:pt x="263139" y="209352"/>
                    <a:pt x="273920" y="199565"/>
                  </a:cubicBezTo>
                  <a:cubicBezTo>
                    <a:pt x="284701" y="189779"/>
                    <a:pt x="257333" y="180988"/>
                    <a:pt x="257333" y="169212"/>
                  </a:cubicBezTo>
                  <a:cubicBezTo>
                    <a:pt x="257333" y="157435"/>
                    <a:pt x="239751" y="164236"/>
                    <a:pt x="239751" y="154450"/>
                  </a:cubicBezTo>
                  <a:cubicBezTo>
                    <a:pt x="239751" y="144663"/>
                    <a:pt x="231789" y="149473"/>
                    <a:pt x="223164" y="137863"/>
                  </a:cubicBezTo>
                  <a:cubicBezTo>
                    <a:pt x="214539" y="126252"/>
                    <a:pt x="210393" y="136867"/>
                    <a:pt x="202596" y="128076"/>
                  </a:cubicBezTo>
                  <a:cubicBezTo>
                    <a:pt x="194801" y="119285"/>
                    <a:pt x="183853" y="114309"/>
                    <a:pt x="177053" y="117295"/>
                  </a:cubicBezTo>
                  <a:cubicBezTo>
                    <a:pt x="170252" y="120280"/>
                    <a:pt x="154329" y="104523"/>
                    <a:pt x="148523" y="88765"/>
                  </a:cubicBezTo>
                  <a:cubicBezTo>
                    <a:pt x="143879" y="76160"/>
                    <a:pt x="98763" y="55592"/>
                    <a:pt x="92460" y="39005"/>
                  </a:cubicBezTo>
                  <a:cubicBezTo>
                    <a:pt x="86158" y="22418"/>
                    <a:pt x="70897" y="15286"/>
                    <a:pt x="44358" y="16281"/>
                  </a:cubicBezTo>
                  <a:cubicBezTo>
                    <a:pt x="17819" y="17276"/>
                    <a:pt x="7370" y="-9594"/>
                    <a:pt x="1067" y="3509"/>
                  </a:cubicBezTo>
                  <a:cubicBezTo>
                    <a:pt x="-6729" y="20096"/>
                    <a:pt x="29596" y="57582"/>
                    <a:pt x="46349" y="67534"/>
                  </a:cubicBezTo>
                  <a:cubicBezTo>
                    <a:pt x="63102" y="77486"/>
                    <a:pt x="71892" y="112650"/>
                    <a:pt x="91464" y="114641"/>
                  </a:cubicBezTo>
                  <a:cubicBezTo>
                    <a:pt x="111038" y="116631"/>
                    <a:pt x="113193" y="178500"/>
                    <a:pt x="127790" y="180988"/>
                  </a:cubicBezTo>
                  <a:cubicBezTo>
                    <a:pt x="142386" y="183477"/>
                    <a:pt x="174068" y="232076"/>
                    <a:pt x="178877" y="257619"/>
                  </a:cubicBezTo>
                  <a:cubicBezTo>
                    <a:pt x="183687" y="283163"/>
                    <a:pt x="216364" y="295935"/>
                    <a:pt x="227146" y="314512"/>
                  </a:cubicBezTo>
                  <a:cubicBezTo>
                    <a:pt x="237926" y="333090"/>
                    <a:pt x="281218" y="358799"/>
                    <a:pt x="287024" y="366595"/>
                  </a:cubicBezTo>
                  <a:cubicBezTo>
                    <a:pt x="292829" y="374391"/>
                    <a:pt x="298800" y="392139"/>
                    <a:pt x="303611" y="383182"/>
                  </a:cubicBezTo>
                  <a:cubicBezTo>
                    <a:pt x="308420" y="374225"/>
                    <a:pt x="329154" y="383182"/>
                    <a:pt x="338941" y="384177"/>
                  </a:cubicBezTo>
                  <a:cubicBezTo>
                    <a:pt x="348726" y="385172"/>
                    <a:pt x="351547" y="349179"/>
                    <a:pt x="350551" y="335412"/>
                  </a:cubicBezTo>
                  <a:close/>
                  <a:moveTo>
                    <a:pt x="1101271" y="178003"/>
                  </a:moveTo>
                  <a:cubicBezTo>
                    <a:pt x="1122999" y="179993"/>
                    <a:pt x="1113048" y="167221"/>
                    <a:pt x="1113048" y="153454"/>
                  </a:cubicBezTo>
                  <a:cubicBezTo>
                    <a:pt x="1113048" y="139687"/>
                    <a:pt x="1093475" y="151464"/>
                    <a:pt x="1093475" y="144497"/>
                  </a:cubicBezTo>
                  <a:cubicBezTo>
                    <a:pt x="1093475" y="137531"/>
                    <a:pt x="1086509" y="110163"/>
                    <a:pt x="1070918" y="131725"/>
                  </a:cubicBezTo>
                  <a:cubicBezTo>
                    <a:pt x="1055326" y="153288"/>
                    <a:pt x="1075893" y="206864"/>
                    <a:pt x="1088500" y="204542"/>
                  </a:cubicBezTo>
                  <a:cubicBezTo>
                    <a:pt x="1101105" y="202219"/>
                    <a:pt x="1079708" y="177007"/>
                    <a:pt x="1101271" y="178169"/>
                  </a:cubicBezTo>
                  <a:close/>
                  <a:moveTo>
                    <a:pt x="1020659" y="300745"/>
                  </a:moveTo>
                  <a:cubicBezTo>
                    <a:pt x="1024640" y="316503"/>
                    <a:pt x="1053833" y="325294"/>
                    <a:pt x="1060965" y="311692"/>
                  </a:cubicBezTo>
                  <a:cubicBezTo>
                    <a:pt x="1068097" y="298091"/>
                    <a:pt x="1016180" y="282666"/>
                    <a:pt x="1020659" y="300911"/>
                  </a:cubicBezTo>
                  <a:close/>
                  <a:moveTo>
                    <a:pt x="943033" y="466613"/>
                  </a:moveTo>
                  <a:cubicBezTo>
                    <a:pt x="916659" y="462633"/>
                    <a:pt x="898912" y="482205"/>
                    <a:pt x="872373" y="472419"/>
                  </a:cubicBezTo>
                  <a:cubicBezTo>
                    <a:pt x="845834" y="462633"/>
                    <a:pt x="806025" y="472419"/>
                    <a:pt x="810504" y="481376"/>
                  </a:cubicBezTo>
                  <a:cubicBezTo>
                    <a:pt x="814982" y="490333"/>
                    <a:pt x="837872" y="490167"/>
                    <a:pt x="864411" y="491162"/>
                  </a:cubicBezTo>
                  <a:cubicBezTo>
                    <a:pt x="890950" y="492157"/>
                    <a:pt x="914172" y="477395"/>
                    <a:pt x="932251" y="476400"/>
                  </a:cubicBezTo>
                  <a:cubicBezTo>
                    <a:pt x="950331" y="475404"/>
                    <a:pt x="969571" y="470926"/>
                    <a:pt x="943033" y="467111"/>
                  </a:cubicBezTo>
                  <a:close/>
                  <a:moveTo>
                    <a:pt x="1153354" y="286812"/>
                  </a:moveTo>
                  <a:cubicBezTo>
                    <a:pt x="1127810" y="278851"/>
                    <a:pt x="1084187" y="285486"/>
                    <a:pt x="1088500" y="298589"/>
                  </a:cubicBezTo>
                  <a:cubicBezTo>
                    <a:pt x="1092811" y="311692"/>
                    <a:pt x="1113048" y="305389"/>
                    <a:pt x="1133781" y="305389"/>
                  </a:cubicBezTo>
                  <a:cubicBezTo>
                    <a:pt x="1154515" y="305389"/>
                    <a:pt x="1165131" y="320152"/>
                    <a:pt x="1175911" y="320152"/>
                  </a:cubicBezTo>
                  <a:cubicBezTo>
                    <a:pt x="1186693" y="320152"/>
                    <a:pt x="1178897" y="295106"/>
                    <a:pt x="1153354" y="287310"/>
                  </a:cubicBezTo>
                  <a:close/>
                  <a:moveTo>
                    <a:pt x="635513" y="455666"/>
                  </a:moveTo>
                  <a:cubicBezTo>
                    <a:pt x="634518" y="443890"/>
                    <a:pt x="596203" y="454837"/>
                    <a:pt x="577624" y="446875"/>
                  </a:cubicBezTo>
                  <a:cubicBezTo>
                    <a:pt x="559047" y="438914"/>
                    <a:pt x="598193" y="432113"/>
                    <a:pt x="610798" y="424317"/>
                  </a:cubicBezTo>
                  <a:cubicBezTo>
                    <a:pt x="623404" y="416521"/>
                    <a:pt x="603003" y="413536"/>
                    <a:pt x="571487" y="423322"/>
                  </a:cubicBezTo>
                  <a:cubicBezTo>
                    <a:pt x="539973" y="433108"/>
                    <a:pt x="503648" y="401759"/>
                    <a:pt x="502653" y="415360"/>
                  </a:cubicBezTo>
                  <a:cubicBezTo>
                    <a:pt x="501657" y="428962"/>
                    <a:pt x="445760" y="409555"/>
                    <a:pt x="431993" y="399769"/>
                  </a:cubicBezTo>
                  <a:cubicBezTo>
                    <a:pt x="418225" y="389982"/>
                    <a:pt x="365645" y="377045"/>
                    <a:pt x="354366" y="395788"/>
                  </a:cubicBezTo>
                  <a:cubicBezTo>
                    <a:pt x="343087" y="414531"/>
                    <a:pt x="334130" y="397778"/>
                    <a:pt x="337779" y="415360"/>
                  </a:cubicBezTo>
                  <a:cubicBezTo>
                    <a:pt x="340765" y="427303"/>
                    <a:pt x="354366" y="420337"/>
                    <a:pt x="362328" y="420337"/>
                  </a:cubicBezTo>
                  <a:cubicBezTo>
                    <a:pt x="370289" y="420337"/>
                    <a:pt x="367303" y="436923"/>
                    <a:pt x="380076" y="439079"/>
                  </a:cubicBezTo>
                  <a:cubicBezTo>
                    <a:pt x="392848" y="441236"/>
                    <a:pt x="435144" y="452847"/>
                    <a:pt x="438959" y="443890"/>
                  </a:cubicBezTo>
                  <a:cubicBezTo>
                    <a:pt x="442774" y="434933"/>
                    <a:pt x="482250" y="443890"/>
                    <a:pt x="501823" y="459647"/>
                  </a:cubicBezTo>
                  <a:cubicBezTo>
                    <a:pt x="521396" y="475404"/>
                    <a:pt x="566678" y="476234"/>
                    <a:pt x="584758" y="473414"/>
                  </a:cubicBezTo>
                  <a:cubicBezTo>
                    <a:pt x="602837" y="470595"/>
                    <a:pt x="622078" y="485191"/>
                    <a:pt x="629044" y="475404"/>
                  </a:cubicBezTo>
                  <a:cubicBezTo>
                    <a:pt x="636010" y="465618"/>
                    <a:pt x="648617" y="491991"/>
                    <a:pt x="668355" y="476400"/>
                  </a:cubicBezTo>
                  <a:cubicBezTo>
                    <a:pt x="688093" y="460808"/>
                    <a:pt x="636508" y="468106"/>
                    <a:pt x="635513" y="456164"/>
                  </a:cubicBezTo>
                  <a:close/>
                  <a:moveTo>
                    <a:pt x="1408791" y="241531"/>
                  </a:moveTo>
                  <a:cubicBezTo>
                    <a:pt x="1394195" y="242526"/>
                    <a:pt x="1392204" y="268069"/>
                    <a:pt x="1379432" y="268069"/>
                  </a:cubicBezTo>
                  <a:cubicBezTo>
                    <a:pt x="1366660" y="268069"/>
                    <a:pt x="1348912" y="294608"/>
                    <a:pt x="1325359" y="302404"/>
                  </a:cubicBezTo>
                  <a:cubicBezTo>
                    <a:pt x="1301806" y="310200"/>
                    <a:pt x="1300811" y="234564"/>
                    <a:pt x="1290029" y="219470"/>
                  </a:cubicBezTo>
                  <a:cubicBezTo>
                    <a:pt x="1279248" y="204376"/>
                    <a:pt x="1220199" y="192931"/>
                    <a:pt x="1214393" y="209518"/>
                  </a:cubicBezTo>
                  <a:cubicBezTo>
                    <a:pt x="1208588" y="226104"/>
                    <a:pt x="1187855" y="217479"/>
                    <a:pt x="1185864" y="231246"/>
                  </a:cubicBezTo>
                  <a:cubicBezTo>
                    <a:pt x="1183874" y="245014"/>
                    <a:pt x="1190674" y="240037"/>
                    <a:pt x="1203446" y="240037"/>
                  </a:cubicBezTo>
                  <a:cubicBezTo>
                    <a:pt x="1216217" y="240037"/>
                    <a:pt x="1216217" y="249824"/>
                    <a:pt x="1222189" y="262596"/>
                  </a:cubicBezTo>
                  <a:cubicBezTo>
                    <a:pt x="1228160" y="275367"/>
                    <a:pt x="1263490" y="266576"/>
                    <a:pt x="1275266" y="265581"/>
                  </a:cubicBezTo>
                  <a:cubicBezTo>
                    <a:pt x="1287043" y="264586"/>
                    <a:pt x="1289034" y="282168"/>
                    <a:pt x="1272281" y="275367"/>
                  </a:cubicBezTo>
                  <a:cubicBezTo>
                    <a:pt x="1255529" y="268567"/>
                    <a:pt x="1255694" y="283329"/>
                    <a:pt x="1243752" y="280344"/>
                  </a:cubicBezTo>
                  <a:cubicBezTo>
                    <a:pt x="1231809" y="277358"/>
                    <a:pt x="1216217" y="278353"/>
                    <a:pt x="1224180" y="285153"/>
                  </a:cubicBezTo>
                  <a:cubicBezTo>
                    <a:pt x="1232141" y="291954"/>
                    <a:pt x="1244747" y="299086"/>
                    <a:pt x="1244747" y="314678"/>
                  </a:cubicBezTo>
                  <a:cubicBezTo>
                    <a:pt x="1244747" y="330270"/>
                    <a:pt x="1267305" y="327450"/>
                    <a:pt x="1267305" y="314678"/>
                  </a:cubicBezTo>
                  <a:cubicBezTo>
                    <a:pt x="1267305" y="301906"/>
                    <a:pt x="1279082" y="318659"/>
                    <a:pt x="1301806" y="324465"/>
                  </a:cubicBezTo>
                  <a:cubicBezTo>
                    <a:pt x="1324530" y="330270"/>
                    <a:pt x="1308606" y="339227"/>
                    <a:pt x="1331165" y="340222"/>
                  </a:cubicBezTo>
                  <a:cubicBezTo>
                    <a:pt x="1364305" y="344501"/>
                    <a:pt x="1396135" y="355814"/>
                    <a:pt x="1424548" y="373396"/>
                  </a:cubicBezTo>
                  <a:cubicBezTo>
                    <a:pt x="1444286" y="388158"/>
                    <a:pt x="1430520" y="397944"/>
                    <a:pt x="1443291" y="411711"/>
                  </a:cubicBezTo>
                  <a:cubicBezTo>
                    <a:pt x="1456063" y="425478"/>
                    <a:pt x="1459878" y="441236"/>
                    <a:pt x="1442296" y="441236"/>
                  </a:cubicBezTo>
                  <a:cubicBezTo>
                    <a:pt x="1424714" y="441236"/>
                    <a:pt x="1405971" y="458818"/>
                    <a:pt x="1410782" y="467775"/>
                  </a:cubicBezTo>
                  <a:cubicBezTo>
                    <a:pt x="1415591" y="476732"/>
                    <a:pt x="1473645" y="463794"/>
                    <a:pt x="1487413" y="463794"/>
                  </a:cubicBezTo>
                  <a:cubicBezTo>
                    <a:pt x="1496535" y="463794"/>
                    <a:pt x="1505492" y="480381"/>
                    <a:pt x="1522909" y="491328"/>
                  </a:cubicBezTo>
                  <a:lnTo>
                    <a:pt x="1522909" y="282002"/>
                  </a:lnTo>
                  <a:cubicBezTo>
                    <a:pt x="1480280" y="267571"/>
                    <a:pt x="1420899" y="241198"/>
                    <a:pt x="1408791" y="242028"/>
                  </a:cubicBezTo>
                  <a:close/>
                  <a:moveTo>
                    <a:pt x="983505" y="490333"/>
                  </a:moveTo>
                  <a:cubicBezTo>
                    <a:pt x="980204" y="492456"/>
                    <a:pt x="976555" y="493965"/>
                    <a:pt x="972723" y="494811"/>
                  </a:cubicBezTo>
                  <a:cubicBezTo>
                    <a:pt x="971894" y="498328"/>
                    <a:pt x="970186" y="501595"/>
                    <a:pt x="967747" y="504266"/>
                  </a:cubicBezTo>
                  <a:cubicBezTo>
                    <a:pt x="965093" y="506422"/>
                    <a:pt x="960283" y="502109"/>
                    <a:pt x="956966" y="498294"/>
                  </a:cubicBezTo>
                  <a:cubicBezTo>
                    <a:pt x="937891" y="506256"/>
                    <a:pt x="927939" y="528980"/>
                    <a:pt x="940379" y="535947"/>
                  </a:cubicBezTo>
                  <a:cubicBezTo>
                    <a:pt x="952819" y="542913"/>
                    <a:pt x="971562" y="524833"/>
                    <a:pt x="982177" y="512227"/>
                  </a:cubicBezTo>
                  <a:lnTo>
                    <a:pt x="986656" y="506422"/>
                  </a:lnTo>
                  <a:cubicBezTo>
                    <a:pt x="987651" y="505311"/>
                    <a:pt x="988763" y="504315"/>
                    <a:pt x="989974" y="503436"/>
                  </a:cubicBezTo>
                  <a:lnTo>
                    <a:pt x="993290" y="501280"/>
                  </a:lnTo>
                  <a:cubicBezTo>
                    <a:pt x="990504" y="497465"/>
                    <a:pt x="987220" y="494065"/>
                    <a:pt x="983505" y="491162"/>
                  </a:cubicBezTo>
                  <a:close/>
                  <a:moveTo>
                    <a:pt x="710319" y="237218"/>
                  </a:moveTo>
                  <a:cubicBezTo>
                    <a:pt x="726458" y="225623"/>
                    <a:pt x="734154" y="205537"/>
                    <a:pt x="729892" y="186130"/>
                  </a:cubicBezTo>
                  <a:cubicBezTo>
                    <a:pt x="727901" y="166558"/>
                    <a:pt x="773018" y="165563"/>
                    <a:pt x="779653" y="157601"/>
                  </a:cubicBezTo>
                  <a:cubicBezTo>
                    <a:pt x="786287" y="149639"/>
                    <a:pt x="769866" y="137033"/>
                    <a:pt x="757094" y="131062"/>
                  </a:cubicBezTo>
                  <a:cubicBezTo>
                    <a:pt x="744323" y="125091"/>
                    <a:pt x="755104" y="112484"/>
                    <a:pt x="746313" y="104689"/>
                  </a:cubicBezTo>
                  <a:cubicBezTo>
                    <a:pt x="737522" y="96893"/>
                    <a:pt x="722594" y="76160"/>
                    <a:pt x="735365" y="75164"/>
                  </a:cubicBezTo>
                  <a:cubicBezTo>
                    <a:pt x="748137" y="74169"/>
                    <a:pt x="726575" y="56421"/>
                    <a:pt x="737356" y="50616"/>
                  </a:cubicBezTo>
                  <a:lnTo>
                    <a:pt x="742332" y="48128"/>
                  </a:lnTo>
                  <a:cubicBezTo>
                    <a:pt x="737256" y="45142"/>
                    <a:pt x="731600" y="43268"/>
                    <a:pt x="725746" y="42654"/>
                  </a:cubicBezTo>
                  <a:cubicBezTo>
                    <a:pt x="709988" y="42654"/>
                    <a:pt x="672668" y="38839"/>
                    <a:pt x="674658" y="64383"/>
                  </a:cubicBezTo>
                  <a:cubicBezTo>
                    <a:pt x="676648" y="89927"/>
                    <a:pt x="653095" y="79974"/>
                    <a:pt x="655086" y="93742"/>
                  </a:cubicBezTo>
                  <a:cubicBezTo>
                    <a:pt x="657076" y="107509"/>
                    <a:pt x="643309" y="107509"/>
                    <a:pt x="645133" y="125257"/>
                  </a:cubicBezTo>
                  <a:cubicBezTo>
                    <a:pt x="646958" y="143005"/>
                    <a:pt x="635347" y="135043"/>
                    <a:pt x="615609" y="144829"/>
                  </a:cubicBezTo>
                  <a:cubicBezTo>
                    <a:pt x="595871" y="154615"/>
                    <a:pt x="603998" y="139024"/>
                    <a:pt x="584260" y="139024"/>
                  </a:cubicBezTo>
                  <a:cubicBezTo>
                    <a:pt x="564521" y="139024"/>
                    <a:pt x="562697" y="148810"/>
                    <a:pt x="551086" y="152791"/>
                  </a:cubicBezTo>
                  <a:cubicBezTo>
                    <a:pt x="539475" y="156772"/>
                    <a:pt x="515590" y="150801"/>
                    <a:pt x="507794" y="156606"/>
                  </a:cubicBezTo>
                  <a:cubicBezTo>
                    <a:pt x="499998" y="162411"/>
                    <a:pt x="488056" y="143005"/>
                    <a:pt x="480260" y="143005"/>
                  </a:cubicBezTo>
                  <a:cubicBezTo>
                    <a:pt x="476279" y="143005"/>
                    <a:pt x="472796" y="132223"/>
                    <a:pt x="470308" y="121774"/>
                  </a:cubicBezTo>
                  <a:lnTo>
                    <a:pt x="466493" y="121774"/>
                  </a:lnTo>
                  <a:cubicBezTo>
                    <a:pt x="453721" y="122769"/>
                    <a:pt x="433320" y="156606"/>
                    <a:pt x="444930" y="168050"/>
                  </a:cubicBezTo>
                  <a:cubicBezTo>
                    <a:pt x="456541" y="179495"/>
                    <a:pt x="455712" y="203380"/>
                    <a:pt x="462512" y="214162"/>
                  </a:cubicBezTo>
                  <a:cubicBezTo>
                    <a:pt x="469313" y="224944"/>
                    <a:pt x="491042" y="226934"/>
                    <a:pt x="491042" y="247335"/>
                  </a:cubicBezTo>
                  <a:cubicBezTo>
                    <a:pt x="491042" y="267737"/>
                    <a:pt x="509785" y="300414"/>
                    <a:pt x="522557" y="291623"/>
                  </a:cubicBezTo>
                  <a:cubicBezTo>
                    <a:pt x="535328" y="282832"/>
                    <a:pt x="545115" y="295603"/>
                    <a:pt x="549096" y="304394"/>
                  </a:cubicBezTo>
                  <a:cubicBezTo>
                    <a:pt x="553076" y="313185"/>
                    <a:pt x="583430" y="297594"/>
                    <a:pt x="593216" y="299584"/>
                  </a:cubicBezTo>
                  <a:cubicBezTo>
                    <a:pt x="603003" y="301575"/>
                    <a:pt x="633523" y="307380"/>
                    <a:pt x="635513" y="319157"/>
                  </a:cubicBezTo>
                  <a:cubicBezTo>
                    <a:pt x="637504" y="330933"/>
                    <a:pt x="665037" y="318162"/>
                    <a:pt x="683614" y="311361"/>
                  </a:cubicBezTo>
                  <a:cubicBezTo>
                    <a:pt x="702192" y="304560"/>
                    <a:pt x="692572" y="248828"/>
                    <a:pt x="710319" y="238047"/>
                  </a:cubicBezTo>
                  <a:close/>
                  <a:moveTo>
                    <a:pt x="783965" y="512393"/>
                  </a:moveTo>
                  <a:cubicBezTo>
                    <a:pt x="789771" y="521184"/>
                    <a:pt x="806523" y="521184"/>
                    <a:pt x="813490" y="527155"/>
                  </a:cubicBezTo>
                  <a:cubicBezTo>
                    <a:pt x="820456" y="533127"/>
                    <a:pt x="844839" y="545898"/>
                    <a:pt x="844839" y="529146"/>
                  </a:cubicBezTo>
                  <a:cubicBezTo>
                    <a:pt x="844839" y="512393"/>
                    <a:pt x="777330" y="503436"/>
                    <a:pt x="783965" y="513222"/>
                  </a:cubicBezTo>
                  <a:close/>
                  <a:moveTo>
                    <a:pt x="734204" y="464292"/>
                  </a:moveTo>
                  <a:cubicBezTo>
                    <a:pt x="730389" y="473083"/>
                    <a:pt x="713637" y="475073"/>
                    <a:pt x="703851" y="468106"/>
                  </a:cubicBezTo>
                  <a:cubicBezTo>
                    <a:pt x="694064" y="461140"/>
                    <a:pt x="681790" y="477561"/>
                    <a:pt x="688093" y="485854"/>
                  </a:cubicBezTo>
                  <a:cubicBezTo>
                    <a:pt x="700832" y="498411"/>
                    <a:pt x="720090" y="501595"/>
                    <a:pt x="736194" y="493816"/>
                  </a:cubicBezTo>
                  <a:cubicBezTo>
                    <a:pt x="760910" y="481874"/>
                    <a:pt x="777496" y="492821"/>
                    <a:pt x="783468" y="480049"/>
                  </a:cubicBezTo>
                  <a:cubicBezTo>
                    <a:pt x="789439" y="467277"/>
                    <a:pt x="738683" y="456164"/>
                    <a:pt x="734702" y="465121"/>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93" name="Freeform: Shape 592">
              <a:extLst>
                <a:ext uri="{FF2B5EF4-FFF2-40B4-BE49-F238E27FC236}">
                  <a16:creationId xmlns:a16="http://schemas.microsoft.com/office/drawing/2014/main" id="{F36FB38C-7E34-4488-B5BD-67AB19222749}"/>
                </a:ext>
              </a:extLst>
            </p:cNvPr>
            <p:cNvSpPr/>
            <p:nvPr/>
          </p:nvSpPr>
          <p:spPr>
            <a:xfrm>
              <a:off x="5862881" y="3287052"/>
              <a:ext cx="113587" cy="139254"/>
            </a:xfrm>
            <a:custGeom>
              <a:avLst/>
              <a:gdLst>
                <a:gd name="connsiteX0" fmla="*/ 120572 w 132832"/>
                <a:gd name="connsiteY0" fmla="*/ 110535 h 166034"/>
                <a:gd name="connsiteX1" fmla="*/ 118962 w 132832"/>
                <a:gd name="connsiteY1" fmla="*/ 89254 h 166034"/>
                <a:gd name="connsiteX2" fmla="*/ 120572 w 132832"/>
                <a:gd name="connsiteY2" fmla="*/ 87645 h 166034"/>
                <a:gd name="connsiteX3" fmla="*/ 121401 w 132832"/>
                <a:gd name="connsiteY3" fmla="*/ 70063 h 166034"/>
                <a:gd name="connsiteX4" fmla="*/ 84412 w 132832"/>
                <a:gd name="connsiteY4" fmla="*/ 58950 h 166034"/>
                <a:gd name="connsiteX5" fmla="*/ 80100 w 132832"/>
                <a:gd name="connsiteY5" fmla="*/ 38382 h 166034"/>
                <a:gd name="connsiteX6" fmla="*/ 68937 w 132832"/>
                <a:gd name="connsiteY6" fmla="*/ 28347 h 166034"/>
                <a:gd name="connsiteX7" fmla="*/ 68986 w 132832"/>
                <a:gd name="connsiteY7" fmla="*/ 26605 h 166034"/>
                <a:gd name="connsiteX8" fmla="*/ 57210 w 132832"/>
                <a:gd name="connsiteY8" fmla="*/ 7365 h 166034"/>
                <a:gd name="connsiteX9" fmla="*/ 58205 w 132832"/>
                <a:gd name="connsiteY9" fmla="*/ 5872 h 166034"/>
                <a:gd name="connsiteX10" fmla="*/ 48750 w 132832"/>
                <a:gd name="connsiteY10" fmla="*/ 4379 h 166034"/>
                <a:gd name="connsiteX11" fmla="*/ 34486 w 132832"/>
                <a:gd name="connsiteY11" fmla="*/ -100 h 166034"/>
                <a:gd name="connsiteX12" fmla="*/ -15 w 132832"/>
                <a:gd name="connsiteY12" fmla="*/ 10848 h 166034"/>
                <a:gd name="connsiteX13" fmla="*/ 8611 w 132832"/>
                <a:gd name="connsiteY13" fmla="*/ 31084 h 166034"/>
                <a:gd name="connsiteX14" fmla="*/ 19060 w 132832"/>
                <a:gd name="connsiteY14" fmla="*/ 54803 h 166034"/>
                <a:gd name="connsiteX15" fmla="*/ 16572 w 132832"/>
                <a:gd name="connsiteY15" fmla="*/ 106222 h 166034"/>
                <a:gd name="connsiteX16" fmla="*/ 4132 w 132832"/>
                <a:gd name="connsiteY16" fmla="*/ 118662 h 166034"/>
                <a:gd name="connsiteX17" fmla="*/ 30173 w 132832"/>
                <a:gd name="connsiteY17" fmla="*/ 148353 h 166034"/>
                <a:gd name="connsiteX18" fmla="*/ 31168 w 132832"/>
                <a:gd name="connsiteY18" fmla="*/ 148353 h 166034"/>
                <a:gd name="connsiteX19" fmla="*/ 62020 w 132832"/>
                <a:gd name="connsiteY19" fmla="*/ 165935 h 166034"/>
                <a:gd name="connsiteX20" fmla="*/ 119244 w 132832"/>
                <a:gd name="connsiteY20" fmla="*/ 155485 h 166034"/>
                <a:gd name="connsiteX21" fmla="*/ 119244 w 132832"/>
                <a:gd name="connsiteY21" fmla="*/ 145367 h 166034"/>
                <a:gd name="connsiteX22" fmla="*/ 130192 w 132832"/>
                <a:gd name="connsiteY22" fmla="*/ 132098 h 166034"/>
                <a:gd name="connsiteX23" fmla="*/ 120572 w 132832"/>
                <a:gd name="connsiteY23" fmla="*/ 110535 h 1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2832" h="166034">
                  <a:moveTo>
                    <a:pt x="120572" y="110535"/>
                  </a:moveTo>
                  <a:cubicBezTo>
                    <a:pt x="114252" y="105094"/>
                    <a:pt x="113539" y="95573"/>
                    <a:pt x="118962" y="89254"/>
                  </a:cubicBezTo>
                  <a:cubicBezTo>
                    <a:pt x="119460" y="88673"/>
                    <a:pt x="119991" y="88143"/>
                    <a:pt x="120572" y="87645"/>
                  </a:cubicBezTo>
                  <a:cubicBezTo>
                    <a:pt x="127206" y="83332"/>
                    <a:pt x="121401" y="77361"/>
                    <a:pt x="121401" y="70063"/>
                  </a:cubicBezTo>
                  <a:cubicBezTo>
                    <a:pt x="121401" y="62765"/>
                    <a:pt x="89720" y="60443"/>
                    <a:pt x="84412" y="58950"/>
                  </a:cubicBezTo>
                  <a:cubicBezTo>
                    <a:pt x="79105" y="57457"/>
                    <a:pt x="88227" y="38382"/>
                    <a:pt x="80100" y="38382"/>
                  </a:cubicBezTo>
                  <a:cubicBezTo>
                    <a:pt x="74245" y="38697"/>
                    <a:pt x="69252" y="34202"/>
                    <a:pt x="68937" y="28347"/>
                  </a:cubicBezTo>
                  <a:cubicBezTo>
                    <a:pt x="68903" y="27766"/>
                    <a:pt x="68920" y="27186"/>
                    <a:pt x="68986" y="26605"/>
                  </a:cubicBezTo>
                  <a:cubicBezTo>
                    <a:pt x="68986" y="20634"/>
                    <a:pt x="56546" y="11014"/>
                    <a:pt x="57210" y="7365"/>
                  </a:cubicBezTo>
                  <a:cubicBezTo>
                    <a:pt x="57425" y="6801"/>
                    <a:pt x="57757" y="6287"/>
                    <a:pt x="58205" y="5872"/>
                  </a:cubicBezTo>
                  <a:lnTo>
                    <a:pt x="48750" y="4379"/>
                  </a:lnTo>
                  <a:cubicBezTo>
                    <a:pt x="43907" y="3168"/>
                    <a:pt x="39147" y="1675"/>
                    <a:pt x="34486" y="-100"/>
                  </a:cubicBezTo>
                  <a:lnTo>
                    <a:pt x="-15" y="10848"/>
                  </a:lnTo>
                  <a:cubicBezTo>
                    <a:pt x="815" y="19473"/>
                    <a:pt x="3137" y="28927"/>
                    <a:pt x="8611" y="31084"/>
                  </a:cubicBezTo>
                  <a:cubicBezTo>
                    <a:pt x="19060" y="34899"/>
                    <a:pt x="15245" y="45514"/>
                    <a:pt x="19060" y="54803"/>
                  </a:cubicBezTo>
                  <a:cubicBezTo>
                    <a:pt x="22875" y="64092"/>
                    <a:pt x="21714" y="106222"/>
                    <a:pt x="16572" y="106222"/>
                  </a:cubicBezTo>
                  <a:cubicBezTo>
                    <a:pt x="14250" y="106222"/>
                    <a:pt x="9108" y="111696"/>
                    <a:pt x="4132" y="118662"/>
                  </a:cubicBezTo>
                  <a:cubicBezTo>
                    <a:pt x="11430" y="125794"/>
                    <a:pt x="22543" y="139064"/>
                    <a:pt x="30173" y="148353"/>
                  </a:cubicBezTo>
                  <a:lnTo>
                    <a:pt x="31168" y="148353"/>
                  </a:lnTo>
                  <a:cubicBezTo>
                    <a:pt x="42232" y="152732"/>
                    <a:pt x="52615" y="158653"/>
                    <a:pt x="62020" y="165935"/>
                  </a:cubicBezTo>
                  <a:cubicBezTo>
                    <a:pt x="62020" y="165935"/>
                    <a:pt x="96189" y="158802"/>
                    <a:pt x="119244" y="155485"/>
                  </a:cubicBezTo>
                  <a:cubicBezTo>
                    <a:pt x="119543" y="152118"/>
                    <a:pt x="119543" y="148734"/>
                    <a:pt x="119244" y="145367"/>
                  </a:cubicBezTo>
                  <a:cubicBezTo>
                    <a:pt x="119145" y="138865"/>
                    <a:pt x="123789" y="133242"/>
                    <a:pt x="130192" y="132098"/>
                  </a:cubicBezTo>
                  <a:cubicBezTo>
                    <a:pt x="137490" y="131932"/>
                    <a:pt x="128035" y="117170"/>
                    <a:pt x="120572" y="110535"/>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94" name="Freeform: Shape 593">
              <a:extLst>
                <a:ext uri="{FF2B5EF4-FFF2-40B4-BE49-F238E27FC236}">
                  <a16:creationId xmlns:a16="http://schemas.microsoft.com/office/drawing/2014/main" id="{ED42B0B2-6418-4871-B91B-E23436A6F418}"/>
                </a:ext>
              </a:extLst>
            </p:cNvPr>
            <p:cNvSpPr/>
            <p:nvPr/>
          </p:nvSpPr>
          <p:spPr>
            <a:xfrm>
              <a:off x="8391461" y="4116823"/>
              <a:ext cx="65388" cy="50803"/>
            </a:xfrm>
            <a:custGeom>
              <a:avLst/>
              <a:gdLst>
                <a:gd name="connsiteX0" fmla="*/ 35759 w 76467"/>
                <a:gd name="connsiteY0" fmla="*/ 1952 h 60573"/>
                <a:gd name="connsiteX1" fmla="*/ 2585 w 76467"/>
                <a:gd name="connsiteY1" fmla="*/ 46736 h 60573"/>
                <a:gd name="connsiteX2" fmla="*/ 58483 w 76467"/>
                <a:gd name="connsiteY2" fmla="*/ 43917 h 60573"/>
                <a:gd name="connsiteX3" fmla="*/ 76231 w 76467"/>
                <a:gd name="connsiteY3" fmla="*/ 4772 h 60573"/>
                <a:gd name="connsiteX4" fmla="*/ 35759 w 76467"/>
                <a:gd name="connsiteY4" fmla="*/ 1952 h 6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67" h="60573">
                  <a:moveTo>
                    <a:pt x="35759" y="1952"/>
                  </a:moveTo>
                  <a:cubicBezTo>
                    <a:pt x="22988" y="1952"/>
                    <a:pt x="-9357" y="20529"/>
                    <a:pt x="2585" y="46736"/>
                  </a:cubicBezTo>
                  <a:cubicBezTo>
                    <a:pt x="14528" y="72944"/>
                    <a:pt x="57488" y="55693"/>
                    <a:pt x="58483" y="43917"/>
                  </a:cubicBezTo>
                  <a:cubicBezTo>
                    <a:pt x="59478" y="32140"/>
                    <a:pt x="78719" y="13729"/>
                    <a:pt x="76231" y="4772"/>
                  </a:cubicBezTo>
                  <a:cubicBezTo>
                    <a:pt x="73743" y="-4185"/>
                    <a:pt x="48531" y="1952"/>
                    <a:pt x="35759" y="1952"/>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sp>
          <p:nvSpPr>
            <p:cNvPr id="595" name="Freeform: Shape 594">
              <a:extLst>
                <a:ext uri="{FF2B5EF4-FFF2-40B4-BE49-F238E27FC236}">
                  <a16:creationId xmlns:a16="http://schemas.microsoft.com/office/drawing/2014/main" id="{78D13454-6A7B-4E96-8FBF-D539B8570E0A}"/>
                </a:ext>
              </a:extLst>
            </p:cNvPr>
            <p:cNvSpPr/>
            <p:nvPr/>
          </p:nvSpPr>
          <p:spPr>
            <a:xfrm>
              <a:off x="7433588" y="3028074"/>
              <a:ext cx="1705194" cy="1074855"/>
            </a:xfrm>
            <a:custGeom>
              <a:avLst/>
              <a:gdLst>
                <a:gd name="connsiteX0" fmla="*/ 1988248 w 1994099"/>
                <a:gd name="connsiteY0" fmla="*/ 241672 h 1281559"/>
                <a:gd name="connsiteX1" fmla="*/ 1961709 w 1994099"/>
                <a:gd name="connsiteY1" fmla="*/ 234871 h 1281559"/>
                <a:gd name="connsiteX2" fmla="*/ 1928536 w 1994099"/>
                <a:gd name="connsiteY2" fmla="*/ 246482 h 1281559"/>
                <a:gd name="connsiteX3" fmla="*/ 1899177 w 1994099"/>
                <a:gd name="connsiteY3" fmla="*/ 253283 h 1281559"/>
                <a:gd name="connsiteX4" fmla="*/ 1866003 w 1994099"/>
                <a:gd name="connsiteY4" fmla="*/ 240677 h 1281559"/>
                <a:gd name="connsiteX5" fmla="*/ 1859203 w 1994099"/>
                <a:gd name="connsiteY5" fmla="*/ 212313 h 1281559"/>
                <a:gd name="connsiteX6" fmla="*/ 1835650 w 1994099"/>
                <a:gd name="connsiteY6" fmla="*/ 196722 h 1281559"/>
                <a:gd name="connsiteX7" fmla="*/ 1802476 w 1994099"/>
                <a:gd name="connsiteY7" fmla="*/ 181959 h 1281559"/>
                <a:gd name="connsiteX8" fmla="*/ 1770132 w 1994099"/>
                <a:gd name="connsiteY8" fmla="*/ 170349 h 1281559"/>
                <a:gd name="connsiteX9" fmla="*/ 1757359 w 1994099"/>
                <a:gd name="connsiteY9" fmla="*/ 151771 h 1281559"/>
                <a:gd name="connsiteX10" fmla="*/ 1740773 w 1994099"/>
                <a:gd name="connsiteY10" fmla="*/ 111631 h 1281559"/>
                <a:gd name="connsiteX11" fmla="*/ 1721034 w 1994099"/>
                <a:gd name="connsiteY11" fmla="*/ 72652 h 1281559"/>
                <a:gd name="connsiteX12" fmla="*/ 1705443 w 1994099"/>
                <a:gd name="connsiteY12" fmla="*/ 42298 h 1281559"/>
                <a:gd name="connsiteX13" fmla="*/ 1683714 w 1994099"/>
                <a:gd name="connsiteY13" fmla="*/ 17750 h 1281559"/>
                <a:gd name="connsiteX14" fmla="*/ 1643408 w 1994099"/>
                <a:gd name="connsiteY14" fmla="*/ 6139 h 1281559"/>
                <a:gd name="connsiteX15" fmla="*/ 1606088 w 1994099"/>
                <a:gd name="connsiteY15" fmla="*/ 334 h 1281559"/>
                <a:gd name="connsiteX16" fmla="*/ 1556327 w 1994099"/>
                <a:gd name="connsiteY16" fmla="*/ 4148 h 1281559"/>
                <a:gd name="connsiteX17" fmla="*/ 1514197 w 1994099"/>
                <a:gd name="connsiteY17" fmla="*/ 17750 h 1281559"/>
                <a:gd name="connsiteX18" fmla="*/ 1517016 w 1994099"/>
                <a:gd name="connsiteY18" fmla="*/ 35498 h 1281559"/>
                <a:gd name="connsiteX19" fmla="*/ 1526803 w 1994099"/>
                <a:gd name="connsiteY19" fmla="*/ 58885 h 1281559"/>
                <a:gd name="connsiteX20" fmla="*/ 1512207 w 1994099"/>
                <a:gd name="connsiteY20" fmla="*/ 75472 h 1281559"/>
                <a:gd name="connsiteX21" fmla="*/ 1491473 w 1994099"/>
                <a:gd name="connsiteY21" fmla="*/ 106821 h 1281559"/>
                <a:gd name="connsiteX22" fmla="*/ 1475715 w 1994099"/>
                <a:gd name="connsiteY22" fmla="*/ 140990 h 1281559"/>
                <a:gd name="connsiteX23" fmla="*/ 1461119 w 1994099"/>
                <a:gd name="connsiteY23" fmla="*/ 155586 h 1281559"/>
                <a:gd name="connsiteX24" fmla="*/ 1429603 w 1994099"/>
                <a:gd name="connsiteY24" fmla="*/ 172173 h 1281559"/>
                <a:gd name="connsiteX25" fmla="*/ 1396430 w 1994099"/>
                <a:gd name="connsiteY25" fmla="*/ 163216 h 1281559"/>
                <a:gd name="connsiteX26" fmla="*/ 1388967 w 1994099"/>
                <a:gd name="connsiteY26" fmla="*/ 157743 h 1281559"/>
                <a:gd name="connsiteX27" fmla="*/ 1362427 w 1994099"/>
                <a:gd name="connsiteY27" fmla="*/ 210654 h 1281559"/>
                <a:gd name="connsiteX28" fmla="*/ 1360271 w 1994099"/>
                <a:gd name="connsiteY28" fmla="*/ 227241 h 1281559"/>
                <a:gd name="connsiteX29" fmla="*/ 1355958 w 1994099"/>
                <a:gd name="connsiteY29" fmla="*/ 243828 h 1281559"/>
                <a:gd name="connsiteX30" fmla="*/ 1390127 w 1994099"/>
                <a:gd name="connsiteY30" fmla="*/ 245985 h 1281559"/>
                <a:gd name="connsiteX31" fmla="*/ 1422305 w 1994099"/>
                <a:gd name="connsiteY31" fmla="*/ 250297 h 1281559"/>
                <a:gd name="connsiteX32" fmla="*/ 1447219 w 1994099"/>
                <a:gd name="connsiteY32" fmla="*/ 240561 h 1281559"/>
                <a:gd name="connsiteX33" fmla="*/ 1454318 w 1994099"/>
                <a:gd name="connsiteY33" fmla="*/ 245985 h 1281559"/>
                <a:gd name="connsiteX34" fmla="*/ 1497278 w 1994099"/>
                <a:gd name="connsiteY34" fmla="*/ 290769 h 1281559"/>
                <a:gd name="connsiteX35" fmla="*/ 1462943 w 1994099"/>
                <a:gd name="connsiteY35" fmla="*/ 294916 h 1281559"/>
                <a:gd name="connsiteX36" fmla="*/ 1420149 w 1994099"/>
                <a:gd name="connsiteY36" fmla="*/ 303541 h 1281559"/>
                <a:gd name="connsiteX37" fmla="*/ 1379512 w 1994099"/>
                <a:gd name="connsiteY37" fmla="*/ 320128 h 1281559"/>
                <a:gd name="connsiteX38" fmla="*/ 1349490 w 1994099"/>
                <a:gd name="connsiteY38" fmla="*/ 347828 h 1281559"/>
                <a:gd name="connsiteX39" fmla="*/ 1299729 w 1994099"/>
                <a:gd name="connsiteY39" fmla="*/ 362756 h 1281559"/>
                <a:gd name="connsiteX40" fmla="*/ 1246319 w 1994099"/>
                <a:gd name="connsiteY40" fmla="*/ 367068 h 1281559"/>
                <a:gd name="connsiteX41" fmla="*/ 1214456 w 1994099"/>
                <a:gd name="connsiteY41" fmla="*/ 374997 h 1281559"/>
                <a:gd name="connsiteX42" fmla="*/ 1214141 w 1994099"/>
                <a:gd name="connsiteY42" fmla="*/ 375528 h 1281559"/>
                <a:gd name="connsiteX43" fmla="*/ 1222766 w 1994099"/>
                <a:gd name="connsiteY43" fmla="*/ 413843 h 1281559"/>
                <a:gd name="connsiteX44" fmla="*/ 1181962 w 1994099"/>
                <a:gd name="connsiteY44" fmla="*/ 445856 h 1281559"/>
                <a:gd name="connsiteX45" fmla="*/ 1122084 w 1994099"/>
                <a:gd name="connsiteY45" fmla="*/ 471399 h 1281559"/>
                <a:gd name="connsiteX46" fmla="*/ 1047111 w 1994099"/>
                <a:gd name="connsiteY46" fmla="*/ 473556 h 1281559"/>
                <a:gd name="connsiteX47" fmla="*/ 989389 w 1994099"/>
                <a:gd name="connsiteY47" fmla="*/ 503246 h 1281559"/>
                <a:gd name="connsiteX48" fmla="*/ 963680 w 1994099"/>
                <a:gd name="connsiteY48" fmla="*/ 490474 h 1281559"/>
                <a:gd name="connsiteX49" fmla="*/ 929511 w 1994099"/>
                <a:gd name="connsiteY49" fmla="*/ 482015 h 1281559"/>
                <a:gd name="connsiteX50" fmla="*/ 893020 w 1994099"/>
                <a:gd name="connsiteY50" fmla="*/ 473556 h 1281559"/>
                <a:gd name="connsiteX51" fmla="*/ 833142 w 1994099"/>
                <a:gd name="connsiteY51" fmla="*/ 460784 h 1281559"/>
                <a:gd name="connsiteX52" fmla="*/ 753856 w 1994099"/>
                <a:gd name="connsiteY52" fmla="*/ 458628 h 1281559"/>
                <a:gd name="connsiteX53" fmla="*/ 711062 w 1994099"/>
                <a:gd name="connsiteY53" fmla="*/ 454315 h 1281559"/>
                <a:gd name="connsiteX54" fmla="*/ 691822 w 1994099"/>
                <a:gd name="connsiteY54" fmla="*/ 421141 h 1281559"/>
                <a:gd name="connsiteX55" fmla="*/ 666112 w 1994099"/>
                <a:gd name="connsiteY55" fmla="*/ 393441 h 1281559"/>
                <a:gd name="connsiteX56" fmla="*/ 644715 w 1994099"/>
                <a:gd name="connsiteY56" fmla="*/ 378513 h 1281559"/>
                <a:gd name="connsiteX57" fmla="*/ 619834 w 1994099"/>
                <a:gd name="connsiteY57" fmla="*/ 363585 h 1281559"/>
                <a:gd name="connsiteX58" fmla="*/ 545029 w 1994099"/>
                <a:gd name="connsiteY58" fmla="*/ 345340 h 1281559"/>
                <a:gd name="connsiteX59" fmla="*/ 552492 w 1994099"/>
                <a:gd name="connsiteY59" fmla="*/ 318303 h 1281559"/>
                <a:gd name="connsiteX60" fmla="*/ 554482 w 1994099"/>
                <a:gd name="connsiteY60" fmla="*/ 285129 h 1281559"/>
                <a:gd name="connsiteX61" fmla="*/ 536735 w 1994099"/>
                <a:gd name="connsiteY61" fmla="*/ 260083 h 1281559"/>
                <a:gd name="connsiteX62" fmla="*/ 508205 w 1994099"/>
                <a:gd name="connsiteY62" fmla="*/ 237028 h 1281559"/>
                <a:gd name="connsiteX63" fmla="*/ 478349 w 1994099"/>
                <a:gd name="connsiteY63" fmla="*/ 220441 h 1281559"/>
                <a:gd name="connsiteX64" fmla="*/ 454464 w 1994099"/>
                <a:gd name="connsiteY64" fmla="*/ 189921 h 1281559"/>
                <a:gd name="connsiteX65" fmla="*/ 453469 w 1994099"/>
                <a:gd name="connsiteY65" fmla="*/ 185940 h 1281559"/>
                <a:gd name="connsiteX66" fmla="*/ 440697 w 1994099"/>
                <a:gd name="connsiteY66" fmla="*/ 183950 h 1281559"/>
                <a:gd name="connsiteX67" fmla="*/ 432072 w 1994099"/>
                <a:gd name="connsiteY67" fmla="*/ 178808 h 1281559"/>
                <a:gd name="connsiteX68" fmla="*/ 420461 w 1994099"/>
                <a:gd name="connsiteY68" fmla="*/ 200039 h 1281559"/>
                <a:gd name="connsiteX69" fmla="*/ 406197 w 1994099"/>
                <a:gd name="connsiteY69" fmla="*/ 218285 h 1281559"/>
                <a:gd name="connsiteX70" fmla="*/ 384467 w 1994099"/>
                <a:gd name="connsiteY70" fmla="*/ 243331 h 1281559"/>
                <a:gd name="connsiteX71" fmla="*/ 389278 w 1994099"/>
                <a:gd name="connsiteY71" fmla="*/ 269704 h 1281559"/>
                <a:gd name="connsiteX72" fmla="*/ 357929 w 1994099"/>
                <a:gd name="connsiteY72" fmla="*/ 281149 h 1281559"/>
                <a:gd name="connsiteX73" fmla="*/ 327409 w 1994099"/>
                <a:gd name="connsiteY73" fmla="*/ 278495 h 1281559"/>
                <a:gd name="connsiteX74" fmla="*/ 304851 w 1994099"/>
                <a:gd name="connsiteY74" fmla="*/ 278495 h 1281559"/>
                <a:gd name="connsiteX75" fmla="*/ 284449 w 1994099"/>
                <a:gd name="connsiteY75" fmla="*/ 342188 h 1281559"/>
                <a:gd name="connsiteX76" fmla="*/ 284449 w 1994099"/>
                <a:gd name="connsiteY76" fmla="*/ 357614 h 1281559"/>
                <a:gd name="connsiteX77" fmla="*/ 260730 w 1994099"/>
                <a:gd name="connsiteY77" fmla="*/ 351643 h 1281559"/>
                <a:gd name="connsiteX78" fmla="*/ 229381 w 1994099"/>
                <a:gd name="connsiteY78" fmla="*/ 357614 h 1281559"/>
                <a:gd name="connsiteX79" fmla="*/ 210305 w 1994099"/>
                <a:gd name="connsiteY79" fmla="*/ 370552 h 1281559"/>
                <a:gd name="connsiteX80" fmla="*/ 217770 w 1994099"/>
                <a:gd name="connsiteY80" fmla="*/ 399247 h 1281559"/>
                <a:gd name="connsiteX81" fmla="*/ 230874 w 1994099"/>
                <a:gd name="connsiteY81" fmla="*/ 435904 h 1281559"/>
                <a:gd name="connsiteX82" fmla="*/ 213292 w 1994099"/>
                <a:gd name="connsiteY82" fmla="*/ 460784 h 1281559"/>
                <a:gd name="connsiteX83" fmla="*/ 211136 w 1994099"/>
                <a:gd name="connsiteY83" fmla="*/ 481352 h 1281559"/>
                <a:gd name="connsiteX84" fmla="*/ 181611 w 1994099"/>
                <a:gd name="connsiteY84" fmla="*/ 495948 h 1281559"/>
                <a:gd name="connsiteX85" fmla="*/ 155735 w 1994099"/>
                <a:gd name="connsiteY85" fmla="*/ 510544 h 1281559"/>
                <a:gd name="connsiteX86" fmla="*/ 129196 w 1994099"/>
                <a:gd name="connsiteY86" fmla="*/ 525307 h 1281559"/>
                <a:gd name="connsiteX87" fmla="*/ 99008 w 1994099"/>
                <a:gd name="connsiteY87" fmla="*/ 534098 h 1281559"/>
                <a:gd name="connsiteX88" fmla="*/ 79104 w 1994099"/>
                <a:gd name="connsiteY88" fmla="*/ 547201 h 1281559"/>
                <a:gd name="connsiteX89" fmla="*/ 58537 w 1994099"/>
                <a:gd name="connsiteY89" fmla="*/ 540733 h 1281559"/>
                <a:gd name="connsiteX90" fmla="*/ 38632 w 1994099"/>
                <a:gd name="connsiteY90" fmla="*/ 547201 h 1281559"/>
                <a:gd name="connsiteX91" fmla="*/ 20221 w 1994099"/>
                <a:gd name="connsiteY91" fmla="*/ 558978 h 1281559"/>
                <a:gd name="connsiteX92" fmla="*/ 5458 w 1994099"/>
                <a:gd name="connsiteY92" fmla="*/ 567769 h 1281559"/>
                <a:gd name="connsiteX93" fmla="*/ -15 w 1994099"/>
                <a:gd name="connsiteY93" fmla="*/ 584356 h 1281559"/>
                <a:gd name="connsiteX94" fmla="*/ -15 w 1994099"/>
                <a:gd name="connsiteY94" fmla="*/ 584356 h 1281559"/>
                <a:gd name="connsiteX95" fmla="*/ 7615 w 1994099"/>
                <a:gd name="connsiteY95" fmla="*/ 614046 h 1281559"/>
                <a:gd name="connsiteX96" fmla="*/ 40788 w 1994099"/>
                <a:gd name="connsiteY96" fmla="*/ 634946 h 1281559"/>
                <a:gd name="connsiteX97" fmla="*/ 26690 w 1994099"/>
                <a:gd name="connsiteY97" fmla="*/ 679067 h 1281559"/>
                <a:gd name="connsiteX98" fmla="*/ 23538 w 1994099"/>
                <a:gd name="connsiteY98" fmla="*/ 683048 h 1281559"/>
                <a:gd name="connsiteX99" fmla="*/ 30836 w 1994099"/>
                <a:gd name="connsiteY99" fmla="*/ 689185 h 1281559"/>
                <a:gd name="connsiteX100" fmla="*/ 32827 w 1994099"/>
                <a:gd name="connsiteY100" fmla="*/ 686365 h 1281559"/>
                <a:gd name="connsiteX101" fmla="*/ 37139 w 1994099"/>
                <a:gd name="connsiteY101" fmla="*/ 688024 h 1281559"/>
                <a:gd name="connsiteX102" fmla="*/ 38632 w 1994099"/>
                <a:gd name="connsiteY102" fmla="*/ 691175 h 1281559"/>
                <a:gd name="connsiteX103" fmla="*/ 44604 w 1994099"/>
                <a:gd name="connsiteY103" fmla="*/ 691175 h 1281559"/>
                <a:gd name="connsiteX104" fmla="*/ 50243 w 1994099"/>
                <a:gd name="connsiteY104" fmla="*/ 689185 h 1281559"/>
                <a:gd name="connsiteX105" fmla="*/ 60361 w 1994099"/>
                <a:gd name="connsiteY105" fmla="*/ 701127 h 1281559"/>
                <a:gd name="connsiteX106" fmla="*/ 70313 w 1994099"/>
                <a:gd name="connsiteY106" fmla="*/ 711411 h 1281559"/>
                <a:gd name="connsiteX107" fmla="*/ 78938 w 1994099"/>
                <a:gd name="connsiteY107" fmla="*/ 714729 h 1281559"/>
                <a:gd name="connsiteX108" fmla="*/ 86900 w 1994099"/>
                <a:gd name="connsiteY108" fmla="*/ 720368 h 1281559"/>
                <a:gd name="connsiteX109" fmla="*/ 94032 w 1994099"/>
                <a:gd name="connsiteY109" fmla="*/ 725676 h 1281559"/>
                <a:gd name="connsiteX110" fmla="*/ 97350 w 1994099"/>
                <a:gd name="connsiteY110" fmla="*/ 735628 h 1281559"/>
                <a:gd name="connsiteX111" fmla="*/ 106638 w 1994099"/>
                <a:gd name="connsiteY111" fmla="*/ 737784 h 1281559"/>
                <a:gd name="connsiteX112" fmla="*/ 111614 w 1994099"/>
                <a:gd name="connsiteY112" fmla="*/ 741433 h 1281559"/>
                <a:gd name="connsiteX113" fmla="*/ 119244 w 1994099"/>
                <a:gd name="connsiteY113" fmla="*/ 746907 h 1281559"/>
                <a:gd name="connsiteX114" fmla="*/ 120903 w 1994099"/>
                <a:gd name="connsiteY114" fmla="*/ 746907 h 1281559"/>
                <a:gd name="connsiteX115" fmla="*/ 129362 w 1994099"/>
                <a:gd name="connsiteY115" fmla="*/ 746907 h 1281559"/>
                <a:gd name="connsiteX116" fmla="*/ 141471 w 1994099"/>
                <a:gd name="connsiteY116" fmla="*/ 744419 h 1281559"/>
                <a:gd name="connsiteX117" fmla="*/ 141471 w 1994099"/>
                <a:gd name="connsiteY117" fmla="*/ 743589 h 1281559"/>
                <a:gd name="connsiteX118" fmla="*/ 178957 w 1994099"/>
                <a:gd name="connsiteY118" fmla="*/ 723022 h 1281559"/>
                <a:gd name="connsiteX119" fmla="*/ 182440 w 1994099"/>
                <a:gd name="connsiteY119" fmla="*/ 723022 h 1281559"/>
                <a:gd name="connsiteX120" fmla="*/ 200852 w 1994099"/>
                <a:gd name="connsiteY120" fmla="*/ 732974 h 1281559"/>
                <a:gd name="connsiteX121" fmla="*/ 202344 w 1994099"/>
                <a:gd name="connsiteY121" fmla="*/ 732974 h 1281559"/>
                <a:gd name="connsiteX122" fmla="*/ 209642 w 1994099"/>
                <a:gd name="connsiteY122" fmla="*/ 736789 h 1281559"/>
                <a:gd name="connsiteX123" fmla="*/ 211302 w 1994099"/>
                <a:gd name="connsiteY123" fmla="*/ 741931 h 1281559"/>
                <a:gd name="connsiteX124" fmla="*/ 217439 w 1994099"/>
                <a:gd name="connsiteY124" fmla="*/ 752380 h 1281559"/>
                <a:gd name="connsiteX125" fmla="*/ 217439 w 1994099"/>
                <a:gd name="connsiteY125" fmla="*/ 752380 h 1281559"/>
                <a:gd name="connsiteX126" fmla="*/ 217439 w 1994099"/>
                <a:gd name="connsiteY126" fmla="*/ 752380 h 1281559"/>
                <a:gd name="connsiteX127" fmla="*/ 217439 w 1994099"/>
                <a:gd name="connsiteY127" fmla="*/ 753210 h 1281559"/>
                <a:gd name="connsiteX128" fmla="*/ 217439 w 1994099"/>
                <a:gd name="connsiteY128" fmla="*/ 753210 h 1281559"/>
                <a:gd name="connsiteX129" fmla="*/ 217439 w 1994099"/>
                <a:gd name="connsiteY129" fmla="*/ 753210 h 1281559"/>
                <a:gd name="connsiteX130" fmla="*/ 217439 w 1994099"/>
                <a:gd name="connsiteY130" fmla="*/ 753210 h 1281559"/>
                <a:gd name="connsiteX131" fmla="*/ 200852 w 1994099"/>
                <a:gd name="connsiteY131" fmla="*/ 776929 h 1281559"/>
                <a:gd name="connsiteX132" fmla="*/ 199691 w 1994099"/>
                <a:gd name="connsiteY132" fmla="*/ 778920 h 1281559"/>
                <a:gd name="connsiteX133" fmla="*/ 198695 w 1994099"/>
                <a:gd name="connsiteY133" fmla="*/ 778920 h 1281559"/>
                <a:gd name="connsiteX134" fmla="*/ 185094 w 1994099"/>
                <a:gd name="connsiteY134" fmla="*/ 790032 h 1281559"/>
                <a:gd name="connsiteX135" fmla="*/ 171327 w 1994099"/>
                <a:gd name="connsiteY135" fmla="*/ 806619 h 1281559"/>
                <a:gd name="connsiteX136" fmla="*/ 169834 w 1994099"/>
                <a:gd name="connsiteY136" fmla="*/ 807449 h 1281559"/>
                <a:gd name="connsiteX137" fmla="*/ 184099 w 1994099"/>
                <a:gd name="connsiteY137" fmla="*/ 827519 h 1281559"/>
                <a:gd name="connsiteX138" fmla="*/ 184099 w 1994099"/>
                <a:gd name="connsiteY138" fmla="*/ 827519 h 1281559"/>
                <a:gd name="connsiteX139" fmla="*/ 184099 w 1994099"/>
                <a:gd name="connsiteY139" fmla="*/ 827519 h 1281559"/>
                <a:gd name="connsiteX140" fmla="*/ 184928 w 1994099"/>
                <a:gd name="connsiteY140" fmla="*/ 828846 h 1281559"/>
                <a:gd name="connsiteX141" fmla="*/ 184928 w 1994099"/>
                <a:gd name="connsiteY141" fmla="*/ 828846 h 1281559"/>
                <a:gd name="connsiteX142" fmla="*/ 185923 w 1994099"/>
                <a:gd name="connsiteY142" fmla="*/ 830339 h 1281559"/>
                <a:gd name="connsiteX143" fmla="*/ 185923 w 1994099"/>
                <a:gd name="connsiteY143" fmla="*/ 830339 h 1281559"/>
                <a:gd name="connsiteX144" fmla="*/ 185923 w 1994099"/>
                <a:gd name="connsiteY144" fmla="*/ 831499 h 1281559"/>
                <a:gd name="connsiteX145" fmla="*/ 185923 w 1994099"/>
                <a:gd name="connsiteY145" fmla="*/ 831499 h 1281559"/>
                <a:gd name="connsiteX146" fmla="*/ 185923 w 1994099"/>
                <a:gd name="connsiteY146" fmla="*/ 832329 h 1281559"/>
                <a:gd name="connsiteX147" fmla="*/ 185923 w 1994099"/>
                <a:gd name="connsiteY147" fmla="*/ 832329 h 1281559"/>
                <a:gd name="connsiteX148" fmla="*/ 185923 w 1994099"/>
                <a:gd name="connsiteY148" fmla="*/ 833158 h 1281559"/>
                <a:gd name="connsiteX149" fmla="*/ 185923 w 1994099"/>
                <a:gd name="connsiteY149" fmla="*/ 834485 h 1281559"/>
                <a:gd name="connsiteX150" fmla="*/ 185923 w 1994099"/>
                <a:gd name="connsiteY150" fmla="*/ 834485 h 1281559"/>
                <a:gd name="connsiteX151" fmla="*/ 185923 w 1994099"/>
                <a:gd name="connsiteY151" fmla="*/ 835315 h 1281559"/>
                <a:gd name="connsiteX152" fmla="*/ 185923 w 1994099"/>
                <a:gd name="connsiteY152" fmla="*/ 835315 h 1281559"/>
                <a:gd name="connsiteX153" fmla="*/ 185923 w 1994099"/>
                <a:gd name="connsiteY153" fmla="*/ 835315 h 1281559"/>
                <a:gd name="connsiteX154" fmla="*/ 185923 w 1994099"/>
                <a:gd name="connsiteY154" fmla="*/ 836973 h 1281559"/>
                <a:gd name="connsiteX155" fmla="*/ 185923 w 1994099"/>
                <a:gd name="connsiteY155" fmla="*/ 836973 h 1281559"/>
                <a:gd name="connsiteX156" fmla="*/ 185923 w 1994099"/>
                <a:gd name="connsiteY156" fmla="*/ 836973 h 1281559"/>
                <a:gd name="connsiteX157" fmla="*/ 185923 w 1994099"/>
                <a:gd name="connsiteY157" fmla="*/ 836973 h 1281559"/>
                <a:gd name="connsiteX158" fmla="*/ 185923 w 1994099"/>
                <a:gd name="connsiteY158" fmla="*/ 836973 h 1281559"/>
                <a:gd name="connsiteX159" fmla="*/ 167678 w 1994099"/>
                <a:gd name="connsiteY159" fmla="*/ 839793 h 1281559"/>
                <a:gd name="connsiteX160" fmla="*/ 168673 w 1994099"/>
                <a:gd name="connsiteY160" fmla="*/ 841120 h 1281559"/>
                <a:gd name="connsiteX161" fmla="*/ 174976 w 1994099"/>
                <a:gd name="connsiteY161" fmla="*/ 847921 h 1281559"/>
                <a:gd name="connsiteX162" fmla="*/ 176137 w 1994099"/>
                <a:gd name="connsiteY162" fmla="*/ 855551 h 1281559"/>
                <a:gd name="connsiteX163" fmla="*/ 169834 w 1994099"/>
                <a:gd name="connsiteY163" fmla="*/ 858205 h 1281559"/>
                <a:gd name="connsiteX164" fmla="*/ 164858 w 1994099"/>
                <a:gd name="connsiteY164" fmla="*/ 860692 h 1281559"/>
                <a:gd name="connsiteX165" fmla="*/ 163033 w 1994099"/>
                <a:gd name="connsiteY165" fmla="*/ 866498 h 1281559"/>
                <a:gd name="connsiteX166" fmla="*/ 163033 w 1994099"/>
                <a:gd name="connsiteY166" fmla="*/ 868986 h 1281559"/>
                <a:gd name="connsiteX167" fmla="*/ 167346 w 1994099"/>
                <a:gd name="connsiteY167" fmla="*/ 878109 h 1281559"/>
                <a:gd name="connsiteX168" fmla="*/ 167346 w 1994099"/>
                <a:gd name="connsiteY168" fmla="*/ 878109 h 1281559"/>
                <a:gd name="connsiteX169" fmla="*/ 167346 w 1994099"/>
                <a:gd name="connsiteY169" fmla="*/ 878109 h 1281559"/>
                <a:gd name="connsiteX170" fmla="*/ 169502 w 1994099"/>
                <a:gd name="connsiteY170" fmla="*/ 878109 h 1281559"/>
                <a:gd name="connsiteX171" fmla="*/ 182606 w 1994099"/>
                <a:gd name="connsiteY171" fmla="*/ 888227 h 1281559"/>
                <a:gd name="connsiteX172" fmla="*/ 191397 w 1994099"/>
                <a:gd name="connsiteY172" fmla="*/ 896022 h 1281559"/>
                <a:gd name="connsiteX173" fmla="*/ 192889 w 1994099"/>
                <a:gd name="connsiteY173" fmla="*/ 896022 h 1281559"/>
                <a:gd name="connsiteX174" fmla="*/ 192889 w 1994099"/>
                <a:gd name="connsiteY174" fmla="*/ 896022 h 1281559"/>
                <a:gd name="connsiteX175" fmla="*/ 196705 w 1994099"/>
                <a:gd name="connsiteY175" fmla="*/ 896852 h 1281559"/>
                <a:gd name="connsiteX176" fmla="*/ 198695 w 1994099"/>
                <a:gd name="connsiteY176" fmla="*/ 896852 h 1281559"/>
                <a:gd name="connsiteX177" fmla="*/ 200520 w 1994099"/>
                <a:gd name="connsiteY177" fmla="*/ 896852 h 1281559"/>
                <a:gd name="connsiteX178" fmla="*/ 200520 w 1994099"/>
                <a:gd name="connsiteY178" fmla="*/ 896852 h 1281559"/>
                <a:gd name="connsiteX179" fmla="*/ 217107 w 1994099"/>
                <a:gd name="connsiteY179" fmla="*/ 913438 h 1281559"/>
                <a:gd name="connsiteX180" fmla="*/ 222581 w 1994099"/>
                <a:gd name="connsiteY180" fmla="*/ 917420 h 1281559"/>
                <a:gd name="connsiteX181" fmla="*/ 231537 w 1994099"/>
                <a:gd name="connsiteY181" fmla="*/ 927869 h 1281559"/>
                <a:gd name="connsiteX182" fmla="*/ 231537 w 1994099"/>
                <a:gd name="connsiteY182" fmla="*/ 929860 h 1281559"/>
                <a:gd name="connsiteX183" fmla="*/ 251939 w 1994099"/>
                <a:gd name="connsiteY183" fmla="*/ 923557 h 1281559"/>
                <a:gd name="connsiteX184" fmla="*/ 278312 w 1994099"/>
                <a:gd name="connsiteY184" fmla="*/ 928699 h 1281559"/>
                <a:gd name="connsiteX185" fmla="*/ 346152 w 1994099"/>
                <a:gd name="connsiteY185" fmla="*/ 978459 h 1281559"/>
                <a:gd name="connsiteX186" fmla="*/ 410344 w 1994099"/>
                <a:gd name="connsiteY186" fmla="*/ 1004168 h 1281559"/>
                <a:gd name="connsiteX187" fmla="*/ 440200 w 1994099"/>
                <a:gd name="connsiteY187" fmla="*/ 1010969 h 1281559"/>
                <a:gd name="connsiteX188" fmla="*/ 443019 w 1994099"/>
                <a:gd name="connsiteY188" fmla="*/ 1004998 h 1281559"/>
                <a:gd name="connsiteX189" fmla="*/ 447332 w 1994099"/>
                <a:gd name="connsiteY189" fmla="*/ 991728 h 1281559"/>
                <a:gd name="connsiteX190" fmla="*/ 458279 w 1994099"/>
                <a:gd name="connsiteY190" fmla="*/ 993221 h 1281559"/>
                <a:gd name="connsiteX191" fmla="*/ 461762 w 1994099"/>
                <a:gd name="connsiteY191" fmla="*/ 1005164 h 1281559"/>
                <a:gd name="connsiteX192" fmla="*/ 465080 w 1994099"/>
                <a:gd name="connsiteY192" fmla="*/ 1009808 h 1281559"/>
                <a:gd name="connsiteX193" fmla="*/ 470553 w 1994099"/>
                <a:gd name="connsiteY193" fmla="*/ 1006325 h 1281559"/>
                <a:gd name="connsiteX194" fmla="*/ 470553 w 1994099"/>
                <a:gd name="connsiteY194" fmla="*/ 1006325 h 1281559"/>
                <a:gd name="connsiteX195" fmla="*/ 470553 w 1994099"/>
                <a:gd name="connsiteY195" fmla="*/ 1006325 h 1281559"/>
                <a:gd name="connsiteX196" fmla="*/ 470553 w 1994099"/>
                <a:gd name="connsiteY196" fmla="*/ 1006325 h 1281559"/>
                <a:gd name="connsiteX197" fmla="*/ 470553 w 1994099"/>
                <a:gd name="connsiteY197" fmla="*/ 1005164 h 1281559"/>
                <a:gd name="connsiteX198" fmla="*/ 481335 w 1994099"/>
                <a:gd name="connsiteY198" fmla="*/ 1013955 h 1281559"/>
                <a:gd name="connsiteX199" fmla="*/ 481335 w 1994099"/>
                <a:gd name="connsiteY199" fmla="*/ 1022083 h 1281559"/>
                <a:gd name="connsiteX200" fmla="*/ 481335 w 1994099"/>
                <a:gd name="connsiteY200" fmla="*/ 1022083 h 1281559"/>
                <a:gd name="connsiteX201" fmla="*/ 481335 w 1994099"/>
                <a:gd name="connsiteY201" fmla="*/ 1023244 h 1281559"/>
                <a:gd name="connsiteX202" fmla="*/ 481335 w 1994099"/>
                <a:gd name="connsiteY202" fmla="*/ 1023244 h 1281559"/>
                <a:gd name="connsiteX203" fmla="*/ 481335 w 1994099"/>
                <a:gd name="connsiteY203" fmla="*/ 1024073 h 1281559"/>
                <a:gd name="connsiteX204" fmla="*/ 481335 w 1994099"/>
                <a:gd name="connsiteY204" fmla="*/ 1024073 h 1281559"/>
                <a:gd name="connsiteX205" fmla="*/ 481335 w 1994099"/>
                <a:gd name="connsiteY205" fmla="*/ 1025234 h 1281559"/>
                <a:gd name="connsiteX206" fmla="*/ 481335 w 1994099"/>
                <a:gd name="connsiteY206" fmla="*/ 1026229 h 1281559"/>
                <a:gd name="connsiteX207" fmla="*/ 483823 w 1994099"/>
                <a:gd name="connsiteY207" fmla="*/ 1036015 h 1281559"/>
                <a:gd name="connsiteX208" fmla="*/ 491286 w 1994099"/>
                <a:gd name="connsiteY208" fmla="*/ 1022083 h 1281559"/>
                <a:gd name="connsiteX209" fmla="*/ 514840 w 1994099"/>
                <a:gd name="connsiteY209" fmla="*/ 1001514 h 1281559"/>
                <a:gd name="connsiteX210" fmla="*/ 542208 w 1994099"/>
                <a:gd name="connsiteY210" fmla="*/ 1005993 h 1281559"/>
                <a:gd name="connsiteX211" fmla="*/ 571733 w 1994099"/>
                <a:gd name="connsiteY211" fmla="*/ 1009808 h 1281559"/>
                <a:gd name="connsiteX212" fmla="*/ 586661 w 1994099"/>
                <a:gd name="connsiteY212" fmla="*/ 1006988 h 1281559"/>
                <a:gd name="connsiteX213" fmla="*/ 594457 w 1994099"/>
                <a:gd name="connsiteY213" fmla="*/ 1003008 h 1281559"/>
                <a:gd name="connsiteX214" fmla="*/ 596779 w 1994099"/>
                <a:gd name="connsiteY214" fmla="*/ 996870 h 1281559"/>
                <a:gd name="connsiteX215" fmla="*/ 598604 w 1994099"/>
                <a:gd name="connsiteY215" fmla="*/ 989738 h 1281559"/>
                <a:gd name="connsiteX216" fmla="*/ 607892 w 1994099"/>
                <a:gd name="connsiteY216" fmla="*/ 987084 h 1281559"/>
                <a:gd name="connsiteX217" fmla="*/ 616849 w 1994099"/>
                <a:gd name="connsiteY217" fmla="*/ 984928 h 1281559"/>
                <a:gd name="connsiteX218" fmla="*/ 621328 w 1994099"/>
                <a:gd name="connsiteY218" fmla="*/ 967346 h 1281559"/>
                <a:gd name="connsiteX219" fmla="*/ 643554 w 1994099"/>
                <a:gd name="connsiteY219" fmla="*/ 965853 h 1281559"/>
                <a:gd name="connsiteX220" fmla="*/ 647701 w 1994099"/>
                <a:gd name="connsiteY220" fmla="*/ 967843 h 1281559"/>
                <a:gd name="connsiteX221" fmla="*/ 647701 w 1994099"/>
                <a:gd name="connsiteY221" fmla="*/ 967843 h 1281559"/>
                <a:gd name="connsiteX222" fmla="*/ 649856 w 1994099"/>
                <a:gd name="connsiteY222" fmla="*/ 966683 h 1281559"/>
                <a:gd name="connsiteX223" fmla="*/ 649856 w 1994099"/>
                <a:gd name="connsiteY223" fmla="*/ 966683 h 1281559"/>
                <a:gd name="connsiteX224" fmla="*/ 651184 w 1994099"/>
                <a:gd name="connsiteY224" fmla="*/ 966683 h 1281559"/>
                <a:gd name="connsiteX225" fmla="*/ 651184 w 1994099"/>
                <a:gd name="connsiteY225" fmla="*/ 966683 h 1281559"/>
                <a:gd name="connsiteX226" fmla="*/ 652179 w 1994099"/>
                <a:gd name="connsiteY226" fmla="*/ 966683 h 1281559"/>
                <a:gd name="connsiteX227" fmla="*/ 652179 w 1994099"/>
                <a:gd name="connsiteY227" fmla="*/ 966683 h 1281559"/>
                <a:gd name="connsiteX228" fmla="*/ 653340 w 1994099"/>
                <a:gd name="connsiteY228" fmla="*/ 966683 h 1281559"/>
                <a:gd name="connsiteX229" fmla="*/ 654667 w 1994099"/>
                <a:gd name="connsiteY229" fmla="*/ 966683 h 1281559"/>
                <a:gd name="connsiteX230" fmla="*/ 666112 w 1994099"/>
                <a:gd name="connsiteY230" fmla="*/ 966683 h 1281559"/>
                <a:gd name="connsiteX231" fmla="*/ 666112 w 1994099"/>
                <a:gd name="connsiteY231" fmla="*/ 957726 h 1281559"/>
                <a:gd name="connsiteX232" fmla="*/ 676396 w 1994099"/>
                <a:gd name="connsiteY232" fmla="*/ 956399 h 1281559"/>
                <a:gd name="connsiteX233" fmla="*/ 687012 w 1994099"/>
                <a:gd name="connsiteY233" fmla="*/ 950593 h 1281559"/>
                <a:gd name="connsiteX234" fmla="*/ 693315 w 1994099"/>
                <a:gd name="connsiteY234" fmla="*/ 957559 h 1281559"/>
                <a:gd name="connsiteX235" fmla="*/ 693315 w 1994099"/>
                <a:gd name="connsiteY235" fmla="*/ 961541 h 1281559"/>
                <a:gd name="connsiteX236" fmla="*/ 691490 w 1994099"/>
                <a:gd name="connsiteY236" fmla="*/ 964692 h 1281559"/>
                <a:gd name="connsiteX237" fmla="*/ 691490 w 1994099"/>
                <a:gd name="connsiteY237" fmla="*/ 966185 h 1281559"/>
                <a:gd name="connsiteX238" fmla="*/ 705589 w 1994099"/>
                <a:gd name="connsiteY238" fmla="*/ 963697 h 1281559"/>
                <a:gd name="connsiteX239" fmla="*/ 705589 w 1994099"/>
                <a:gd name="connsiteY239" fmla="*/ 963697 h 1281559"/>
                <a:gd name="connsiteX240" fmla="*/ 705589 w 1994099"/>
                <a:gd name="connsiteY240" fmla="*/ 964526 h 1281559"/>
                <a:gd name="connsiteX241" fmla="*/ 705589 w 1994099"/>
                <a:gd name="connsiteY241" fmla="*/ 964526 h 1281559"/>
                <a:gd name="connsiteX242" fmla="*/ 705589 w 1994099"/>
                <a:gd name="connsiteY242" fmla="*/ 966019 h 1281559"/>
                <a:gd name="connsiteX243" fmla="*/ 705589 w 1994099"/>
                <a:gd name="connsiteY243" fmla="*/ 966019 h 1281559"/>
                <a:gd name="connsiteX244" fmla="*/ 705589 w 1994099"/>
                <a:gd name="connsiteY244" fmla="*/ 966019 h 1281559"/>
                <a:gd name="connsiteX245" fmla="*/ 705589 w 1994099"/>
                <a:gd name="connsiteY245" fmla="*/ 966019 h 1281559"/>
                <a:gd name="connsiteX246" fmla="*/ 705589 w 1994099"/>
                <a:gd name="connsiteY246" fmla="*/ 966019 h 1281559"/>
                <a:gd name="connsiteX247" fmla="*/ 705589 w 1994099"/>
                <a:gd name="connsiteY247" fmla="*/ 966019 h 1281559"/>
                <a:gd name="connsiteX248" fmla="*/ 717863 w 1994099"/>
                <a:gd name="connsiteY248" fmla="*/ 985094 h 1281559"/>
                <a:gd name="connsiteX249" fmla="*/ 729474 w 1994099"/>
                <a:gd name="connsiteY249" fmla="*/ 986919 h 1281559"/>
                <a:gd name="connsiteX250" fmla="*/ 731961 w 1994099"/>
                <a:gd name="connsiteY250" fmla="*/ 994880 h 1281559"/>
                <a:gd name="connsiteX251" fmla="*/ 731961 w 1994099"/>
                <a:gd name="connsiteY251" fmla="*/ 994880 h 1281559"/>
                <a:gd name="connsiteX252" fmla="*/ 736606 w 1994099"/>
                <a:gd name="connsiteY252" fmla="*/ 996041 h 1281559"/>
                <a:gd name="connsiteX253" fmla="*/ 737601 w 1994099"/>
                <a:gd name="connsiteY253" fmla="*/ 996041 h 1281559"/>
                <a:gd name="connsiteX254" fmla="*/ 743240 w 1994099"/>
                <a:gd name="connsiteY254" fmla="*/ 992890 h 1281559"/>
                <a:gd name="connsiteX255" fmla="*/ 763360 w 1994099"/>
                <a:gd name="connsiteY255" fmla="*/ 997501 h 1281559"/>
                <a:gd name="connsiteX256" fmla="*/ 765301 w 1994099"/>
                <a:gd name="connsiteY256" fmla="*/ 1002344 h 1281559"/>
                <a:gd name="connsiteX257" fmla="*/ 772765 w 1994099"/>
                <a:gd name="connsiteY257" fmla="*/ 1020590 h 1281559"/>
                <a:gd name="connsiteX258" fmla="*/ 786035 w 1994099"/>
                <a:gd name="connsiteY258" fmla="*/ 1037177 h 1281559"/>
                <a:gd name="connsiteX259" fmla="*/ 777907 w 1994099"/>
                <a:gd name="connsiteY259" fmla="*/ 1085444 h 1281559"/>
                <a:gd name="connsiteX260" fmla="*/ 750539 w 1994099"/>
                <a:gd name="connsiteY260" fmla="*/ 1131721 h 1281559"/>
                <a:gd name="connsiteX261" fmla="*/ 756511 w 1994099"/>
                <a:gd name="connsiteY261" fmla="*/ 1148308 h 1281559"/>
                <a:gd name="connsiteX262" fmla="*/ 786698 w 1994099"/>
                <a:gd name="connsiteY262" fmla="*/ 1154114 h 1281559"/>
                <a:gd name="connsiteX263" fmla="*/ 796983 w 1994099"/>
                <a:gd name="connsiteY263" fmla="*/ 1181316 h 1281559"/>
                <a:gd name="connsiteX264" fmla="*/ 809588 w 1994099"/>
                <a:gd name="connsiteY264" fmla="*/ 1195912 h 1281559"/>
                <a:gd name="connsiteX265" fmla="*/ 809588 w 1994099"/>
                <a:gd name="connsiteY265" fmla="*/ 1217973 h 1281559"/>
                <a:gd name="connsiteX266" fmla="*/ 828000 w 1994099"/>
                <a:gd name="connsiteY266" fmla="*/ 1226764 h 1281559"/>
                <a:gd name="connsiteX267" fmla="*/ 848567 w 1994099"/>
                <a:gd name="connsiteY267" fmla="*/ 1237711 h 1281559"/>
                <a:gd name="connsiteX268" fmla="*/ 863495 w 1994099"/>
                <a:gd name="connsiteY268" fmla="*/ 1234560 h 1281559"/>
                <a:gd name="connsiteX269" fmla="*/ 880082 w 1994099"/>
                <a:gd name="connsiteY269" fmla="*/ 1250151 h 1281559"/>
                <a:gd name="connsiteX270" fmla="*/ 881409 w 1994099"/>
                <a:gd name="connsiteY270" fmla="*/ 1224110 h 1281559"/>
                <a:gd name="connsiteX271" fmla="*/ 886717 w 1994099"/>
                <a:gd name="connsiteY271" fmla="*/ 1207523 h 1281559"/>
                <a:gd name="connsiteX272" fmla="*/ 908944 w 1994099"/>
                <a:gd name="connsiteY272" fmla="*/ 1199561 h 1281559"/>
                <a:gd name="connsiteX273" fmla="*/ 933989 w 1994099"/>
                <a:gd name="connsiteY273" fmla="*/ 1197073 h 1281559"/>
                <a:gd name="connsiteX274" fmla="*/ 962851 w 1994099"/>
                <a:gd name="connsiteY274" fmla="*/ 1197073 h 1281559"/>
                <a:gd name="connsiteX275" fmla="*/ 985077 w 1994099"/>
                <a:gd name="connsiteY275" fmla="*/ 1193093 h 1281559"/>
                <a:gd name="connsiteX276" fmla="*/ 1011284 w 1994099"/>
                <a:gd name="connsiteY276" fmla="*/ 1176506 h 1281559"/>
                <a:gd name="connsiteX277" fmla="*/ 1038818 w 1994099"/>
                <a:gd name="connsiteY277" fmla="*/ 1190770 h 1281559"/>
                <a:gd name="connsiteX278" fmla="*/ 1048106 w 1994099"/>
                <a:gd name="connsiteY278" fmla="*/ 1210343 h 1281559"/>
                <a:gd name="connsiteX279" fmla="*/ 1081280 w 1994099"/>
                <a:gd name="connsiteY279" fmla="*/ 1235223 h 1281559"/>
                <a:gd name="connsiteX280" fmla="*/ 1088247 w 1994099"/>
                <a:gd name="connsiteY280" fmla="*/ 1240697 h 1281559"/>
                <a:gd name="connsiteX281" fmla="*/ 1108483 w 1994099"/>
                <a:gd name="connsiteY281" fmla="*/ 1235223 h 1281559"/>
                <a:gd name="connsiteX282" fmla="*/ 1126563 w 1994099"/>
                <a:gd name="connsiteY282" fmla="*/ 1236219 h 1281559"/>
                <a:gd name="connsiteX283" fmla="*/ 1145803 w 1994099"/>
                <a:gd name="connsiteY283" fmla="*/ 1236219 h 1281559"/>
                <a:gd name="connsiteX284" fmla="*/ 1154595 w 1994099"/>
                <a:gd name="connsiteY284" fmla="*/ 1249819 h 1281559"/>
                <a:gd name="connsiteX285" fmla="*/ 1162058 w 1994099"/>
                <a:gd name="connsiteY285" fmla="*/ 1278681 h 1281559"/>
                <a:gd name="connsiteX286" fmla="*/ 1170849 w 1994099"/>
                <a:gd name="connsiteY286" fmla="*/ 1264582 h 1281559"/>
                <a:gd name="connsiteX287" fmla="*/ 1217458 w 1994099"/>
                <a:gd name="connsiteY287" fmla="*/ 1236716 h 1281559"/>
                <a:gd name="connsiteX288" fmla="*/ 1282312 w 1994099"/>
                <a:gd name="connsiteY288" fmla="*/ 1199064 h 1281559"/>
                <a:gd name="connsiteX289" fmla="*/ 1315486 w 1994099"/>
                <a:gd name="connsiteY289" fmla="*/ 1200059 h 1281559"/>
                <a:gd name="connsiteX290" fmla="*/ 1372877 w 1994099"/>
                <a:gd name="connsiteY290" fmla="*/ 1190770 h 1281559"/>
                <a:gd name="connsiteX291" fmla="*/ 1392615 w 1994099"/>
                <a:gd name="connsiteY291" fmla="*/ 1174184 h 1281559"/>
                <a:gd name="connsiteX292" fmla="*/ 1412188 w 1994099"/>
                <a:gd name="connsiteY292" fmla="*/ 1158592 h 1281559"/>
                <a:gd name="connsiteX293" fmla="*/ 1431429 w 1994099"/>
                <a:gd name="connsiteY293" fmla="*/ 1138522 h 1281559"/>
                <a:gd name="connsiteX294" fmla="*/ 1453987 w 1994099"/>
                <a:gd name="connsiteY294" fmla="*/ 1124257 h 1281559"/>
                <a:gd name="connsiteX295" fmla="*/ 1470573 w 1994099"/>
                <a:gd name="connsiteY295" fmla="*/ 1107671 h 1281559"/>
                <a:gd name="connsiteX296" fmla="*/ 1484838 w 1994099"/>
                <a:gd name="connsiteY296" fmla="*/ 1095396 h 1281559"/>
                <a:gd name="connsiteX297" fmla="*/ 1489317 w 1994099"/>
                <a:gd name="connsiteY297" fmla="*/ 1070018 h 1281559"/>
                <a:gd name="connsiteX298" fmla="*/ 1484838 w 1994099"/>
                <a:gd name="connsiteY298" fmla="*/ 1053431 h 1281559"/>
                <a:gd name="connsiteX299" fmla="*/ 1507894 w 1994099"/>
                <a:gd name="connsiteY299" fmla="*/ 1042650 h 1281559"/>
                <a:gd name="connsiteX300" fmla="*/ 1523153 w 1994099"/>
                <a:gd name="connsiteY300" fmla="*/ 1019760 h 1281559"/>
                <a:gd name="connsiteX301" fmla="*/ 1544716 w 1994099"/>
                <a:gd name="connsiteY301" fmla="*/ 999690 h 1281559"/>
                <a:gd name="connsiteX302" fmla="*/ 1551683 w 1994099"/>
                <a:gd name="connsiteY302" fmla="*/ 972820 h 1281559"/>
                <a:gd name="connsiteX303" fmla="*/ 1556990 w 1994099"/>
                <a:gd name="connsiteY303" fmla="*/ 960047 h 1281559"/>
                <a:gd name="connsiteX304" fmla="*/ 1571256 w 1994099"/>
                <a:gd name="connsiteY304" fmla="*/ 940144 h 1281559"/>
                <a:gd name="connsiteX305" fmla="*/ 1557488 w 1994099"/>
                <a:gd name="connsiteY305" fmla="*/ 936163 h 1281559"/>
                <a:gd name="connsiteX306" fmla="*/ 1538413 w 1994099"/>
                <a:gd name="connsiteY306" fmla="*/ 929362 h 1281559"/>
                <a:gd name="connsiteX307" fmla="*/ 1526471 w 1994099"/>
                <a:gd name="connsiteY307" fmla="*/ 922562 h 1281559"/>
                <a:gd name="connsiteX308" fmla="*/ 1561469 w 1994099"/>
                <a:gd name="connsiteY308" fmla="*/ 905975 h 1281559"/>
                <a:gd name="connsiteX309" fmla="*/ 1541234 w 1994099"/>
                <a:gd name="connsiteY309" fmla="*/ 887895 h 1281559"/>
                <a:gd name="connsiteX310" fmla="*/ 1511875 w 1994099"/>
                <a:gd name="connsiteY310" fmla="*/ 866498 h 1281559"/>
                <a:gd name="connsiteX311" fmla="*/ 1530452 w 1994099"/>
                <a:gd name="connsiteY311" fmla="*/ 865503 h 1281559"/>
                <a:gd name="connsiteX312" fmla="*/ 1559977 w 1994099"/>
                <a:gd name="connsiteY312" fmla="*/ 871308 h 1281559"/>
                <a:gd name="connsiteX313" fmla="*/ 1531945 w 1994099"/>
                <a:gd name="connsiteY313" fmla="*/ 840125 h 1281559"/>
                <a:gd name="connsiteX314" fmla="*/ 1526139 w 1994099"/>
                <a:gd name="connsiteY314" fmla="*/ 820055 h 1281559"/>
                <a:gd name="connsiteX315" fmla="*/ 1504908 w 1994099"/>
                <a:gd name="connsiteY315" fmla="*/ 779915 h 1281559"/>
                <a:gd name="connsiteX316" fmla="*/ 1475549 w 1994099"/>
                <a:gd name="connsiteY316" fmla="*/ 759513 h 1281559"/>
                <a:gd name="connsiteX317" fmla="*/ 1491141 w 1994099"/>
                <a:gd name="connsiteY317" fmla="*/ 728661 h 1281559"/>
                <a:gd name="connsiteX318" fmla="*/ 1507728 w 1994099"/>
                <a:gd name="connsiteY318" fmla="*/ 711079 h 1281559"/>
                <a:gd name="connsiteX319" fmla="*/ 1525973 w 1994099"/>
                <a:gd name="connsiteY319" fmla="*/ 698307 h 1281559"/>
                <a:gd name="connsiteX320" fmla="*/ 1546043 w 1994099"/>
                <a:gd name="connsiteY320" fmla="*/ 688190 h 1281559"/>
                <a:gd name="connsiteX321" fmla="*/ 1583862 w 1994099"/>
                <a:gd name="connsiteY321" fmla="*/ 676910 h 1281559"/>
                <a:gd name="connsiteX322" fmla="*/ 1564787 w 1994099"/>
                <a:gd name="connsiteY322" fmla="*/ 655845 h 1281559"/>
                <a:gd name="connsiteX323" fmla="*/ 1531613 w 1994099"/>
                <a:gd name="connsiteY323" fmla="*/ 642742 h 1281559"/>
                <a:gd name="connsiteX324" fmla="*/ 1487491 w 1994099"/>
                <a:gd name="connsiteY324" fmla="*/ 671437 h 1281559"/>
                <a:gd name="connsiteX325" fmla="*/ 1466758 w 1994099"/>
                <a:gd name="connsiteY325" fmla="*/ 645064 h 1281559"/>
                <a:gd name="connsiteX326" fmla="*/ 1432424 w 1994099"/>
                <a:gd name="connsiteY326" fmla="*/ 633287 h 1281559"/>
                <a:gd name="connsiteX327" fmla="*/ 1432424 w 1994099"/>
                <a:gd name="connsiteY327" fmla="*/ 592318 h 1281559"/>
                <a:gd name="connsiteX328" fmla="*/ 1473725 w 1994099"/>
                <a:gd name="connsiteY328" fmla="*/ 580209 h 1281559"/>
                <a:gd name="connsiteX329" fmla="*/ 1512538 w 1994099"/>
                <a:gd name="connsiteY329" fmla="*/ 553338 h 1281559"/>
                <a:gd name="connsiteX330" fmla="*/ 1568933 w 1994099"/>
                <a:gd name="connsiteY330" fmla="*/ 531278 h 1281559"/>
                <a:gd name="connsiteX331" fmla="*/ 1546375 w 1994099"/>
                <a:gd name="connsiteY331" fmla="*/ 576228 h 1281559"/>
                <a:gd name="connsiteX332" fmla="*/ 1541399 w 1994099"/>
                <a:gd name="connsiteY332" fmla="*/ 601606 h 1281559"/>
                <a:gd name="connsiteX333" fmla="*/ 1564621 w 1994099"/>
                <a:gd name="connsiteY333" fmla="*/ 601606 h 1281559"/>
                <a:gd name="connsiteX334" fmla="*/ 1625992 w 1994099"/>
                <a:gd name="connsiteY334" fmla="*/ 567437 h 1281559"/>
                <a:gd name="connsiteX335" fmla="*/ 1642579 w 1994099"/>
                <a:gd name="connsiteY335" fmla="*/ 565447 h 1281559"/>
                <a:gd name="connsiteX336" fmla="*/ 1651867 w 1994099"/>
                <a:gd name="connsiteY336" fmla="*/ 550851 h 1281559"/>
                <a:gd name="connsiteX337" fmla="*/ 1713902 w 1994099"/>
                <a:gd name="connsiteY337" fmla="*/ 516848 h 1281559"/>
                <a:gd name="connsiteX338" fmla="*/ 1735299 w 1994099"/>
                <a:gd name="connsiteY338" fmla="*/ 493460 h 1281559"/>
                <a:gd name="connsiteX339" fmla="*/ 1756696 w 1994099"/>
                <a:gd name="connsiteY339" fmla="*/ 501919 h 1281559"/>
                <a:gd name="connsiteX340" fmla="*/ 1778093 w 1994099"/>
                <a:gd name="connsiteY340" fmla="*/ 495616 h 1281559"/>
                <a:gd name="connsiteX341" fmla="*/ 1791031 w 1994099"/>
                <a:gd name="connsiteY341" fmla="*/ 482679 h 1281559"/>
                <a:gd name="connsiteX342" fmla="*/ 1814584 w 1994099"/>
                <a:gd name="connsiteY342" fmla="*/ 466092 h 1281559"/>
                <a:gd name="connsiteX343" fmla="*/ 1833824 w 1994099"/>
                <a:gd name="connsiteY343" fmla="*/ 440548 h 1281559"/>
                <a:gd name="connsiteX344" fmla="*/ 1861691 w 1994099"/>
                <a:gd name="connsiteY344" fmla="*/ 451164 h 1281559"/>
                <a:gd name="connsiteX345" fmla="*/ 1870814 w 1994099"/>
                <a:gd name="connsiteY345" fmla="*/ 452491 h 1281559"/>
                <a:gd name="connsiteX346" fmla="*/ 1878941 w 1994099"/>
                <a:gd name="connsiteY346" fmla="*/ 446353 h 1281559"/>
                <a:gd name="connsiteX347" fmla="*/ 1876619 w 1994099"/>
                <a:gd name="connsiteY347" fmla="*/ 414839 h 1281559"/>
                <a:gd name="connsiteX348" fmla="*/ 1874628 w 1994099"/>
                <a:gd name="connsiteY348" fmla="*/ 387470 h 1281559"/>
                <a:gd name="connsiteX349" fmla="*/ 1879438 w 1994099"/>
                <a:gd name="connsiteY349" fmla="*/ 364083 h 1281559"/>
                <a:gd name="connsiteX350" fmla="*/ 1906973 w 1994099"/>
                <a:gd name="connsiteY350" fmla="*/ 351311 h 1281559"/>
                <a:gd name="connsiteX351" fmla="*/ 1936497 w 1994099"/>
                <a:gd name="connsiteY351" fmla="*/ 351311 h 1281559"/>
                <a:gd name="connsiteX352" fmla="*/ 1953084 w 1994099"/>
                <a:gd name="connsiteY352" fmla="*/ 329748 h 1281559"/>
                <a:gd name="connsiteX353" fmla="*/ 1972656 w 1994099"/>
                <a:gd name="connsiteY353" fmla="*/ 304370 h 1281559"/>
                <a:gd name="connsiteX354" fmla="*/ 1990404 w 1994099"/>
                <a:gd name="connsiteY354" fmla="*/ 262406 h 1281559"/>
                <a:gd name="connsiteX355" fmla="*/ 1988248 w 1994099"/>
                <a:gd name="connsiteY355" fmla="*/ 241672 h 12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994099" h="1281559">
                  <a:moveTo>
                    <a:pt x="1988248" y="241672"/>
                  </a:moveTo>
                  <a:cubicBezTo>
                    <a:pt x="1989243" y="224090"/>
                    <a:pt x="1968509" y="229895"/>
                    <a:pt x="1961709" y="234871"/>
                  </a:cubicBezTo>
                  <a:cubicBezTo>
                    <a:pt x="1954909" y="239847"/>
                    <a:pt x="1935171" y="234871"/>
                    <a:pt x="1928536" y="246482"/>
                  </a:cubicBezTo>
                  <a:cubicBezTo>
                    <a:pt x="1921900" y="258093"/>
                    <a:pt x="1912944" y="251458"/>
                    <a:pt x="1899177" y="253283"/>
                  </a:cubicBezTo>
                  <a:cubicBezTo>
                    <a:pt x="1885410" y="255107"/>
                    <a:pt x="1866003" y="249468"/>
                    <a:pt x="1866003" y="240677"/>
                  </a:cubicBezTo>
                  <a:cubicBezTo>
                    <a:pt x="1866003" y="231886"/>
                    <a:pt x="1858208" y="223095"/>
                    <a:pt x="1859203" y="212313"/>
                  </a:cubicBezTo>
                  <a:cubicBezTo>
                    <a:pt x="1860198" y="201532"/>
                    <a:pt x="1845435" y="206508"/>
                    <a:pt x="1835650" y="196722"/>
                  </a:cubicBezTo>
                  <a:cubicBezTo>
                    <a:pt x="1826643" y="188097"/>
                    <a:pt x="1814916" y="182888"/>
                    <a:pt x="1802476" y="181959"/>
                  </a:cubicBezTo>
                  <a:cubicBezTo>
                    <a:pt x="1798660" y="183950"/>
                    <a:pt x="1786718" y="171344"/>
                    <a:pt x="1770132" y="170349"/>
                  </a:cubicBezTo>
                  <a:cubicBezTo>
                    <a:pt x="1753545" y="169353"/>
                    <a:pt x="1755369" y="158572"/>
                    <a:pt x="1757359" y="151771"/>
                  </a:cubicBezTo>
                  <a:cubicBezTo>
                    <a:pt x="1759350" y="144971"/>
                    <a:pt x="1743592" y="123408"/>
                    <a:pt x="1740773" y="111631"/>
                  </a:cubicBezTo>
                  <a:cubicBezTo>
                    <a:pt x="1737953" y="99855"/>
                    <a:pt x="1726010" y="98030"/>
                    <a:pt x="1721034" y="72652"/>
                  </a:cubicBezTo>
                  <a:cubicBezTo>
                    <a:pt x="1716058" y="47274"/>
                    <a:pt x="1702457" y="54075"/>
                    <a:pt x="1705443" y="42298"/>
                  </a:cubicBezTo>
                  <a:cubicBezTo>
                    <a:pt x="1708428" y="30522"/>
                    <a:pt x="1688856" y="24716"/>
                    <a:pt x="1683714" y="17750"/>
                  </a:cubicBezTo>
                  <a:cubicBezTo>
                    <a:pt x="1678572" y="10783"/>
                    <a:pt x="1658170" y="13935"/>
                    <a:pt x="1643408" y="6139"/>
                  </a:cubicBezTo>
                  <a:cubicBezTo>
                    <a:pt x="1628645" y="-1657"/>
                    <a:pt x="1619855" y="4148"/>
                    <a:pt x="1606088" y="334"/>
                  </a:cubicBezTo>
                  <a:cubicBezTo>
                    <a:pt x="1589402" y="-861"/>
                    <a:pt x="1572632" y="417"/>
                    <a:pt x="1556327" y="4148"/>
                  </a:cubicBezTo>
                  <a:cubicBezTo>
                    <a:pt x="1540868" y="1014"/>
                    <a:pt x="1524895" y="6156"/>
                    <a:pt x="1514197" y="17750"/>
                  </a:cubicBezTo>
                  <a:cubicBezTo>
                    <a:pt x="1500430" y="36493"/>
                    <a:pt x="1511211" y="35498"/>
                    <a:pt x="1517016" y="35498"/>
                  </a:cubicBezTo>
                  <a:cubicBezTo>
                    <a:pt x="1522821" y="35498"/>
                    <a:pt x="1525808" y="53080"/>
                    <a:pt x="1526803" y="58885"/>
                  </a:cubicBezTo>
                  <a:cubicBezTo>
                    <a:pt x="1527798" y="64691"/>
                    <a:pt x="1517016" y="73482"/>
                    <a:pt x="1512207" y="75472"/>
                  </a:cubicBezTo>
                  <a:cubicBezTo>
                    <a:pt x="1502984" y="84197"/>
                    <a:pt x="1495901" y="94928"/>
                    <a:pt x="1491473" y="106821"/>
                  </a:cubicBezTo>
                  <a:cubicBezTo>
                    <a:pt x="1489483" y="114617"/>
                    <a:pt x="1473891" y="134189"/>
                    <a:pt x="1475715" y="140990"/>
                  </a:cubicBezTo>
                  <a:cubicBezTo>
                    <a:pt x="1477540" y="147790"/>
                    <a:pt x="1467919" y="154591"/>
                    <a:pt x="1461119" y="155586"/>
                  </a:cubicBezTo>
                  <a:cubicBezTo>
                    <a:pt x="1450305" y="160513"/>
                    <a:pt x="1439788" y="166053"/>
                    <a:pt x="1429603" y="172173"/>
                  </a:cubicBezTo>
                  <a:cubicBezTo>
                    <a:pt x="1423798" y="173998"/>
                    <a:pt x="1400079" y="170183"/>
                    <a:pt x="1396430" y="163216"/>
                  </a:cubicBezTo>
                  <a:cubicBezTo>
                    <a:pt x="1394606" y="160629"/>
                    <a:pt x="1391984" y="158705"/>
                    <a:pt x="1388967" y="157743"/>
                  </a:cubicBezTo>
                  <a:lnTo>
                    <a:pt x="1362427" y="210654"/>
                  </a:lnTo>
                  <a:lnTo>
                    <a:pt x="1360271" y="227241"/>
                  </a:lnTo>
                  <a:cubicBezTo>
                    <a:pt x="1360271" y="227241"/>
                    <a:pt x="1343684" y="231388"/>
                    <a:pt x="1355958" y="243828"/>
                  </a:cubicBezTo>
                  <a:cubicBezTo>
                    <a:pt x="1368233" y="256268"/>
                    <a:pt x="1370886" y="245985"/>
                    <a:pt x="1390127" y="245985"/>
                  </a:cubicBezTo>
                  <a:cubicBezTo>
                    <a:pt x="1409368" y="245985"/>
                    <a:pt x="1417994" y="260913"/>
                    <a:pt x="1422305" y="250297"/>
                  </a:cubicBezTo>
                  <a:cubicBezTo>
                    <a:pt x="1426503" y="240726"/>
                    <a:pt x="1437649" y="236381"/>
                    <a:pt x="1447219" y="240561"/>
                  </a:cubicBezTo>
                  <a:cubicBezTo>
                    <a:pt x="1449973" y="241771"/>
                    <a:pt x="1452410" y="243629"/>
                    <a:pt x="1454318" y="245985"/>
                  </a:cubicBezTo>
                  <a:cubicBezTo>
                    <a:pt x="1465100" y="258756"/>
                    <a:pt x="1499434" y="280153"/>
                    <a:pt x="1497278" y="290769"/>
                  </a:cubicBezTo>
                  <a:cubicBezTo>
                    <a:pt x="1495122" y="301384"/>
                    <a:pt x="1475881" y="299228"/>
                    <a:pt x="1462943" y="294916"/>
                  </a:cubicBezTo>
                  <a:cubicBezTo>
                    <a:pt x="1450006" y="290603"/>
                    <a:pt x="1433087" y="303541"/>
                    <a:pt x="1420149" y="303541"/>
                  </a:cubicBezTo>
                  <a:cubicBezTo>
                    <a:pt x="1404923" y="303375"/>
                    <a:pt x="1390277" y="309346"/>
                    <a:pt x="1379512" y="320128"/>
                  </a:cubicBezTo>
                  <a:cubicBezTo>
                    <a:pt x="1366574" y="332900"/>
                    <a:pt x="1368730" y="345837"/>
                    <a:pt x="1349490" y="347828"/>
                  </a:cubicBezTo>
                  <a:cubicBezTo>
                    <a:pt x="1331675" y="346949"/>
                    <a:pt x="1314110" y="352223"/>
                    <a:pt x="1299729" y="362756"/>
                  </a:cubicBezTo>
                  <a:cubicBezTo>
                    <a:pt x="1283922" y="373504"/>
                    <a:pt x="1263636" y="375146"/>
                    <a:pt x="1246319" y="367068"/>
                  </a:cubicBezTo>
                  <a:cubicBezTo>
                    <a:pt x="1235339" y="360450"/>
                    <a:pt x="1221057" y="364000"/>
                    <a:pt x="1214456" y="374997"/>
                  </a:cubicBezTo>
                  <a:cubicBezTo>
                    <a:pt x="1214340" y="375179"/>
                    <a:pt x="1214240" y="375345"/>
                    <a:pt x="1214141" y="375528"/>
                  </a:cubicBezTo>
                  <a:cubicBezTo>
                    <a:pt x="1205681" y="390456"/>
                    <a:pt x="1224923" y="396759"/>
                    <a:pt x="1222766" y="413843"/>
                  </a:cubicBezTo>
                  <a:cubicBezTo>
                    <a:pt x="1220610" y="430928"/>
                    <a:pt x="1199213" y="426615"/>
                    <a:pt x="1181962" y="445856"/>
                  </a:cubicBezTo>
                  <a:cubicBezTo>
                    <a:pt x="1166669" y="462675"/>
                    <a:pt x="1144808" y="471997"/>
                    <a:pt x="1122084" y="471399"/>
                  </a:cubicBezTo>
                  <a:cubicBezTo>
                    <a:pt x="1107155" y="469243"/>
                    <a:pt x="1074977" y="460784"/>
                    <a:pt x="1047111" y="473556"/>
                  </a:cubicBezTo>
                  <a:cubicBezTo>
                    <a:pt x="1019245" y="486328"/>
                    <a:pt x="1000005" y="505403"/>
                    <a:pt x="989389" y="503246"/>
                  </a:cubicBezTo>
                  <a:cubicBezTo>
                    <a:pt x="978774" y="501090"/>
                    <a:pt x="978608" y="488318"/>
                    <a:pt x="963680" y="490474"/>
                  </a:cubicBezTo>
                  <a:cubicBezTo>
                    <a:pt x="951622" y="492266"/>
                    <a:pt x="939346" y="489231"/>
                    <a:pt x="929511" y="482015"/>
                  </a:cubicBezTo>
                  <a:cubicBezTo>
                    <a:pt x="918729" y="475546"/>
                    <a:pt x="910104" y="486328"/>
                    <a:pt x="893020" y="473556"/>
                  </a:cubicBezTo>
                  <a:cubicBezTo>
                    <a:pt x="875935" y="460784"/>
                    <a:pt x="845913" y="462775"/>
                    <a:pt x="833142" y="460784"/>
                  </a:cubicBezTo>
                  <a:cubicBezTo>
                    <a:pt x="820370" y="458794"/>
                    <a:pt x="771107" y="460784"/>
                    <a:pt x="753856" y="458628"/>
                  </a:cubicBezTo>
                  <a:cubicBezTo>
                    <a:pt x="736606" y="456471"/>
                    <a:pt x="713218" y="462775"/>
                    <a:pt x="711062" y="454315"/>
                  </a:cubicBezTo>
                  <a:cubicBezTo>
                    <a:pt x="708907" y="445856"/>
                    <a:pt x="696134" y="439387"/>
                    <a:pt x="691822" y="421141"/>
                  </a:cubicBezTo>
                  <a:cubicBezTo>
                    <a:pt x="690346" y="407225"/>
                    <a:pt x="679880" y="395946"/>
                    <a:pt x="666112" y="393441"/>
                  </a:cubicBezTo>
                  <a:cubicBezTo>
                    <a:pt x="655496" y="391285"/>
                    <a:pt x="654169" y="380006"/>
                    <a:pt x="644715" y="378513"/>
                  </a:cubicBezTo>
                  <a:cubicBezTo>
                    <a:pt x="640237" y="378513"/>
                    <a:pt x="634763" y="363585"/>
                    <a:pt x="619834" y="363585"/>
                  </a:cubicBezTo>
                  <a:cubicBezTo>
                    <a:pt x="604907" y="363585"/>
                    <a:pt x="552492" y="357448"/>
                    <a:pt x="545029" y="345340"/>
                  </a:cubicBezTo>
                  <a:cubicBezTo>
                    <a:pt x="537564" y="333231"/>
                    <a:pt x="552492" y="330411"/>
                    <a:pt x="552492" y="318303"/>
                  </a:cubicBezTo>
                  <a:cubicBezTo>
                    <a:pt x="552492" y="306195"/>
                    <a:pt x="560620" y="289774"/>
                    <a:pt x="554482" y="285129"/>
                  </a:cubicBezTo>
                  <a:cubicBezTo>
                    <a:pt x="546073" y="278860"/>
                    <a:pt x="539869" y="270102"/>
                    <a:pt x="536735" y="260083"/>
                  </a:cubicBezTo>
                  <a:cubicBezTo>
                    <a:pt x="531891" y="247958"/>
                    <a:pt x="521077" y="239217"/>
                    <a:pt x="508205" y="237028"/>
                  </a:cubicBezTo>
                  <a:cubicBezTo>
                    <a:pt x="496694" y="234954"/>
                    <a:pt x="486195" y="229116"/>
                    <a:pt x="478349" y="220441"/>
                  </a:cubicBezTo>
                  <a:cubicBezTo>
                    <a:pt x="468065" y="211484"/>
                    <a:pt x="458611" y="212147"/>
                    <a:pt x="454464" y="189921"/>
                  </a:cubicBezTo>
                  <a:cubicBezTo>
                    <a:pt x="454232" y="188578"/>
                    <a:pt x="453900" y="187234"/>
                    <a:pt x="453469" y="185940"/>
                  </a:cubicBezTo>
                  <a:cubicBezTo>
                    <a:pt x="449322" y="185940"/>
                    <a:pt x="444180" y="183950"/>
                    <a:pt x="440697" y="183950"/>
                  </a:cubicBezTo>
                  <a:cubicBezTo>
                    <a:pt x="437280" y="183386"/>
                    <a:pt x="434195" y="181545"/>
                    <a:pt x="432072" y="178808"/>
                  </a:cubicBezTo>
                  <a:cubicBezTo>
                    <a:pt x="429418" y="188097"/>
                    <a:pt x="420461" y="192741"/>
                    <a:pt x="420461" y="200039"/>
                  </a:cubicBezTo>
                  <a:cubicBezTo>
                    <a:pt x="420461" y="207337"/>
                    <a:pt x="417144" y="218285"/>
                    <a:pt x="406197" y="218285"/>
                  </a:cubicBezTo>
                  <a:cubicBezTo>
                    <a:pt x="395249" y="218285"/>
                    <a:pt x="385131" y="226412"/>
                    <a:pt x="384467" y="243331"/>
                  </a:cubicBezTo>
                  <a:cubicBezTo>
                    <a:pt x="383804" y="260249"/>
                    <a:pt x="393922" y="262240"/>
                    <a:pt x="389278" y="269704"/>
                  </a:cubicBezTo>
                  <a:cubicBezTo>
                    <a:pt x="381349" y="278445"/>
                    <a:pt x="369623" y="282724"/>
                    <a:pt x="357929" y="281149"/>
                  </a:cubicBezTo>
                  <a:cubicBezTo>
                    <a:pt x="347894" y="279092"/>
                    <a:pt x="337643" y="278213"/>
                    <a:pt x="327409" y="278495"/>
                  </a:cubicBezTo>
                  <a:cubicBezTo>
                    <a:pt x="316462" y="277168"/>
                    <a:pt x="308334" y="263567"/>
                    <a:pt x="304851" y="278495"/>
                  </a:cubicBezTo>
                  <a:cubicBezTo>
                    <a:pt x="301368" y="293423"/>
                    <a:pt x="278975" y="337378"/>
                    <a:pt x="284449" y="342188"/>
                  </a:cubicBezTo>
                  <a:cubicBezTo>
                    <a:pt x="289923" y="346998"/>
                    <a:pt x="294070" y="357614"/>
                    <a:pt x="284449" y="357614"/>
                  </a:cubicBezTo>
                  <a:cubicBezTo>
                    <a:pt x="276089" y="358460"/>
                    <a:pt x="267696" y="356337"/>
                    <a:pt x="260730" y="351643"/>
                  </a:cubicBezTo>
                  <a:cubicBezTo>
                    <a:pt x="255919" y="346832"/>
                    <a:pt x="240329" y="358112"/>
                    <a:pt x="229381" y="357614"/>
                  </a:cubicBezTo>
                  <a:cubicBezTo>
                    <a:pt x="224239" y="357614"/>
                    <a:pt x="203008" y="366903"/>
                    <a:pt x="210305" y="370552"/>
                  </a:cubicBezTo>
                  <a:cubicBezTo>
                    <a:pt x="217604" y="374201"/>
                    <a:pt x="217770" y="391949"/>
                    <a:pt x="217770" y="399247"/>
                  </a:cubicBezTo>
                  <a:cubicBezTo>
                    <a:pt x="217770" y="406545"/>
                    <a:pt x="234357" y="428440"/>
                    <a:pt x="230874" y="435904"/>
                  </a:cubicBezTo>
                  <a:cubicBezTo>
                    <a:pt x="227390" y="443368"/>
                    <a:pt x="213292" y="451164"/>
                    <a:pt x="213292" y="460784"/>
                  </a:cubicBezTo>
                  <a:cubicBezTo>
                    <a:pt x="213292" y="470404"/>
                    <a:pt x="216277" y="479030"/>
                    <a:pt x="211136" y="481352"/>
                  </a:cubicBezTo>
                  <a:cubicBezTo>
                    <a:pt x="200868" y="485299"/>
                    <a:pt x="190982" y="490176"/>
                    <a:pt x="181611" y="495948"/>
                  </a:cubicBezTo>
                  <a:cubicBezTo>
                    <a:pt x="173483" y="501753"/>
                    <a:pt x="160214" y="501753"/>
                    <a:pt x="155735" y="510544"/>
                  </a:cubicBezTo>
                  <a:cubicBezTo>
                    <a:pt x="151671" y="521276"/>
                    <a:pt x="140459" y="527513"/>
                    <a:pt x="129196" y="525307"/>
                  </a:cubicBezTo>
                  <a:cubicBezTo>
                    <a:pt x="115927" y="523814"/>
                    <a:pt x="109292" y="521658"/>
                    <a:pt x="99008" y="534098"/>
                  </a:cubicBezTo>
                  <a:cubicBezTo>
                    <a:pt x="88725" y="546538"/>
                    <a:pt x="86568" y="541396"/>
                    <a:pt x="79104" y="547201"/>
                  </a:cubicBezTo>
                  <a:cubicBezTo>
                    <a:pt x="71640" y="553007"/>
                    <a:pt x="64342" y="542889"/>
                    <a:pt x="58537" y="540733"/>
                  </a:cubicBezTo>
                  <a:cubicBezTo>
                    <a:pt x="52731" y="538576"/>
                    <a:pt x="44438" y="547201"/>
                    <a:pt x="38632" y="547201"/>
                  </a:cubicBezTo>
                  <a:cubicBezTo>
                    <a:pt x="32827" y="547201"/>
                    <a:pt x="27519" y="556822"/>
                    <a:pt x="20221" y="558978"/>
                  </a:cubicBezTo>
                  <a:cubicBezTo>
                    <a:pt x="12923" y="561134"/>
                    <a:pt x="5458" y="558978"/>
                    <a:pt x="5458" y="567769"/>
                  </a:cubicBezTo>
                  <a:cubicBezTo>
                    <a:pt x="5641" y="573774"/>
                    <a:pt x="3700" y="579645"/>
                    <a:pt x="-15" y="584356"/>
                  </a:cubicBezTo>
                  <a:lnTo>
                    <a:pt x="-15" y="584356"/>
                  </a:lnTo>
                  <a:lnTo>
                    <a:pt x="7615" y="614046"/>
                  </a:lnTo>
                  <a:cubicBezTo>
                    <a:pt x="7615" y="614046"/>
                    <a:pt x="39130" y="624496"/>
                    <a:pt x="40788" y="634946"/>
                  </a:cubicBezTo>
                  <a:cubicBezTo>
                    <a:pt x="38284" y="650272"/>
                    <a:pt x="33540" y="665134"/>
                    <a:pt x="26690" y="679067"/>
                  </a:cubicBezTo>
                  <a:cubicBezTo>
                    <a:pt x="26690" y="679067"/>
                    <a:pt x="21050" y="682384"/>
                    <a:pt x="23538" y="683048"/>
                  </a:cubicBezTo>
                  <a:lnTo>
                    <a:pt x="30836" y="689185"/>
                  </a:lnTo>
                  <a:lnTo>
                    <a:pt x="32827" y="686365"/>
                  </a:lnTo>
                  <a:lnTo>
                    <a:pt x="37139" y="688024"/>
                  </a:lnTo>
                  <a:lnTo>
                    <a:pt x="38632" y="691175"/>
                  </a:lnTo>
                  <a:lnTo>
                    <a:pt x="44604" y="691175"/>
                  </a:lnTo>
                  <a:lnTo>
                    <a:pt x="50243" y="689185"/>
                  </a:lnTo>
                  <a:lnTo>
                    <a:pt x="60361" y="701127"/>
                  </a:lnTo>
                  <a:lnTo>
                    <a:pt x="70313" y="711411"/>
                  </a:lnTo>
                  <a:lnTo>
                    <a:pt x="78938" y="714729"/>
                  </a:lnTo>
                  <a:lnTo>
                    <a:pt x="86900" y="720368"/>
                  </a:lnTo>
                  <a:lnTo>
                    <a:pt x="94032" y="725676"/>
                  </a:lnTo>
                  <a:lnTo>
                    <a:pt x="97350" y="735628"/>
                  </a:lnTo>
                  <a:lnTo>
                    <a:pt x="106638" y="737784"/>
                  </a:lnTo>
                  <a:lnTo>
                    <a:pt x="111614" y="741433"/>
                  </a:lnTo>
                  <a:lnTo>
                    <a:pt x="119244" y="746907"/>
                  </a:lnTo>
                  <a:lnTo>
                    <a:pt x="120903" y="746907"/>
                  </a:lnTo>
                  <a:lnTo>
                    <a:pt x="129362" y="746907"/>
                  </a:lnTo>
                  <a:cubicBezTo>
                    <a:pt x="129362" y="746907"/>
                    <a:pt x="137822" y="740604"/>
                    <a:pt x="141471" y="744419"/>
                  </a:cubicBezTo>
                  <a:cubicBezTo>
                    <a:pt x="141487" y="744137"/>
                    <a:pt x="141487" y="743871"/>
                    <a:pt x="141471" y="743589"/>
                  </a:cubicBezTo>
                  <a:cubicBezTo>
                    <a:pt x="150228" y="731448"/>
                    <a:pt x="163996" y="723884"/>
                    <a:pt x="178957" y="723022"/>
                  </a:cubicBezTo>
                  <a:lnTo>
                    <a:pt x="182440" y="723022"/>
                  </a:lnTo>
                  <a:cubicBezTo>
                    <a:pt x="189091" y="725294"/>
                    <a:pt x="195311" y="728661"/>
                    <a:pt x="200852" y="732974"/>
                  </a:cubicBezTo>
                  <a:lnTo>
                    <a:pt x="202344" y="732974"/>
                  </a:lnTo>
                  <a:lnTo>
                    <a:pt x="209642" y="736789"/>
                  </a:lnTo>
                  <a:lnTo>
                    <a:pt x="211302" y="741931"/>
                  </a:lnTo>
                  <a:cubicBezTo>
                    <a:pt x="214403" y="744684"/>
                    <a:pt x="216543" y="748333"/>
                    <a:pt x="217439" y="752380"/>
                  </a:cubicBezTo>
                  <a:lnTo>
                    <a:pt x="217439" y="752380"/>
                  </a:lnTo>
                  <a:lnTo>
                    <a:pt x="217439" y="752380"/>
                  </a:lnTo>
                  <a:lnTo>
                    <a:pt x="217439" y="753210"/>
                  </a:lnTo>
                  <a:lnTo>
                    <a:pt x="217439" y="753210"/>
                  </a:lnTo>
                  <a:lnTo>
                    <a:pt x="217439" y="753210"/>
                  </a:lnTo>
                  <a:lnTo>
                    <a:pt x="217439" y="753210"/>
                  </a:lnTo>
                  <a:cubicBezTo>
                    <a:pt x="212695" y="761636"/>
                    <a:pt x="207138" y="769581"/>
                    <a:pt x="200852" y="776929"/>
                  </a:cubicBezTo>
                  <a:lnTo>
                    <a:pt x="199691" y="778920"/>
                  </a:lnTo>
                  <a:lnTo>
                    <a:pt x="198695" y="778920"/>
                  </a:lnTo>
                  <a:cubicBezTo>
                    <a:pt x="195178" y="783713"/>
                    <a:pt x="190501" y="787544"/>
                    <a:pt x="185094" y="790032"/>
                  </a:cubicBezTo>
                  <a:lnTo>
                    <a:pt x="171327" y="806619"/>
                  </a:lnTo>
                  <a:lnTo>
                    <a:pt x="169834" y="807449"/>
                  </a:lnTo>
                  <a:cubicBezTo>
                    <a:pt x="172322" y="812757"/>
                    <a:pt x="178957" y="819723"/>
                    <a:pt x="184099" y="827519"/>
                  </a:cubicBezTo>
                  <a:lnTo>
                    <a:pt x="184099" y="827519"/>
                  </a:lnTo>
                  <a:lnTo>
                    <a:pt x="184099" y="827519"/>
                  </a:lnTo>
                  <a:cubicBezTo>
                    <a:pt x="184281" y="828016"/>
                    <a:pt x="184564" y="828464"/>
                    <a:pt x="184928" y="828846"/>
                  </a:cubicBezTo>
                  <a:lnTo>
                    <a:pt x="184928" y="828846"/>
                  </a:lnTo>
                  <a:lnTo>
                    <a:pt x="185923" y="830339"/>
                  </a:lnTo>
                  <a:lnTo>
                    <a:pt x="185923" y="830339"/>
                  </a:lnTo>
                  <a:lnTo>
                    <a:pt x="185923" y="831499"/>
                  </a:lnTo>
                  <a:lnTo>
                    <a:pt x="185923" y="831499"/>
                  </a:lnTo>
                  <a:cubicBezTo>
                    <a:pt x="185923" y="831499"/>
                    <a:pt x="185923" y="831499"/>
                    <a:pt x="185923" y="832329"/>
                  </a:cubicBezTo>
                  <a:lnTo>
                    <a:pt x="185923" y="832329"/>
                  </a:lnTo>
                  <a:cubicBezTo>
                    <a:pt x="185907" y="832611"/>
                    <a:pt x="185907" y="832876"/>
                    <a:pt x="185923" y="833158"/>
                  </a:cubicBezTo>
                  <a:lnTo>
                    <a:pt x="185923" y="834485"/>
                  </a:lnTo>
                  <a:lnTo>
                    <a:pt x="185923" y="834485"/>
                  </a:lnTo>
                  <a:cubicBezTo>
                    <a:pt x="185923" y="834485"/>
                    <a:pt x="185923" y="834485"/>
                    <a:pt x="185923" y="835315"/>
                  </a:cubicBezTo>
                  <a:lnTo>
                    <a:pt x="185923" y="835315"/>
                  </a:lnTo>
                  <a:cubicBezTo>
                    <a:pt x="185923" y="835315"/>
                    <a:pt x="185923" y="835315"/>
                    <a:pt x="185923" y="835315"/>
                  </a:cubicBezTo>
                  <a:lnTo>
                    <a:pt x="185923" y="836973"/>
                  </a:lnTo>
                  <a:lnTo>
                    <a:pt x="185923" y="836973"/>
                  </a:lnTo>
                  <a:lnTo>
                    <a:pt x="185923" y="836973"/>
                  </a:lnTo>
                  <a:lnTo>
                    <a:pt x="185923" y="836973"/>
                  </a:lnTo>
                  <a:lnTo>
                    <a:pt x="185923" y="836973"/>
                  </a:lnTo>
                  <a:cubicBezTo>
                    <a:pt x="181428" y="842381"/>
                    <a:pt x="173600" y="843591"/>
                    <a:pt x="167678" y="839793"/>
                  </a:cubicBezTo>
                  <a:lnTo>
                    <a:pt x="168673" y="841120"/>
                  </a:lnTo>
                  <a:lnTo>
                    <a:pt x="174976" y="847921"/>
                  </a:lnTo>
                  <a:lnTo>
                    <a:pt x="176137" y="855551"/>
                  </a:lnTo>
                  <a:lnTo>
                    <a:pt x="169834" y="858205"/>
                  </a:lnTo>
                  <a:cubicBezTo>
                    <a:pt x="169834" y="858205"/>
                    <a:pt x="164858" y="859531"/>
                    <a:pt x="164858" y="860692"/>
                  </a:cubicBezTo>
                  <a:cubicBezTo>
                    <a:pt x="164858" y="861854"/>
                    <a:pt x="163033" y="865005"/>
                    <a:pt x="163033" y="866498"/>
                  </a:cubicBezTo>
                  <a:cubicBezTo>
                    <a:pt x="163116" y="867327"/>
                    <a:pt x="163116" y="868157"/>
                    <a:pt x="163033" y="868986"/>
                  </a:cubicBezTo>
                  <a:cubicBezTo>
                    <a:pt x="163349" y="872436"/>
                    <a:pt x="164874" y="875671"/>
                    <a:pt x="167346" y="878109"/>
                  </a:cubicBezTo>
                  <a:lnTo>
                    <a:pt x="167346" y="878109"/>
                  </a:lnTo>
                  <a:lnTo>
                    <a:pt x="167346" y="878109"/>
                  </a:lnTo>
                  <a:lnTo>
                    <a:pt x="169502" y="878109"/>
                  </a:lnTo>
                  <a:cubicBezTo>
                    <a:pt x="173981" y="878109"/>
                    <a:pt x="178128" y="883582"/>
                    <a:pt x="182606" y="888227"/>
                  </a:cubicBezTo>
                  <a:cubicBezTo>
                    <a:pt x="185160" y="891212"/>
                    <a:pt x="188113" y="893849"/>
                    <a:pt x="191397" y="896022"/>
                  </a:cubicBezTo>
                  <a:lnTo>
                    <a:pt x="192889" y="896022"/>
                  </a:lnTo>
                  <a:lnTo>
                    <a:pt x="192889" y="896022"/>
                  </a:lnTo>
                  <a:cubicBezTo>
                    <a:pt x="194084" y="896553"/>
                    <a:pt x="195394" y="896835"/>
                    <a:pt x="196705" y="896852"/>
                  </a:cubicBezTo>
                  <a:lnTo>
                    <a:pt x="198695" y="896852"/>
                  </a:lnTo>
                  <a:lnTo>
                    <a:pt x="200520" y="896852"/>
                  </a:lnTo>
                  <a:lnTo>
                    <a:pt x="200520" y="896852"/>
                  </a:lnTo>
                  <a:cubicBezTo>
                    <a:pt x="207553" y="900650"/>
                    <a:pt x="213308" y="906406"/>
                    <a:pt x="217107" y="913438"/>
                  </a:cubicBezTo>
                  <a:lnTo>
                    <a:pt x="222581" y="917420"/>
                  </a:lnTo>
                  <a:cubicBezTo>
                    <a:pt x="226727" y="920571"/>
                    <a:pt x="231537" y="924883"/>
                    <a:pt x="231537" y="927869"/>
                  </a:cubicBezTo>
                  <a:cubicBezTo>
                    <a:pt x="231686" y="928533"/>
                    <a:pt x="231686" y="929196"/>
                    <a:pt x="231537" y="929860"/>
                  </a:cubicBezTo>
                  <a:cubicBezTo>
                    <a:pt x="242982" y="928699"/>
                    <a:pt x="250612" y="928201"/>
                    <a:pt x="251939" y="923557"/>
                  </a:cubicBezTo>
                  <a:cubicBezTo>
                    <a:pt x="253266" y="918912"/>
                    <a:pt x="268525" y="918415"/>
                    <a:pt x="278312" y="928699"/>
                  </a:cubicBezTo>
                  <a:cubicBezTo>
                    <a:pt x="288098" y="938982"/>
                    <a:pt x="330726" y="965355"/>
                    <a:pt x="346152" y="978459"/>
                  </a:cubicBezTo>
                  <a:cubicBezTo>
                    <a:pt x="365161" y="992077"/>
                    <a:pt x="387187" y="1000884"/>
                    <a:pt x="410344" y="1004168"/>
                  </a:cubicBezTo>
                  <a:cubicBezTo>
                    <a:pt x="420527" y="1005280"/>
                    <a:pt x="430546" y="1007552"/>
                    <a:pt x="440200" y="1010969"/>
                  </a:cubicBezTo>
                  <a:cubicBezTo>
                    <a:pt x="440912" y="1008879"/>
                    <a:pt x="441858" y="1006873"/>
                    <a:pt x="443019" y="1004998"/>
                  </a:cubicBezTo>
                  <a:cubicBezTo>
                    <a:pt x="443019" y="1004998"/>
                    <a:pt x="438209" y="992723"/>
                    <a:pt x="447332" y="991728"/>
                  </a:cubicBezTo>
                  <a:lnTo>
                    <a:pt x="458279" y="993221"/>
                  </a:lnTo>
                  <a:lnTo>
                    <a:pt x="461762" y="1005164"/>
                  </a:lnTo>
                  <a:lnTo>
                    <a:pt x="465080" y="1009808"/>
                  </a:lnTo>
                  <a:cubicBezTo>
                    <a:pt x="467086" y="1008979"/>
                    <a:pt x="468944" y="1007801"/>
                    <a:pt x="470553" y="1006325"/>
                  </a:cubicBezTo>
                  <a:lnTo>
                    <a:pt x="470553" y="1006325"/>
                  </a:lnTo>
                  <a:lnTo>
                    <a:pt x="470553" y="1006325"/>
                  </a:lnTo>
                  <a:lnTo>
                    <a:pt x="470553" y="1006325"/>
                  </a:lnTo>
                  <a:lnTo>
                    <a:pt x="470553" y="1005164"/>
                  </a:lnTo>
                  <a:cubicBezTo>
                    <a:pt x="474535" y="999359"/>
                    <a:pt x="480007" y="1005993"/>
                    <a:pt x="481335" y="1013955"/>
                  </a:cubicBezTo>
                  <a:cubicBezTo>
                    <a:pt x="481833" y="1016642"/>
                    <a:pt x="481833" y="1019395"/>
                    <a:pt x="481335" y="1022083"/>
                  </a:cubicBezTo>
                  <a:lnTo>
                    <a:pt x="481335" y="1022083"/>
                  </a:lnTo>
                  <a:cubicBezTo>
                    <a:pt x="481335" y="1022083"/>
                    <a:pt x="481335" y="1022083"/>
                    <a:pt x="481335" y="1023244"/>
                  </a:cubicBezTo>
                  <a:lnTo>
                    <a:pt x="481335" y="1023244"/>
                  </a:lnTo>
                  <a:cubicBezTo>
                    <a:pt x="481269" y="1023509"/>
                    <a:pt x="481269" y="1023808"/>
                    <a:pt x="481335" y="1024073"/>
                  </a:cubicBezTo>
                  <a:lnTo>
                    <a:pt x="481335" y="1024073"/>
                  </a:lnTo>
                  <a:cubicBezTo>
                    <a:pt x="481335" y="1024073"/>
                    <a:pt x="481335" y="1024902"/>
                    <a:pt x="481335" y="1025234"/>
                  </a:cubicBezTo>
                  <a:lnTo>
                    <a:pt x="481335" y="1026229"/>
                  </a:lnTo>
                  <a:cubicBezTo>
                    <a:pt x="481566" y="1029613"/>
                    <a:pt x="482413" y="1032930"/>
                    <a:pt x="483823" y="1036015"/>
                  </a:cubicBezTo>
                  <a:cubicBezTo>
                    <a:pt x="486809" y="1031653"/>
                    <a:pt x="489313" y="1026992"/>
                    <a:pt x="491286" y="1022083"/>
                  </a:cubicBezTo>
                  <a:cubicBezTo>
                    <a:pt x="497921" y="1005496"/>
                    <a:pt x="507873" y="1006657"/>
                    <a:pt x="514840" y="1001514"/>
                  </a:cubicBezTo>
                  <a:cubicBezTo>
                    <a:pt x="521807" y="996373"/>
                    <a:pt x="528110" y="998529"/>
                    <a:pt x="542208" y="1005993"/>
                  </a:cubicBezTo>
                  <a:cubicBezTo>
                    <a:pt x="553156" y="1011633"/>
                    <a:pt x="558795" y="1002510"/>
                    <a:pt x="571733" y="1009808"/>
                  </a:cubicBezTo>
                  <a:lnTo>
                    <a:pt x="586661" y="1006988"/>
                  </a:lnTo>
                  <a:lnTo>
                    <a:pt x="594457" y="1003008"/>
                  </a:lnTo>
                  <a:lnTo>
                    <a:pt x="596779" y="996870"/>
                  </a:lnTo>
                  <a:lnTo>
                    <a:pt x="598604" y="989738"/>
                  </a:lnTo>
                  <a:lnTo>
                    <a:pt x="607892" y="987084"/>
                  </a:lnTo>
                  <a:lnTo>
                    <a:pt x="616849" y="984928"/>
                  </a:lnTo>
                  <a:cubicBezTo>
                    <a:pt x="620050" y="979636"/>
                    <a:pt x="621610" y="973516"/>
                    <a:pt x="621328" y="967346"/>
                  </a:cubicBezTo>
                  <a:cubicBezTo>
                    <a:pt x="621328" y="967346"/>
                    <a:pt x="637914" y="950759"/>
                    <a:pt x="643554" y="965853"/>
                  </a:cubicBezTo>
                  <a:lnTo>
                    <a:pt x="647701" y="967843"/>
                  </a:lnTo>
                  <a:lnTo>
                    <a:pt x="647701" y="967843"/>
                  </a:lnTo>
                  <a:lnTo>
                    <a:pt x="649856" y="966683"/>
                  </a:lnTo>
                  <a:lnTo>
                    <a:pt x="649856" y="966683"/>
                  </a:lnTo>
                  <a:lnTo>
                    <a:pt x="651184" y="966683"/>
                  </a:lnTo>
                  <a:lnTo>
                    <a:pt x="651184" y="966683"/>
                  </a:lnTo>
                  <a:lnTo>
                    <a:pt x="652179" y="966683"/>
                  </a:lnTo>
                  <a:lnTo>
                    <a:pt x="652179" y="966683"/>
                  </a:lnTo>
                  <a:lnTo>
                    <a:pt x="653340" y="966683"/>
                  </a:lnTo>
                  <a:lnTo>
                    <a:pt x="654667" y="966683"/>
                  </a:lnTo>
                  <a:cubicBezTo>
                    <a:pt x="658448" y="965953"/>
                    <a:pt x="662330" y="965953"/>
                    <a:pt x="666112" y="966683"/>
                  </a:cubicBezTo>
                  <a:lnTo>
                    <a:pt x="666112" y="957726"/>
                  </a:lnTo>
                  <a:lnTo>
                    <a:pt x="676396" y="956399"/>
                  </a:lnTo>
                  <a:cubicBezTo>
                    <a:pt x="676396" y="956399"/>
                    <a:pt x="677391" y="951920"/>
                    <a:pt x="687012" y="950593"/>
                  </a:cubicBezTo>
                  <a:cubicBezTo>
                    <a:pt x="687012" y="950593"/>
                    <a:pt x="693315" y="947939"/>
                    <a:pt x="693315" y="957559"/>
                  </a:cubicBezTo>
                  <a:lnTo>
                    <a:pt x="693315" y="961541"/>
                  </a:lnTo>
                  <a:lnTo>
                    <a:pt x="691490" y="964692"/>
                  </a:lnTo>
                  <a:lnTo>
                    <a:pt x="691490" y="966185"/>
                  </a:lnTo>
                  <a:cubicBezTo>
                    <a:pt x="697793" y="961872"/>
                    <a:pt x="704096" y="960213"/>
                    <a:pt x="705589" y="963697"/>
                  </a:cubicBezTo>
                  <a:lnTo>
                    <a:pt x="705589" y="963697"/>
                  </a:lnTo>
                  <a:lnTo>
                    <a:pt x="705589" y="964526"/>
                  </a:lnTo>
                  <a:lnTo>
                    <a:pt x="705589" y="964526"/>
                  </a:lnTo>
                  <a:lnTo>
                    <a:pt x="705589" y="966019"/>
                  </a:lnTo>
                  <a:lnTo>
                    <a:pt x="705589" y="966019"/>
                  </a:lnTo>
                  <a:lnTo>
                    <a:pt x="705589" y="966019"/>
                  </a:lnTo>
                  <a:lnTo>
                    <a:pt x="705589" y="966019"/>
                  </a:lnTo>
                  <a:lnTo>
                    <a:pt x="705589" y="966019"/>
                  </a:lnTo>
                  <a:lnTo>
                    <a:pt x="705589" y="966019"/>
                  </a:lnTo>
                  <a:cubicBezTo>
                    <a:pt x="707081" y="971658"/>
                    <a:pt x="715044" y="978293"/>
                    <a:pt x="717863" y="985094"/>
                  </a:cubicBezTo>
                  <a:cubicBezTo>
                    <a:pt x="721512" y="982606"/>
                    <a:pt x="727152" y="980118"/>
                    <a:pt x="729474" y="986919"/>
                  </a:cubicBezTo>
                  <a:lnTo>
                    <a:pt x="731961" y="994880"/>
                  </a:lnTo>
                  <a:lnTo>
                    <a:pt x="731961" y="994880"/>
                  </a:lnTo>
                  <a:lnTo>
                    <a:pt x="736606" y="996041"/>
                  </a:lnTo>
                  <a:lnTo>
                    <a:pt x="737601" y="996041"/>
                  </a:lnTo>
                  <a:cubicBezTo>
                    <a:pt x="739525" y="995079"/>
                    <a:pt x="741416" y="994034"/>
                    <a:pt x="743240" y="992890"/>
                  </a:cubicBezTo>
                  <a:cubicBezTo>
                    <a:pt x="750075" y="988610"/>
                    <a:pt x="759081" y="990667"/>
                    <a:pt x="763360" y="997501"/>
                  </a:cubicBezTo>
                  <a:cubicBezTo>
                    <a:pt x="764290" y="998977"/>
                    <a:pt x="764953" y="1000619"/>
                    <a:pt x="765301" y="1002344"/>
                  </a:cubicBezTo>
                  <a:cubicBezTo>
                    <a:pt x="765301" y="1011135"/>
                    <a:pt x="766130" y="1020590"/>
                    <a:pt x="772765" y="1020590"/>
                  </a:cubicBezTo>
                  <a:cubicBezTo>
                    <a:pt x="779401" y="1020590"/>
                    <a:pt x="786035" y="1020590"/>
                    <a:pt x="786035" y="1037177"/>
                  </a:cubicBezTo>
                  <a:cubicBezTo>
                    <a:pt x="786035" y="1053763"/>
                    <a:pt x="791841" y="1071511"/>
                    <a:pt x="777907" y="1085444"/>
                  </a:cubicBezTo>
                  <a:cubicBezTo>
                    <a:pt x="763974" y="1099377"/>
                    <a:pt x="747719" y="1124257"/>
                    <a:pt x="750539" y="1131721"/>
                  </a:cubicBezTo>
                  <a:cubicBezTo>
                    <a:pt x="753359" y="1139186"/>
                    <a:pt x="746227" y="1152952"/>
                    <a:pt x="756511" y="1148308"/>
                  </a:cubicBezTo>
                  <a:cubicBezTo>
                    <a:pt x="766794" y="1143664"/>
                    <a:pt x="789684" y="1148308"/>
                    <a:pt x="786698" y="1154114"/>
                  </a:cubicBezTo>
                  <a:cubicBezTo>
                    <a:pt x="783712" y="1159919"/>
                    <a:pt x="786698" y="1180487"/>
                    <a:pt x="796983" y="1181316"/>
                  </a:cubicBezTo>
                  <a:cubicBezTo>
                    <a:pt x="807266" y="1182145"/>
                    <a:pt x="812574" y="1187121"/>
                    <a:pt x="809588" y="1195912"/>
                  </a:cubicBezTo>
                  <a:cubicBezTo>
                    <a:pt x="806602" y="1204703"/>
                    <a:pt x="801460" y="1217973"/>
                    <a:pt x="809588" y="1217973"/>
                  </a:cubicBezTo>
                  <a:cubicBezTo>
                    <a:pt x="817716" y="1217973"/>
                    <a:pt x="829492" y="1217973"/>
                    <a:pt x="828000" y="1226764"/>
                  </a:cubicBezTo>
                  <a:cubicBezTo>
                    <a:pt x="826507" y="1235555"/>
                    <a:pt x="833805" y="1243351"/>
                    <a:pt x="848567" y="1237711"/>
                  </a:cubicBezTo>
                  <a:cubicBezTo>
                    <a:pt x="857192" y="1234228"/>
                    <a:pt x="861671" y="1231077"/>
                    <a:pt x="863495" y="1234560"/>
                  </a:cubicBezTo>
                  <a:cubicBezTo>
                    <a:pt x="869467" y="1234560"/>
                    <a:pt x="869798" y="1247664"/>
                    <a:pt x="880082" y="1250151"/>
                  </a:cubicBezTo>
                  <a:cubicBezTo>
                    <a:pt x="890365" y="1252639"/>
                    <a:pt x="885390" y="1228091"/>
                    <a:pt x="881409" y="1224110"/>
                  </a:cubicBezTo>
                  <a:cubicBezTo>
                    <a:pt x="877428" y="1220129"/>
                    <a:pt x="882736" y="1203210"/>
                    <a:pt x="886717" y="1207523"/>
                  </a:cubicBezTo>
                  <a:cubicBezTo>
                    <a:pt x="890698" y="1211836"/>
                    <a:pt x="902475" y="1207523"/>
                    <a:pt x="908944" y="1199561"/>
                  </a:cubicBezTo>
                  <a:cubicBezTo>
                    <a:pt x="915412" y="1191600"/>
                    <a:pt x="928682" y="1206196"/>
                    <a:pt x="933989" y="1197073"/>
                  </a:cubicBezTo>
                  <a:cubicBezTo>
                    <a:pt x="939297" y="1187951"/>
                    <a:pt x="950576" y="1203543"/>
                    <a:pt x="962851" y="1197073"/>
                  </a:cubicBezTo>
                  <a:cubicBezTo>
                    <a:pt x="975125" y="1190605"/>
                    <a:pt x="979438" y="1202215"/>
                    <a:pt x="985077" y="1193093"/>
                  </a:cubicBezTo>
                  <a:cubicBezTo>
                    <a:pt x="990717" y="1183970"/>
                    <a:pt x="1007469" y="1172193"/>
                    <a:pt x="1011284" y="1176506"/>
                  </a:cubicBezTo>
                  <a:cubicBezTo>
                    <a:pt x="1017538" y="1185529"/>
                    <a:pt x="1027838" y="1190870"/>
                    <a:pt x="1038818" y="1190770"/>
                  </a:cubicBezTo>
                  <a:cubicBezTo>
                    <a:pt x="1059883" y="1193424"/>
                    <a:pt x="1048106" y="1203874"/>
                    <a:pt x="1048106" y="1210343"/>
                  </a:cubicBezTo>
                  <a:cubicBezTo>
                    <a:pt x="1048106" y="1216812"/>
                    <a:pt x="1071660" y="1233896"/>
                    <a:pt x="1081280" y="1235223"/>
                  </a:cubicBezTo>
                  <a:cubicBezTo>
                    <a:pt x="1083105" y="1235223"/>
                    <a:pt x="1085427" y="1237545"/>
                    <a:pt x="1088247" y="1240697"/>
                  </a:cubicBezTo>
                  <a:cubicBezTo>
                    <a:pt x="1094550" y="1237545"/>
                    <a:pt x="1105994" y="1242687"/>
                    <a:pt x="1108483" y="1235223"/>
                  </a:cubicBezTo>
                  <a:cubicBezTo>
                    <a:pt x="1110971" y="1227759"/>
                    <a:pt x="1122250" y="1228920"/>
                    <a:pt x="1126563" y="1236219"/>
                  </a:cubicBezTo>
                  <a:cubicBezTo>
                    <a:pt x="1130875" y="1243517"/>
                    <a:pt x="1136017" y="1245010"/>
                    <a:pt x="1145803" y="1236219"/>
                  </a:cubicBezTo>
                  <a:cubicBezTo>
                    <a:pt x="1155590" y="1227428"/>
                    <a:pt x="1160566" y="1245010"/>
                    <a:pt x="1154595" y="1249819"/>
                  </a:cubicBezTo>
                  <a:cubicBezTo>
                    <a:pt x="1148623" y="1254630"/>
                    <a:pt x="1152604" y="1269890"/>
                    <a:pt x="1162058" y="1278681"/>
                  </a:cubicBezTo>
                  <a:cubicBezTo>
                    <a:pt x="1171512" y="1287472"/>
                    <a:pt x="1172840" y="1273373"/>
                    <a:pt x="1170849" y="1264582"/>
                  </a:cubicBezTo>
                  <a:cubicBezTo>
                    <a:pt x="1168859" y="1255791"/>
                    <a:pt x="1186607" y="1246834"/>
                    <a:pt x="1217458" y="1236716"/>
                  </a:cubicBezTo>
                  <a:cubicBezTo>
                    <a:pt x="1248310" y="1226598"/>
                    <a:pt x="1281815" y="1203543"/>
                    <a:pt x="1282312" y="1199064"/>
                  </a:cubicBezTo>
                  <a:cubicBezTo>
                    <a:pt x="1282810" y="1194585"/>
                    <a:pt x="1304539" y="1207855"/>
                    <a:pt x="1315486" y="1200059"/>
                  </a:cubicBezTo>
                  <a:cubicBezTo>
                    <a:pt x="1326434" y="1192263"/>
                    <a:pt x="1363090" y="1191268"/>
                    <a:pt x="1372877" y="1190770"/>
                  </a:cubicBezTo>
                  <a:cubicBezTo>
                    <a:pt x="1382663" y="1190273"/>
                    <a:pt x="1382331" y="1181979"/>
                    <a:pt x="1392615" y="1174184"/>
                  </a:cubicBezTo>
                  <a:cubicBezTo>
                    <a:pt x="1402899" y="1166388"/>
                    <a:pt x="1400410" y="1161909"/>
                    <a:pt x="1412188" y="1158592"/>
                  </a:cubicBezTo>
                  <a:cubicBezTo>
                    <a:pt x="1421858" y="1156038"/>
                    <a:pt x="1429272" y="1148292"/>
                    <a:pt x="1431429" y="1138522"/>
                  </a:cubicBezTo>
                  <a:cubicBezTo>
                    <a:pt x="1431429" y="1132551"/>
                    <a:pt x="1453489" y="1130726"/>
                    <a:pt x="1453987" y="1124257"/>
                  </a:cubicBezTo>
                  <a:cubicBezTo>
                    <a:pt x="1454484" y="1117788"/>
                    <a:pt x="1470573" y="1115964"/>
                    <a:pt x="1470573" y="1107671"/>
                  </a:cubicBezTo>
                  <a:cubicBezTo>
                    <a:pt x="1470573" y="1099377"/>
                    <a:pt x="1480359" y="1101368"/>
                    <a:pt x="1484838" y="1095396"/>
                  </a:cubicBezTo>
                  <a:cubicBezTo>
                    <a:pt x="1489317" y="1089425"/>
                    <a:pt x="1481354" y="1072507"/>
                    <a:pt x="1489317" y="1070018"/>
                  </a:cubicBezTo>
                  <a:cubicBezTo>
                    <a:pt x="1497278" y="1067530"/>
                    <a:pt x="1486331" y="1058242"/>
                    <a:pt x="1484838" y="1053431"/>
                  </a:cubicBezTo>
                  <a:cubicBezTo>
                    <a:pt x="1483345" y="1048622"/>
                    <a:pt x="1499600" y="1047958"/>
                    <a:pt x="1507894" y="1042650"/>
                  </a:cubicBezTo>
                  <a:cubicBezTo>
                    <a:pt x="1516055" y="1037591"/>
                    <a:pt x="1521628" y="1029231"/>
                    <a:pt x="1523153" y="1019760"/>
                  </a:cubicBezTo>
                  <a:cubicBezTo>
                    <a:pt x="1524647" y="1010472"/>
                    <a:pt x="1538413" y="1002178"/>
                    <a:pt x="1544716" y="999690"/>
                  </a:cubicBezTo>
                  <a:cubicBezTo>
                    <a:pt x="1551019" y="997202"/>
                    <a:pt x="1553508" y="984099"/>
                    <a:pt x="1551683" y="972820"/>
                  </a:cubicBezTo>
                  <a:cubicBezTo>
                    <a:pt x="1549858" y="961541"/>
                    <a:pt x="1562962" y="964526"/>
                    <a:pt x="1556990" y="960047"/>
                  </a:cubicBezTo>
                  <a:cubicBezTo>
                    <a:pt x="1551019" y="955569"/>
                    <a:pt x="1559479" y="943461"/>
                    <a:pt x="1571256" y="940144"/>
                  </a:cubicBezTo>
                  <a:cubicBezTo>
                    <a:pt x="1583032" y="936826"/>
                    <a:pt x="1563957" y="931186"/>
                    <a:pt x="1557488" y="936163"/>
                  </a:cubicBezTo>
                  <a:cubicBezTo>
                    <a:pt x="1551019" y="941139"/>
                    <a:pt x="1544219" y="921898"/>
                    <a:pt x="1538413" y="929362"/>
                  </a:cubicBezTo>
                  <a:cubicBezTo>
                    <a:pt x="1532608" y="936826"/>
                    <a:pt x="1515855" y="924883"/>
                    <a:pt x="1526471" y="922562"/>
                  </a:cubicBezTo>
                  <a:cubicBezTo>
                    <a:pt x="1538446" y="917718"/>
                    <a:pt x="1550140" y="912195"/>
                    <a:pt x="1561469" y="905975"/>
                  </a:cubicBezTo>
                  <a:cubicBezTo>
                    <a:pt x="1568767" y="903652"/>
                    <a:pt x="1550688" y="887398"/>
                    <a:pt x="1541234" y="887895"/>
                  </a:cubicBezTo>
                  <a:cubicBezTo>
                    <a:pt x="1531779" y="888393"/>
                    <a:pt x="1521661" y="866498"/>
                    <a:pt x="1511875" y="866498"/>
                  </a:cubicBezTo>
                  <a:cubicBezTo>
                    <a:pt x="1502088" y="866498"/>
                    <a:pt x="1519173" y="859697"/>
                    <a:pt x="1530452" y="865503"/>
                  </a:cubicBezTo>
                  <a:cubicBezTo>
                    <a:pt x="1541731" y="871308"/>
                    <a:pt x="1555000" y="876284"/>
                    <a:pt x="1559977" y="871308"/>
                  </a:cubicBezTo>
                  <a:cubicBezTo>
                    <a:pt x="1564953" y="866332"/>
                    <a:pt x="1540735" y="846926"/>
                    <a:pt x="1531945" y="840125"/>
                  </a:cubicBezTo>
                  <a:cubicBezTo>
                    <a:pt x="1523153" y="833324"/>
                    <a:pt x="1531945" y="823538"/>
                    <a:pt x="1526139" y="820055"/>
                  </a:cubicBezTo>
                  <a:cubicBezTo>
                    <a:pt x="1517000" y="807880"/>
                    <a:pt x="1509835" y="794328"/>
                    <a:pt x="1504908" y="779915"/>
                  </a:cubicBezTo>
                  <a:cubicBezTo>
                    <a:pt x="1501093" y="768801"/>
                    <a:pt x="1480359" y="766811"/>
                    <a:pt x="1475549" y="759513"/>
                  </a:cubicBezTo>
                  <a:cubicBezTo>
                    <a:pt x="1470739" y="752215"/>
                    <a:pt x="1475549" y="734964"/>
                    <a:pt x="1491141" y="728661"/>
                  </a:cubicBezTo>
                  <a:cubicBezTo>
                    <a:pt x="1506733" y="722358"/>
                    <a:pt x="1499931" y="709586"/>
                    <a:pt x="1507728" y="711079"/>
                  </a:cubicBezTo>
                  <a:cubicBezTo>
                    <a:pt x="1515523" y="712572"/>
                    <a:pt x="1520500" y="709586"/>
                    <a:pt x="1525973" y="698307"/>
                  </a:cubicBezTo>
                  <a:cubicBezTo>
                    <a:pt x="1531447" y="687028"/>
                    <a:pt x="1540735" y="693995"/>
                    <a:pt x="1546043" y="688190"/>
                  </a:cubicBezTo>
                  <a:cubicBezTo>
                    <a:pt x="1551351" y="682384"/>
                    <a:pt x="1575568" y="682716"/>
                    <a:pt x="1583862" y="676910"/>
                  </a:cubicBezTo>
                  <a:cubicBezTo>
                    <a:pt x="1592155" y="671105"/>
                    <a:pt x="1576065" y="652859"/>
                    <a:pt x="1564787" y="655845"/>
                  </a:cubicBezTo>
                  <a:cubicBezTo>
                    <a:pt x="1552064" y="659113"/>
                    <a:pt x="1538662" y="653838"/>
                    <a:pt x="1531613" y="642742"/>
                  </a:cubicBezTo>
                  <a:cubicBezTo>
                    <a:pt x="1523817" y="630965"/>
                    <a:pt x="1503083" y="664139"/>
                    <a:pt x="1487491" y="671437"/>
                  </a:cubicBezTo>
                  <a:cubicBezTo>
                    <a:pt x="1471901" y="678735"/>
                    <a:pt x="1461451" y="658333"/>
                    <a:pt x="1466758" y="645064"/>
                  </a:cubicBezTo>
                  <a:cubicBezTo>
                    <a:pt x="1472066" y="631794"/>
                    <a:pt x="1454484" y="632458"/>
                    <a:pt x="1432424" y="633287"/>
                  </a:cubicBezTo>
                  <a:cubicBezTo>
                    <a:pt x="1410363" y="634117"/>
                    <a:pt x="1418657" y="594308"/>
                    <a:pt x="1432424" y="592318"/>
                  </a:cubicBezTo>
                  <a:cubicBezTo>
                    <a:pt x="1446190" y="590327"/>
                    <a:pt x="1465598" y="604592"/>
                    <a:pt x="1473725" y="580209"/>
                  </a:cubicBezTo>
                  <a:cubicBezTo>
                    <a:pt x="1481852" y="555827"/>
                    <a:pt x="1493794" y="574736"/>
                    <a:pt x="1512538" y="553338"/>
                  </a:cubicBezTo>
                  <a:cubicBezTo>
                    <a:pt x="1531281" y="531942"/>
                    <a:pt x="1552843" y="518506"/>
                    <a:pt x="1568933" y="531278"/>
                  </a:cubicBezTo>
                  <a:cubicBezTo>
                    <a:pt x="1585022" y="544050"/>
                    <a:pt x="1552346" y="564452"/>
                    <a:pt x="1546375" y="576228"/>
                  </a:cubicBezTo>
                  <a:cubicBezTo>
                    <a:pt x="1540403" y="588005"/>
                    <a:pt x="1551351" y="592815"/>
                    <a:pt x="1541399" y="601606"/>
                  </a:cubicBezTo>
                  <a:cubicBezTo>
                    <a:pt x="1531447" y="610397"/>
                    <a:pt x="1545380" y="613383"/>
                    <a:pt x="1564621" y="601606"/>
                  </a:cubicBezTo>
                  <a:cubicBezTo>
                    <a:pt x="1584011" y="588403"/>
                    <a:pt x="1604562" y="576975"/>
                    <a:pt x="1625992" y="567437"/>
                  </a:cubicBezTo>
                  <a:cubicBezTo>
                    <a:pt x="1631283" y="565430"/>
                    <a:pt x="1636972" y="564750"/>
                    <a:pt x="1642579" y="565447"/>
                  </a:cubicBezTo>
                  <a:cubicBezTo>
                    <a:pt x="1643922" y="559658"/>
                    <a:pt x="1647206" y="554516"/>
                    <a:pt x="1651867" y="550851"/>
                  </a:cubicBezTo>
                  <a:cubicBezTo>
                    <a:pt x="1664805" y="544547"/>
                    <a:pt x="1707599" y="525307"/>
                    <a:pt x="1713902" y="516848"/>
                  </a:cubicBezTo>
                  <a:cubicBezTo>
                    <a:pt x="1720205" y="508388"/>
                    <a:pt x="1726840" y="493460"/>
                    <a:pt x="1735299" y="493460"/>
                  </a:cubicBezTo>
                  <a:cubicBezTo>
                    <a:pt x="1743758" y="493460"/>
                    <a:pt x="1743924" y="501919"/>
                    <a:pt x="1756696" y="501919"/>
                  </a:cubicBezTo>
                  <a:cubicBezTo>
                    <a:pt x="1769467" y="501919"/>
                    <a:pt x="1784562" y="506232"/>
                    <a:pt x="1778093" y="495616"/>
                  </a:cubicBezTo>
                  <a:cubicBezTo>
                    <a:pt x="1771624" y="485001"/>
                    <a:pt x="1776103" y="484835"/>
                    <a:pt x="1791031" y="482679"/>
                  </a:cubicBezTo>
                  <a:cubicBezTo>
                    <a:pt x="1805959" y="480522"/>
                    <a:pt x="1803802" y="466092"/>
                    <a:pt x="1814584" y="466092"/>
                  </a:cubicBezTo>
                  <a:cubicBezTo>
                    <a:pt x="1825366" y="466092"/>
                    <a:pt x="1823044" y="440548"/>
                    <a:pt x="1833824" y="440548"/>
                  </a:cubicBezTo>
                  <a:cubicBezTo>
                    <a:pt x="1844606" y="440548"/>
                    <a:pt x="1848919" y="455476"/>
                    <a:pt x="1861691" y="451164"/>
                  </a:cubicBezTo>
                  <a:cubicBezTo>
                    <a:pt x="1864792" y="450517"/>
                    <a:pt x="1868027" y="450981"/>
                    <a:pt x="1870814" y="452491"/>
                  </a:cubicBezTo>
                  <a:lnTo>
                    <a:pt x="1878941" y="446353"/>
                  </a:lnTo>
                  <a:cubicBezTo>
                    <a:pt x="1879024" y="435804"/>
                    <a:pt x="1878245" y="425255"/>
                    <a:pt x="1876619" y="414839"/>
                  </a:cubicBezTo>
                  <a:cubicBezTo>
                    <a:pt x="1871643" y="403062"/>
                    <a:pt x="1876619" y="394271"/>
                    <a:pt x="1874628" y="387470"/>
                  </a:cubicBezTo>
                  <a:cubicBezTo>
                    <a:pt x="1872638" y="380670"/>
                    <a:pt x="1871643" y="364083"/>
                    <a:pt x="1879438" y="364083"/>
                  </a:cubicBezTo>
                  <a:cubicBezTo>
                    <a:pt x="1887235" y="364083"/>
                    <a:pt x="1897186" y="344345"/>
                    <a:pt x="1906973" y="351311"/>
                  </a:cubicBezTo>
                  <a:cubicBezTo>
                    <a:pt x="1916759" y="358277"/>
                    <a:pt x="1936497" y="360102"/>
                    <a:pt x="1936497" y="351311"/>
                  </a:cubicBezTo>
                  <a:cubicBezTo>
                    <a:pt x="1936497" y="342520"/>
                    <a:pt x="1950264" y="341525"/>
                    <a:pt x="1953084" y="329748"/>
                  </a:cubicBezTo>
                  <a:cubicBezTo>
                    <a:pt x="1955904" y="317971"/>
                    <a:pt x="1969671" y="315152"/>
                    <a:pt x="1972656" y="304370"/>
                  </a:cubicBezTo>
                  <a:cubicBezTo>
                    <a:pt x="1975643" y="293589"/>
                    <a:pt x="1980618" y="268211"/>
                    <a:pt x="1990404" y="262406"/>
                  </a:cubicBezTo>
                  <a:cubicBezTo>
                    <a:pt x="2000191" y="256600"/>
                    <a:pt x="1987253" y="259254"/>
                    <a:pt x="1988248" y="241672"/>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596" name="Freeform: Shape 595">
              <a:extLst>
                <a:ext uri="{FF2B5EF4-FFF2-40B4-BE49-F238E27FC236}">
                  <a16:creationId xmlns:a16="http://schemas.microsoft.com/office/drawing/2014/main" id="{0C817018-48F7-49C9-A21C-77327977F420}"/>
                </a:ext>
              </a:extLst>
            </p:cNvPr>
            <p:cNvSpPr/>
            <p:nvPr/>
          </p:nvSpPr>
          <p:spPr>
            <a:xfrm>
              <a:off x="8719761" y="3965528"/>
              <a:ext cx="53769" cy="89176"/>
            </a:xfrm>
            <a:custGeom>
              <a:avLst/>
              <a:gdLst>
                <a:gd name="connsiteX0" fmla="*/ 2649 w 62879"/>
                <a:gd name="connsiteY0" fmla="*/ 49316 h 106325"/>
                <a:gd name="connsiteX1" fmla="*/ 20397 w 62879"/>
                <a:gd name="connsiteY1" fmla="*/ 106043 h 106325"/>
                <a:gd name="connsiteX2" fmla="*/ 61698 w 62879"/>
                <a:gd name="connsiteY2" fmla="*/ 3371 h 106325"/>
                <a:gd name="connsiteX3" fmla="*/ 2649 w 62879"/>
                <a:gd name="connsiteY3" fmla="*/ 49316 h 106325"/>
              </a:gdLst>
              <a:ahLst/>
              <a:cxnLst>
                <a:cxn ang="0">
                  <a:pos x="connsiteX0" y="connsiteY0"/>
                </a:cxn>
                <a:cxn ang="0">
                  <a:pos x="connsiteX1" y="connsiteY1"/>
                </a:cxn>
                <a:cxn ang="0">
                  <a:pos x="connsiteX2" y="connsiteY2"/>
                </a:cxn>
                <a:cxn ang="0">
                  <a:pos x="connsiteX3" y="connsiteY3"/>
                </a:cxn>
              </a:cxnLst>
              <a:rect l="l" t="t" r="r" b="b"/>
              <a:pathLst>
                <a:path w="62879" h="106325">
                  <a:moveTo>
                    <a:pt x="2649" y="49316"/>
                  </a:moveTo>
                  <a:cubicBezTo>
                    <a:pt x="-8133" y="88461"/>
                    <a:pt x="17079" y="108365"/>
                    <a:pt x="20397" y="106043"/>
                  </a:cubicBezTo>
                  <a:cubicBezTo>
                    <a:pt x="30183" y="99243"/>
                    <a:pt x="70157" y="15147"/>
                    <a:pt x="61698" y="3371"/>
                  </a:cubicBezTo>
                  <a:cubicBezTo>
                    <a:pt x="53238" y="-8406"/>
                    <a:pt x="12933" y="10503"/>
                    <a:pt x="2649" y="49316"/>
                  </a:cubicBez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Calibri" panose="020F0502020204030204"/>
                <a:ea typeface="+mn-ea"/>
                <a:cs typeface="+mn-cs"/>
              </a:endParaRPr>
            </a:p>
          </p:txBody>
        </p:sp>
      </p:grpSp>
      <p:sp>
        <p:nvSpPr>
          <p:cNvPr id="250" name="Rectangle 249">
            <a:extLst>
              <a:ext uri="{FF2B5EF4-FFF2-40B4-BE49-F238E27FC236}">
                <a16:creationId xmlns:a16="http://schemas.microsoft.com/office/drawing/2014/main" id="{1DAA7F07-3160-411B-9AA5-C8274B52B667}"/>
              </a:ext>
            </a:extLst>
          </p:cNvPr>
          <p:cNvSpPr/>
          <p:nvPr/>
        </p:nvSpPr>
        <p:spPr>
          <a:xfrm>
            <a:off x="2917523" y="3326602"/>
            <a:ext cx="1889265" cy="862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F47F2"/>
                </a:solidFill>
                <a:effectLst/>
                <a:uLnTx/>
                <a:uFillTx/>
                <a:latin typeface="Franklin Gothic Demi" panose="020B0703020102020204" pitchFamily="34" charset="0"/>
                <a:ea typeface="+mn-ea"/>
                <a:cs typeface="Calibri" panose="020F0502020204030204" pitchFamily="34" charset="0"/>
              </a:rPr>
              <a:t>Casablanc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Week: Mon-Fri</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04:00 AM – 14:00 PM </a:t>
            </a:r>
            <a:r>
              <a:rPr lang="en-US" sz="1200" dirty="0">
                <a:solidFill>
                  <a:srgbClr val="202124"/>
                </a:solidFill>
                <a:latin typeface="Calibri" panose="020F0502020204030204" pitchFamily="34" charset="0"/>
                <a:cs typeface="Calibri" panose="020F0502020204030204" pitchFamily="34" charset="0"/>
              </a:rPr>
              <a:t>E</a:t>
            </a: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Languages:</a:t>
            </a:r>
            <a:br>
              <a:rPr kumimoji="0" lang="en-US" sz="120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b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En-Fr-</a:t>
            </a:r>
            <a:r>
              <a:rPr kumimoji="0" lang="en-US" sz="1200" b="0" i="0" u="none" strike="noStrike" kern="1200" cap="none" spc="0" normalizeH="0" baseline="0" noProof="0" dirty="0" err="1">
                <a:ln>
                  <a:noFill/>
                </a:ln>
                <a:solidFill>
                  <a:srgbClr val="202124"/>
                </a:solidFill>
                <a:effectLst/>
                <a:uLnTx/>
                <a:uFillTx/>
                <a:latin typeface="Calibri" panose="020F0502020204030204" pitchFamily="34" charset="0"/>
                <a:ea typeface="+mn-ea"/>
                <a:cs typeface="Calibri" panose="020F0502020204030204" pitchFamily="34" charset="0"/>
              </a:rPr>
              <a:t>Ar</a:t>
            </a: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Pt-</a:t>
            </a:r>
            <a:r>
              <a:rPr kumimoji="0" lang="en-US" sz="1200" b="0" i="0" u="none" strike="noStrike" kern="1200" cap="none" spc="0" normalizeH="0" baseline="0" noProof="0" dirty="0" err="1">
                <a:ln>
                  <a:noFill/>
                </a:ln>
                <a:solidFill>
                  <a:srgbClr val="202124"/>
                </a:solidFill>
                <a:effectLst/>
                <a:uLnTx/>
                <a:uFillTx/>
                <a:latin typeface="Calibri" panose="020F0502020204030204" pitchFamily="34" charset="0"/>
                <a:ea typeface="+mn-ea"/>
                <a:cs typeface="Calibri" panose="020F0502020204030204" pitchFamily="34" charset="0"/>
              </a:rPr>
              <a:t>Sp</a:t>
            </a: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It</a:t>
            </a: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26" name="Straight Connector 25">
            <a:extLst>
              <a:ext uri="{FF2B5EF4-FFF2-40B4-BE49-F238E27FC236}">
                <a16:creationId xmlns:a16="http://schemas.microsoft.com/office/drawing/2014/main" id="{22EF783F-2D8D-412D-820D-0EDE4B236592}"/>
              </a:ext>
            </a:extLst>
          </p:cNvPr>
          <p:cNvCxnSpPr>
            <a:cxnSpLocks/>
          </p:cNvCxnSpPr>
          <p:nvPr/>
        </p:nvCxnSpPr>
        <p:spPr>
          <a:xfrm>
            <a:off x="2071709" y="3542624"/>
            <a:ext cx="0" cy="753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8" name="Rectangle 247">
            <a:extLst>
              <a:ext uri="{FF2B5EF4-FFF2-40B4-BE49-F238E27FC236}">
                <a16:creationId xmlns:a16="http://schemas.microsoft.com/office/drawing/2014/main" id="{1262C66D-D393-42A4-8875-5F7839C1785F}"/>
              </a:ext>
            </a:extLst>
          </p:cNvPr>
          <p:cNvSpPr/>
          <p:nvPr/>
        </p:nvSpPr>
        <p:spPr>
          <a:xfrm>
            <a:off x="143078" y="3488127"/>
            <a:ext cx="1961951" cy="862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F47F2"/>
                </a:solidFill>
                <a:effectLst/>
                <a:uLnTx/>
                <a:uFillTx/>
                <a:latin typeface="Franklin Gothic Demi" panose="020B0703020102020204" pitchFamily="34" charset="0"/>
                <a:ea typeface="+mn-ea"/>
                <a:cs typeface="Calibri" panose="020F0502020204030204" pitchFamily="34" charset="0"/>
              </a:rPr>
              <a:t>Mexico Cit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Week: Mon-Fri</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200" dirty="0">
                <a:solidFill>
                  <a:srgbClr val="202124"/>
                </a:solidFill>
                <a:latin typeface="Calibri" panose="020F0502020204030204" pitchFamily="34" charset="0"/>
                <a:cs typeface="Calibri" panose="020F0502020204030204" pitchFamily="34" charset="0"/>
              </a:rPr>
              <a:t>11:</a:t>
            </a: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00 AM – 19:00 PM </a:t>
            </a:r>
            <a:r>
              <a:rPr lang="en-US" sz="1200" dirty="0">
                <a:solidFill>
                  <a:srgbClr val="202124"/>
                </a:solidFill>
                <a:latin typeface="Calibri" panose="020F0502020204030204" pitchFamily="34" charset="0"/>
                <a:cs typeface="Calibri" panose="020F0502020204030204" pitchFamily="34" charset="0"/>
              </a:rPr>
              <a:t>E</a:t>
            </a: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Languages: En-</a:t>
            </a:r>
            <a:r>
              <a:rPr kumimoji="0" lang="en-US" sz="1200" b="0" i="0" u="none" strike="noStrike" kern="1200" cap="none" spc="0" normalizeH="0" baseline="0" noProof="0" dirty="0" err="1">
                <a:ln>
                  <a:noFill/>
                </a:ln>
                <a:solidFill>
                  <a:srgbClr val="202124"/>
                </a:solidFill>
                <a:effectLst/>
                <a:uLnTx/>
                <a:uFillTx/>
                <a:latin typeface="Calibri" panose="020F0502020204030204" pitchFamily="34" charset="0"/>
                <a:ea typeface="+mn-ea"/>
                <a:cs typeface="Calibri" panose="020F0502020204030204" pitchFamily="34" charset="0"/>
              </a:rPr>
              <a:t>Sp</a:t>
            </a: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Pt-</a:t>
            </a:r>
            <a:r>
              <a:rPr kumimoji="0" lang="en-US" sz="1200" b="0" i="0" u="none" strike="noStrike" kern="1200" cap="none" spc="0" normalizeH="0" baseline="0" noProof="0" dirty="0" err="1">
                <a:ln>
                  <a:noFill/>
                </a:ln>
                <a:solidFill>
                  <a:srgbClr val="202124"/>
                </a:solidFill>
                <a:effectLst/>
                <a:uLnTx/>
                <a:uFillTx/>
                <a:latin typeface="Calibri" panose="020F0502020204030204" pitchFamily="34" charset="0"/>
                <a:ea typeface="+mn-ea"/>
                <a:cs typeface="Calibri" panose="020F0502020204030204" pitchFamily="34" charset="0"/>
              </a:rPr>
              <a:t>Ar</a:t>
            </a: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 </a:t>
            </a: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 name="Rectangle 4">
            <a:extLst>
              <a:ext uri="{FF2B5EF4-FFF2-40B4-BE49-F238E27FC236}">
                <a16:creationId xmlns:a16="http://schemas.microsoft.com/office/drawing/2014/main" id="{7160511E-3477-2A56-63F7-828BFD1D8463}"/>
              </a:ext>
            </a:extLst>
          </p:cNvPr>
          <p:cNvSpPr/>
          <p:nvPr/>
        </p:nvSpPr>
        <p:spPr>
          <a:xfrm>
            <a:off x="6433773" y="3493754"/>
            <a:ext cx="1745214" cy="862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F47F2"/>
                </a:solidFill>
                <a:effectLst/>
                <a:uLnTx/>
                <a:uFillTx/>
                <a:latin typeface="Franklin Gothic Demi" panose="020B0703020102020204" pitchFamily="34" charset="0"/>
                <a:ea typeface="+mn-ea"/>
                <a:cs typeface="Calibri" panose="020F0502020204030204" pitchFamily="34" charset="0"/>
              </a:rPr>
              <a:t>Cair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Week: Sun-Th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02:00 AM – 11:00 AM </a:t>
            </a:r>
            <a:r>
              <a:rPr lang="en-US" sz="1200" dirty="0">
                <a:solidFill>
                  <a:srgbClr val="202124"/>
                </a:solidFill>
                <a:latin typeface="Calibri" panose="020F0502020204030204" pitchFamily="34" charset="0"/>
                <a:cs typeface="Calibri" panose="020F0502020204030204" pitchFamily="34" charset="0"/>
              </a:rPr>
              <a:t>E</a:t>
            </a: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Languages</a:t>
            </a:r>
            <a:r>
              <a:rPr kumimoji="0" lang="en-US" sz="120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 </a:t>
            </a:r>
            <a:r>
              <a:rPr kumimoji="0" lang="en-US" sz="1200" i="0" u="none" strike="noStrike" kern="1200" cap="none" spc="0" normalizeH="0" baseline="0" noProof="0" dirty="0" err="1">
                <a:ln>
                  <a:noFill/>
                </a:ln>
                <a:solidFill>
                  <a:srgbClr val="202124"/>
                </a:solidFill>
                <a:effectLst/>
                <a:uLnTx/>
                <a:uFillTx/>
                <a:latin typeface="Calibri" panose="020F0502020204030204" pitchFamily="34" charset="0"/>
                <a:ea typeface="+mn-ea"/>
                <a:cs typeface="Calibri" panose="020F0502020204030204" pitchFamily="34" charset="0"/>
              </a:rPr>
              <a:t>En-Ar</a:t>
            </a:r>
            <a:r>
              <a:rPr lang="en-US" sz="1200" dirty="0">
                <a:solidFill>
                  <a:srgbClr val="202124"/>
                </a:solidFill>
                <a:latin typeface="Calibri" panose="020F0502020204030204" pitchFamily="34" charset="0"/>
                <a:cs typeface="Calibri" panose="020F0502020204030204" pitchFamily="34" charset="0"/>
              </a:rPr>
              <a:t>-Fr</a:t>
            </a:r>
            <a:endParaRPr kumimoji="0" lang="en-US" sz="105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6" name="Group 5">
            <a:extLst>
              <a:ext uri="{FF2B5EF4-FFF2-40B4-BE49-F238E27FC236}">
                <a16:creationId xmlns:a16="http://schemas.microsoft.com/office/drawing/2014/main" id="{7138E9BD-279E-1E4C-5684-C1F59BAD3458}"/>
              </a:ext>
            </a:extLst>
          </p:cNvPr>
          <p:cNvGrpSpPr/>
          <p:nvPr/>
        </p:nvGrpSpPr>
        <p:grpSpPr>
          <a:xfrm>
            <a:off x="6213929" y="3494049"/>
            <a:ext cx="219844" cy="862345"/>
            <a:chOff x="6289799" y="3661444"/>
            <a:chExt cx="237106" cy="827031"/>
          </a:xfrm>
        </p:grpSpPr>
        <p:cxnSp>
          <p:nvCxnSpPr>
            <p:cNvPr id="7" name="Straight Connector 6">
              <a:extLst>
                <a:ext uri="{FF2B5EF4-FFF2-40B4-BE49-F238E27FC236}">
                  <a16:creationId xmlns:a16="http://schemas.microsoft.com/office/drawing/2014/main" id="{9463E974-6BBB-EBB6-261D-08DFA5FAC3CC}"/>
                </a:ext>
              </a:extLst>
            </p:cNvPr>
            <p:cNvCxnSpPr>
              <a:cxnSpLocks/>
            </p:cNvCxnSpPr>
            <p:nvPr/>
          </p:nvCxnSpPr>
          <p:spPr>
            <a:xfrm>
              <a:off x="6289799" y="4126789"/>
              <a:ext cx="23710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9390436-A626-0C44-83F1-72652741DB8F}"/>
                </a:ext>
              </a:extLst>
            </p:cNvPr>
            <p:cNvCxnSpPr>
              <a:cxnSpLocks/>
            </p:cNvCxnSpPr>
            <p:nvPr/>
          </p:nvCxnSpPr>
          <p:spPr>
            <a:xfrm>
              <a:off x="6524909" y="3661444"/>
              <a:ext cx="0" cy="827031"/>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grpSp>
      <p:sp>
        <p:nvSpPr>
          <p:cNvPr id="22" name="Rectangle 21" hidden="1">
            <a:extLst>
              <a:ext uri="{FF2B5EF4-FFF2-40B4-BE49-F238E27FC236}">
                <a16:creationId xmlns:a16="http://schemas.microsoft.com/office/drawing/2014/main" id="{05AB12EB-7E82-4CBD-8AD3-6343457880B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Calibri" panose="020F0502020204030204" pitchFamily="34" charset="0"/>
              <a:sym typeface="Franklin Gothic Demi" panose="020B0703020102020204" pitchFamily="34" charset="0"/>
            </a:endParaRPr>
          </a:p>
        </p:txBody>
      </p:sp>
      <p:sp>
        <p:nvSpPr>
          <p:cNvPr id="3" name="Title 2">
            <a:extLst>
              <a:ext uri="{FF2B5EF4-FFF2-40B4-BE49-F238E27FC236}">
                <a16:creationId xmlns:a16="http://schemas.microsoft.com/office/drawing/2014/main" id="{49321564-E89B-4D6D-AB4A-8AD3BF0515D7}"/>
              </a:ext>
            </a:extLst>
          </p:cNvPr>
          <p:cNvSpPr>
            <a:spLocks noGrp="1"/>
          </p:cNvSpPr>
          <p:nvPr>
            <p:ph type="title"/>
          </p:nvPr>
        </p:nvSpPr>
        <p:spPr>
          <a:xfrm>
            <a:off x="550863" y="560388"/>
            <a:ext cx="11090275" cy="886397"/>
          </a:xfrm>
        </p:spPr>
        <p:txBody>
          <a:bodyPr vert="horz"/>
          <a:lstStyle/>
          <a:p>
            <a:r>
              <a:rPr lang="en-US" dirty="0"/>
              <a:t>We provide the Firm with Research support with a global coverage from three main research hubs</a:t>
            </a:r>
            <a:endParaRPr lang="en-IN" dirty="0"/>
          </a:p>
        </p:txBody>
      </p:sp>
      <p:sp>
        <p:nvSpPr>
          <p:cNvPr id="270" name="Rectangle 269">
            <a:extLst>
              <a:ext uri="{FF2B5EF4-FFF2-40B4-BE49-F238E27FC236}">
                <a16:creationId xmlns:a16="http://schemas.microsoft.com/office/drawing/2014/main" id="{95073A95-CB03-4007-BE11-2A6EA6AE957E}"/>
              </a:ext>
            </a:extLst>
          </p:cNvPr>
          <p:cNvSpPr/>
          <p:nvPr/>
        </p:nvSpPr>
        <p:spPr>
          <a:xfrm>
            <a:off x="550863" y="5701743"/>
            <a:ext cx="2022990"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Lege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sz="10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Research hu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       Native language research cove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02124"/>
                </a:solidFill>
                <a:effectLst/>
                <a:uLnTx/>
                <a:uFillTx/>
                <a:latin typeface="Calibri" panose="020F0502020204030204" pitchFamily="34" charset="0"/>
                <a:ea typeface="+mn-ea"/>
                <a:cs typeface="Calibri" panose="020F0502020204030204" pitchFamily="34" charset="0"/>
              </a:rPr>
              <a:t>       Research coverage in English</a:t>
            </a:r>
          </a:p>
        </p:txBody>
      </p:sp>
      <p:sp>
        <p:nvSpPr>
          <p:cNvPr id="271" name="Rectangle 270">
            <a:extLst>
              <a:ext uri="{FF2B5EF4-FFF2-40B4-BE49-F238E27FC236}">
                <a16:creationId xmlns:a16="http://schemas.microsoft.com/office/drawing/2014/main" id="{58FB24CB-D422-445A-9194-6E5CA730DC49}"/>
              </a:ext>
            </a:extLst>
          </p:cNvPr>
          <p:cNvSpPr/>
          <p:nvPr/>
        </p:nvSpPr>
        <p:spPr>
          <a:xfrm>
            <a:off x="550863" y="5893818"/>
            <a:ext cx="127697" cy="94571"/>
          </a:xfrm>
          <a:prstGeom prst="rect">
            <a:avLst/>
          </a:prstGeom>
          <a:solidFill>
            <a:srgbClr val="0F47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37" name="Rectangle 536">
            <a:extLst>
              <a:ext uri="{FF2B5EF4-FFF2-40B4-BE49-F238E27FC236}">
                <a16:creationId xmlns:a16="http://schemas.microsoft.com/office/drawing/2014/main" id="{3E80BEDE-6D1A-488F-896E-A7452B844E8E}"/>
              </a:ext>
            </a:extLst>
          </p:cNvPr>
          <p:cNvSpPr/>
          <p:nvPr/>
        </p:nvSpPr>
        <p:spPr>
          <a:xfrm>
            <a:off x="550863" y="6046125"/>
            <a:ext cx="127697" cy="9457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97" name="Rectangle 596">
            <a:extLst>
              <a:ext uri="{FF2B5EF4-FFF2-40B4-BE49-F238E27FC236}">
                <a16:creationId xmlns:a16="http://schemas.microsoft.com/office/drawing/2014/main" id="{DCF83391-020E-4AA5-83B2-5038D0316867}"/>
              </a:ext>
            </a:extLst>
          </p:cNvPr>
          <p:cNvSpPr/>
          <p:nvPr/>
        </p:nvSpPr>
        <p:spPr>
          <a:xfrm>
            <a:off x="550863" y="6198431"/>
            <a:ext cx="127697" cy="9457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Rectangle: Diagonal Corners Rounded 1">
            <a:extLst>
              <a:ext uri="{FF2B5EF4-FFF2-40B4-BE49-F238E27FC236}">
                <a16:creationId xmlns:a16="http://schemas.microsoft.com/office/drawing/2014/main" id="{E5604CD6-2347-AA31-AA63-2FAD4EB48EFC}"/>
              </a:ext>
            </a:extLst>
          </p:cNvPr>
          <p:cNvSpPr/>
          <p:nvPr/>
        </p:nvSpPr>
        <p:spPr>
          <a:xfrm>
            <a:off x="8954305" y="1875251"/>
            <a:ext cx="2686472" cy="4433474"/>
          </a:xfrm>
          <a:prstGeom prst="round2DiagRect">
            <a:avLst>
              <a:gd name="adj1" fmla="val 8158"/>
              <a:gd name="adj2" fmla="val 0"/>
            </a:avLst>
          </a:prstGeom>
          <a:gradFill>
            <a:gsLst>
              <a:gs pos="16000">
                <a:schemeClr val="tx2"/>
              </a:gs>
              <a:gs pos="79000">
                <a:schemeClr val="accent1"/>
              </a:gs>
            </a:gsLst>
            <a:lin ang="2700000" scaled="1"/>
          </a:gradFill>
          <a:ln w="9525">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marL="0" marR="0" lvl="0" indent="0" defTabSz="914400" rtl="0" eaLnBrk="1" fontAlgn="auto" latinLnBrk="0" hangingPunct="1">
              <a:lnSpc>
                <a:spcPct val="85000"/>
              </a:lnSpc>
              <a:spcBef>
                <a:spcPts val="30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Infomineo offers:</a:t>
            </a:r>
          </a:p>
          <a:p>
            <a:pPr marL="290513" marR="0" lvl="0" indent="-290513" defTabSz="914400" rtl="0" eaLnBrk="1" fontAlgn="auto" latinLnBrk="0" hangingPunct="1">
              <a:lnSpc>
                <a:spcPct val="85000"/>
              </a:lnSpc>
              <a:spcBef>
                <a:spcPts val="1000"/>
              </a:spcBef>
              <a:spcAft>
                <a:spcPts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chemeClr val="accent4">
                    <a:lumMod val="60000"/>
                    <a:lumOff val="40000"/>
                  </a:schemeClr>
                </a:solidFill>
                <a:effectLst/>
                <a:uLnTx/>
                <a:uFillTx/>
                <a:latin typeface="Calibri" panose="020F0502020204030204" pitchFamily="34" charset="0"/>
                <a:ea typeface="+mn-ea"/>
                <a:cs typeface="Calibri" panose="020F0502020204030204" pitchFamily="34" charset="0"/>
              </a:rPr>
              <a:t>17 hours</a:t>
            </a:r>
            <a:br>
              <a:rPr kumimoji="0" lang="en-US" sz="2000" b="1" i="0" u="none" strike="noStrike" kern="1200" cap="none" spc="0" normalizeH="0" baseline="0" noProof="0" dirty="0">
                <a:ln>
                  <a:noFill/>
                </a:ln>
                <a:solidFill>
                  <a:schemeClr val="accent4">
                    <a:lumMod val="60000"/>
                    <a:lumOff val="40000"/>
                  </a:schemeClr>
                </a:solidFill>
                <a:effectLst/>
                <a:uLnTx/>
                <a:uFillTx/>
                <a:latin typeface="Calibri" panose="020F0502020204030204" pitchFamily="34" charset="0"/>
                <a:ea typeface="+mn-ea"/>
                <a:cs typeface="Calibri" panose="020F0502020204030204" pitchFamily="34" charset="0"/>
              </a:rPr>
            </a:br>
            <a:r>
              <a:rPr kumimoji="0" lang="en-US" b="1"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coverage</a:t>
            </a:r>
            <a:r>
              <a:rPr lang="en-US" dirty="0">
                <a:solidFill>
                  <a:schemeClr val="bg1"/>
                </a:solidFill>
                <a:latin typeface="Calibri" panose="020F0502020204030204" pitchFamily="34" charset="0"/>
                <a:cs typeface="Calibri" panose="020F0502020204030204" pitchFamily="34" charset="0"/>
              </a:rPr>
              <a:t> </a:t>
            </a:r>
          </a:p>
          <a:p>
            <a:pPr marL="290513" marR="0" lvl="0" indent="-290513" defTabSz="914400" rtl="0" eaLnBrk="1" fontAlgn="auto" latinLnBrk="0" hangingPunct="1">
              <a:lnSpc>
                <a:spcPct val="85000"/>
              </a:lnSpc>
              <a:spcBef>
                <a:spcPts val="1000"/>
              </a:spcBef>
              <a:spcAft>
                <a:spcPts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chemeClr val="accent4">
                    <a:lumMod val="60000"/>
                    <a:lumOff val="40000"/>
                  </a:schemeClr>
                </a:solidFill>
                <a:effectLst/>
                <a:uLnTx/>
                <a:uFillTx/>
                <a:latin typeface="Calibri" panose="020F0502020204030204" pitchFamily="34" charset="0"/>
                <a:ea typeface="+mn-ea"/>
                <a:cs typeface="Calibri" panose="020F0502020204030204" pitchFamily="34" charset="0"/>
              </a:rPr>
              <a:t>6 days a week: </a:t>
            </a:r>
            <a:r>
              <a:rPr kumimoji="0" lang="en-US"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unday to Friday working week</a:t>
            </a:r>
          </a:p>
          <a:p>
            <a:pPr marL="290513" marR="0" lvl="0" indent="-290513" defTabSz="914400" rtl="0" eaLnBrk="1" fontAlgn="auto" latinLnBrk="0" hangingPunct="1">
              <a:lnSpc>
                <a:spcPct val="85000"/>
              </a:lnSpc>
              <a:spcBef>
                <a:spcPts val="1000"/>
              </a:spcBef>
              <a:spcAft>
                <a:spcPts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chemeClr val="accent4">
                    <a:lumMod val="60000"/>
                    <a:lumOff val="40000"/>
                  </a:schemeClr>
                </a:solidFill>
                <a:effectLst/>
                <a:uLnTx/>
                <a:uFillTx/>
                <a:latin typeface="Calibri" panose="020F0502020204030204" pitchFamily="34" charset="0"/>
                <a:ea typeface="+mn-ea"/>
                <a:cs typeface="Calibri" panose="020F0502020204030204" pitchFamily="34" charset="0"/>
              </a:rPr>
              <a:t>6 native languages: </a:t>
            </a:r>
            <a:r>
              <a:rPr kumimoji="0" lang="en-US"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English, Spanish, French, Arabic, Portuguese, Italian</a:t>
            </a:r>
            <a:endParaRPr kumimoji="0" lang="en-US"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111891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322731B-D3A8-456B-B394-4A9A77F50CAD}"/>
              </a:ext>
            </a:extLst>
          </p:cNvPr>
          <p:cNvGraphicFramePr>
            <a:graphicFrameLocks noChangeAspect="1"/>
          </p:cNvGraphicFramePr>
          <p:nvPr>
            <p:custDataLst>
              <p:tags r:id="rId1"/>
            </p:custDataLst>
            <p:extLst>
              <p:ext uri="{D42A27DB-BD31-4B8C-83A1-F6EECF244321}">
                <p14:modId xmlns:p14="http://schemas.microsoft.com/office/powerpoint/2010/main" val="471962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Object 18" hidden="1">
                        <a:extLst>
                          <a:ext uri="{FF2B5EF4-FFF2-40B4-BE49-F238E27FC236}">
                            <a16:creationId xmlns:a16="http://schemas.microsoft.com/office/drawing/2014/main" id="{D322731B-D3A8-456B-B394-4A9A77F50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508A584D-D69E-4AD3-A59C-7011CF8915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8" name="Title 17">
            <a:extLst>
              <a:ext uri="{FF2B5EF4-FFF2-40B4-BE49-F238E27FC236}">
                <a16:creationId xmlns:a16="http://schemas.microsoft.com/office/drawing/2014/main" id="{388EDEF1-5BC5-4F73-88C0-F4095016BA9B}"/>
              </a:ext>
            </a:extLst>
          </p:cNvPr>
          <p:cNvSpPr>
            <a:spLocks noGrp="1"/>
          </p:cNvSpPr>
          <p:nvPr>
            <p:ph type="title"/>
          </p:nvPr>
        </p:nvSpPr>
        <p:spPr>
          <a:xfrm>
            <a:off x="376385" y="3041202"/>
            <a:ext cx="3023598" cy="775597"/>
          </a:xfrm>
        </p:spPr>
        <p:txBody>
          <a:bodyPr vert="horz"/>
          <a:lstStyle/>
          <a:p>
            <a:r>
              <a:rPr lang="en-IN" sz="2800" kern="1200" dirty="0">
                <a:solidFill>
                  <a:schemeClr val="bg1"/>
                </a:solidFill>
                <a:latin typeface="Franklin Gothic Demi" panose="020B0703020102020204" pitchFamily="34" charset="0"/>
                <a:ea typeface="+mj-ea"/>
                <a:cs typeface="Calibri" panose="020F0502020204030204" pitchFamily="34" charset="0"/>
                <a:sym typeface="Open Sans"/>
              </a:rPr>
              <a:t>Working with Infomineo</a:t>
            </a:r>
            <a:r>
              <a:rPr lang="en-IN" sz="2800" b="1" dirty="0">
                <a:solidFill>
                  <a:schemeClr val="bg1"/>
                </a:solidFill>
                <a:latin typeface="Franklin Gothic Demi" panose="020B0703020102020204" pitchFamily="34" charset="0"/>
              </a:rPr>
              <a:t>….</a:t>
            </a:r>
          </a:p>
        </p:txBody>
      </p:sp>
      <p:sp>
        <p:nvSpPr>
          <p:cNvPr id="67" name="TextBox 66">
            <a:extLst>
              <a:ext uri="{FF2B5EF4-FFF2-40B4-BE49-F238E27FC236}">
                <a16:creationId xmlns:a16="http://schemas.microsoft.com/office/drawing/2014/main" id="{E4FC65E1-B630-48FB-8A45-E7F212DCF2FF}"/>
              </a:ext>
            </a:extLst>
          </p:cNvPr>
          <p:cNvSpPr txBox="1">
            <a:spLocks/>
          </p:cNvSpPr>
          <p:nvPr/>
        </p:nvSpPr>
        <p:spPr>
          <a:xfrm>
            <a:off x="5477718" y="1707832"/>
            <a:ext cx="4866250" cy="492443"/>
          </a:xfrm>
          <a:prstGeom prst="rect">
            <a:avLst/>
          </a:prstGeom>
          <a:solidFill>
            <a:schemeClr val="bg1"/>
          </a:solidFill>
        </p:spPr>
        <p:txBody>
          <a:bodyPr wrap="square" lIns="0" tIns="0" rIns="0" bIns="0" rtlCol="0" anchor="ctr">
            <a:spAutoFit/>
          </a:bodyPr>
          <a:lstStyle/>
          <a:p>
            <a:pPr algn="ctr"/>
            <a:r>
              <a:rPr lang="en-US" sz="3200" b="1" u="sng" dirty="0">
                <a:solidFill>
                  <a:schemeClr val="bg2"/>
                </a:solidFill>
                <a:latin typeface="Calibri" panose="020F0502020204030204" pitchFamily="34" charset="0"/>
                <a:cs typeface="Calibri" panose="020F0502020204030204" pitchFamily="34" charset="0"/>
              </a:rPr>
              <a:t>mckinsey@infomineo.com</a:t>
            </a:r>
          </a:p>
        </p:txBody>
      </p:sp>
      <p:sp>
        <p:nvSpPr>
          <p:cNvPr id="77" name="Lorem Ipsum is simply dummy text of the printing and typesetting industry.">
            <a:extLst>
              <a:ext uri="{FF2B5EF4-FFF2-40B4-BE49-F238E27FC236}">
                <a16:creationId xmlns:a16="http://schemas.microsoft.com/office/drawing/2014/main" id="{1B6DA92A-18CF-4264-8405-84B32D2EFEAB}"/>
              </a:ext>
            </a:extLst>
          </p:cNvPr>
          <p:cNvSpPr>
            <a:spLocks/>
          </p:cNvSpPr>
          <p:nvPr/>
        </p:nvSpPr>
        <p:spPr>
          <a:xfrm>
            <a:off x="4555834" y="517278"/>
            <a:ext cx="7051447" cy="77559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solidFill>
            <a:schemeClr val="bg2"/>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l">
              <a:defRPr sz="2500" b="0">
                <a:solidFill>
                  <a:srgbClr val="9FA09E"/>
                </a:solidFill>
                <a:latin typeface="Barlow Medium"/>
                <a:ea typeface="Barlow Medium"/>
                <a:cs typeface="Barlow Medium"/>
                <a:sym typeface="Barlow Medium"/>
              </a:defRPr>
            </a:lvl1pPr>
          </a:lstStyle>
          <a:p>
            <a:pPr algn="ctr">
              <a:lnSpc>
                <a:spcPct val="90000"/>
              </a:lnSpc>
              <a:buClr>
                <a:schemeClr val="dk2"/>
              </a:buClr>
              <a:buSzPts val="3200"/>
            </a:pPr>
            <a:r>
              <a:rPr lang="en-US" sz="2800" dirty="0">
                <a:solidFill>
                  <a:schemeClr val="bg2"/>
                </a:solidFill>
                <a:latin typeface="Franklin Gothic Demi" panose="020B0703020102020204" pitchFamily="34" charset="0"/>
                <a:ea typeface="+mj-ea"/>
                <a:cs typeface="Calibri" panose="020F0502020204030204" pitchFamily="34" charset="0"/>
                <a:sym typeface="Franklin Gothic"/>
              </a:rPr>
              <a:t>For </a:t>
            </a:r>
            <a:r>
              <a:rPr lang="en-US" sz="2800" u="sng" dirty="0">
                <a:solidFill>
                  <a:schemeClr val="bg2"/>
                </a:solidFill>
                <a:latin typeface="Franklin Gothic Demi" panose="020B0703020102020204" pitchFamily="34" charset="0"/>
                <a:ea typeface="+mj-ea"/>
                <a:cs typeface="Calibri" panose="020F0502020204030204" pitchFamily="34" charset="0"/>
                <a:sym typeface="Franklin Gothic"/>
              </a:rPr>
              <a:t>Research support</a:t>
            </a:r>
            <a:r>
              <a:rPr lang="en-US" sz="2800" dirty="0">
                <a:solidFill>
                  <a:schemeClr val="bg2"/>
                </a:solidFill>
                <a:latin typeface="Franklin Gothic Demi" panose="020B0703020102020204" pitchFamily="34" charset="0"/>
                <a:ea typeface="+mj-ea"/>
                <a:cs typeface="Calibri" panose="020F0502020204030204" pitchFamily="34" charset="0"/>
                <a:sym typeface="Franklin Gothic"/>
              </a:rPr>
              <a:t>, feel free to reach out through our McK-dedicated email address  </a:t>
            </a:r>
          </a:p>
        </p:txBody>
      </p:sp>
      <p:pic>
        <p:nvPicPr>
          <p:cNvPr id="82" name="Picture 81">
            <a:extLst>
              <a:ext uri="{FF2B5EF4-FFF2-40B4-BE49-F238E27FC236}">
                <a16:creationId xmlns:a16="http://schemas.microsoft.com/office/drawing/2014/main" id="{185530E3-E1E9-48C0-8126-D77C20CD9DE8}"/>
              </a:ext>
            </a:extLst>
          </p:cNvPr>
          <p:cNvPicPr>
            <a:picLocks/>
          </p:cNvPicPr>
          <p:nvPr/>
        </p:nvPicPr>
        <p:blipFill>
          <a:blip r:embed="rId6" cstate="hqprint">
            <a:extLst>
              <a:ext uri="{28A0092B-C50C-407E-A947-70E740481C1C}">
                <a14:useLocalDpi xmlns:a14="http://schemas.microsoft.com/office/drawing/2010/main"/>
              </a:ext>
            </a:extLst>
          </a:blip>
          <a:srcRect/>
          <a:stretch/>
        </p:blipFill>
        <p:spPr>
          <a:xfrm>
            <a:off x="5057435" y="3023827"/>
            <a:ext cx="1636810" cy="1636810"/>
          </a:xfrm>
          <a:prstGeom prst="ellipse">
            <a:avLst/>
          </a:prstGeom>
          <a:solidFill>
            <a:srgbClr val="FFFFFF">
              <a:shade val="85000"/>
            </a:srgbClr>
          </a:solidFill>
          <a:ln>
            <a:noFill/>
          </a:ln>
          <a:effectLst>
            <a:outerShdw blurRad="63500" sx="102000" sy="102000" algn="ctr" rotWithShape="0">
              <a:prstClr val="black">
                <a:alpha val="40000"/>
              </a:prstClr>
            </a:outerShdw>
          </a:effectLst>
        </p:spPr>
      </p:pic>
      <p:pic>
        <p:nvPicPr>
          <p:cNvPr id="84" name="Picture 83">
            <a:extLst>
              <a:ext uri="{FF2B5EF4-FFF2-40B4-BE49-F238E27FC236}">
                <a16:creationId xmlns:a16="http://schemas.microsoft.com/office/drawing/2014/main" id="{A46A4635-4482-46F2-9A54-E410BF6FF581}"/>
              </a:ext>
            </a:extLst>
          </p:cNvPr>
          <p:cNvPicPr>
            <a:picLocks/>
          </p:cNvPicPr>
          <p:nvPr/>
        </p:nvPicPr>
        <p:blipFill>
          <a:blip r:embed="rId7" cstate="hq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a:ext>
            </a:extLst>
          </a:blip>
          <a:srcRect/>
          <a:stretch/>
        </p:blipFill>
        <p:spPr>
          <a:xfrm>
            <a:off x="9127440" y="3023827"/>
            <a:ext cx="1637788" cy="1637788"/>
          </a:xfrm>
          <a:prstGeom prst="ellipse">
            <a:avLst/>
          </a:prstGeom>
          <a:solidFill>
            <a:srgbClr val="FFFFFF">
              <a:shade val="85000"/>
            </a:srgbClr>
          </a:solidFill>
          <a:ln>
            <a:noFill/>
          </a:ln>
          <a:effectLst>
            <a:outerShdw blurRad="63500" sx="102000" sy="102000" algn="ctr" rotWithShape="0">
              <a:prstClr val="black">
                <a:alpha val="40000"/>
              </a:prstClr>
            </a:outerShdw>
          </a:effectLst>
        </p:spPr>
      </p:pic>
      <p:sp>
        <p:nvSpPr>
          <p:cNvPr id="79" name="Rectangle 78">
            <a:extLst>
              <a:ext uri="{FF2B5EF4-FFF2-40B4-BE49-F238E27FC236}">
                <a16:creationId xmlns:a16="http://schemas.microsoft.com/office/drawing/2014/main" id="{6A3B7DC1-03B3-47AB-9C4E-34ECA4EE7FF4}"/>
              </a:ext>
            </a:extLst>
          </p:cNvPr>
          <p:cNvSpPr>
            <a:spLocks/>
          </p:cNvSpPr>
          <p:nvPr/>
        </p:nvSpPr>
        <p:spPr>
          <a:xfrm>
            <a:off x="3942998" y="4784987"/>
            <a:ext cx="3865684" cy="101566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sym typeface="Arial"/>
              </a:rPr>
              <a:t>Fatou Ndiay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Arial"/>
              </a:rPr>
              <a:t>Sr Research Manager –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err="1">
                <a:ln>
                  <a:noFill/>
                </a:ln>
                <a:effectLst/>
                <a:uLnTx/>
                <a:uFillTx/>
                <a:latin typeface="Calibri" panose="020F0502020204030204" pitchFamily="34" charset="0"/>
                <a:cs typeface="Calibri" panose="020F0502020204030204" pitchFamily="34" charset="0"/>
                <a:sym typeface="Arial"/>
              </a:rPr>
              <a:t>McK</a:t>
            </a:r>
            <a:r>
              <a:rPr kumimoji="0" lang="en-US" sz="16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Arial"/>
              </a:rPr>
              <a:t>-dedicated team</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kern="0" dirty="0">
                <a:latin typeface="Calibri" panose="020F0502020204030204" pitchFamily="34" charset="0"/>
                <a:cs typeface="Calibri" panose="020F0502020204030204" pitchFamily="34" charset="0"/>
                <a:sym typeface="Arial"/>
              </a:rPr>
              <a:t>Client relationship, content development</a:t>
            </a:r>
            <a:r>
              <a:rPr kumimoji="0" lang="en-US" sz="16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Arial"/>
              </a:rPr>
              <a:t> </a:t>
            </a:r>
          </a:p>
        </p:txBody>
      </p:sp>
      <p:sp>
        <p:nvSpPr>
          <p:cNvPr id="80" name="Rectangle 79">
            <a:extLst>
              <a:ext uri="{FF2B5EF4-FFF2-40B4-BE49-F238E27FC236}">
                <a16:creationId xmlns:a16="http://schemas.microsoft.com/office/drawing/2014/main" id="{FBEC6501-BCE7-4F0D-A2A5-46F705899323}"/>
              </a:ext>
            </a:extLst>
          </p:cNvPr>
          <p:cNvSpPr>
            <a:spLocks/>
          </p:cNvSpPr>
          <p:nvPr/>
        </p:nvSpPr>
        <p:spPr>
          <a:xfrm>
            <a:off x="8013492" y="4785891"/>
            <a:ext cx="3865684" cy="101566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sym typeface="Arial"/>
              </a:rPr>
              <a:t>Taha Akhanchouf</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Arial"/>
              </a:rPr>
              <a:t>Research Manager –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err="1">
                <a:ln>
                  <a:noFill/>
                </a:ln>
                <a:effectLst/>
                <a:uLnTx/>
                <a:uFillTx/>
                <a:latin typeface="Calibri" panose="020F0502020204030204" pitchFamily="34" charset="0"/>
                <a:cs typeface="Calibri" panose="020F0502020204030204" pitchFamily="34" charset="0"/>
                <a:sym typeface="Arial"/>
              </a:rPr>
              <a:t>McK</a:t>
            </a:r>
            <a:r>
              <a:rPr kumimoji="0" lang="en-US" sz="16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Arial"/>
              </a:rPr>
              <a:t> dedicated team</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kern="0" dirty="0">
                <a:latin typeface="Calibri" panose="020F0502020204030204" pitchFamily="34" charset="0"/>
                <a:cs typeface="Calibri" panose="020F0502020204030204" pitchFamily="34" charset="0"/>
                <a:sym typeface="Arial"/>
              </a:rPr>
              <a:t>Staffing management</a:t>
            </a:r>
            <a:r>
              <a:rPr kumimoji="0" lang="en-US" sz="16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Arial"/>
              </a:rPr>
              <a:t> </a:t>
            </a:r>
          </a:p>
        </p:txBody>
      </p:sp>
      <p:sp>
        <p:nvSpPr>
          <p:cNvPr id="3" name="TextBox 2">
            <a:extLst>
              <a:ext uri="{FF2B5EF4-FFF2-40B4-BE49-F238E27FC236}">
                <a16:creationId xmlns:a16="http://schemas.microsoft.com/office/drawing/2014/main" id="{635D37B5-7476-48AE-B384-AA6E5951978B}"/>
              </a:ext>
            </a:extLst>
          </p:cNvPr>
          <p:cNvSpPr txBox="1">
            <a:spLocks/>
          </p:cNvSpPr>
          <p:nvPr/>
        </p:nvSpPr>
        <p:spPr>
          <a:xfrm>
            <a:off x="3942998" y="5914175"/>
            <a:ext cx="3865684" cy="276999"/>
          </a:xfrm>
          <a:prstGeom prst="rect">
            <a:avLst/>
          </a:prstGeom>
          <a:noFill/>
        </p:spPr>
        <p:txBody>
          <a:bodyPr wrap="square" lIns="0" tIns="0" rIns="0" bIns="0" rtlCol="0">
            <a:spAutoFit/>
          </a:bodyPr>
          <a:lstStyle/>
          <a:p>
            <a:pPr algn="ctr"/>
            <a:r>
              <a:rPr lang="en-US" dirty="0">
                <a:solidFill>
                  <a:schemeClr val="bg2"/>
                </a:solidFill>
                <a:latin typeface="Franklin Gothic"/>
              </a:rPr>
              <a:t>fatou.ndiaye@infomineo.com </a:t>
            </a:r>
          </a:p>
        </p:txBody>
      </p:sp>
      <p:sp>
        <p:nvSpPr>
          <p:cNvPr id="20" name="TextBox 19">
            <a:extLst>
              <a:ext uri="{FF2B5EF4-FFF2-40B4-BE49-F238E27FC236}">
                <a16:creationId xmlns:a16="http://schemas.microsoft.com/office/drawing/2014/main" id="{DB974F0D-B178-4747-846D-B294A9058635}"/>
              </a:ext>
            </a:extLst>
          </p:cNvPr>
          <p:cNvSpPr txBox="1">
            <a:spLocks/>
          </p:cNvSpPr>
          <p:nvPr/>
        </p:nvSpPr>
        <p:spPr>
          <a:xfrm>
            <a:off x="8013492" y="5915079"/>
            <a:ext cx="3865684" cy="276999"/>
          </a:xfrm>
          <a:prstGeom prst="rect">
            <a:avLst/>
          </a:prstGeom>
          <a:noFill/>
        </p:spPr>
        <p:txBody>
          <a:bodyPr wrap="square" lIns="0" tIns="0" rIns="0" bIns="0" rtlCol="0">
            <a:spAutoFit/>
          </a:bodyPr>
          <a:lstStyle/>
          <a:p>
            <a:pPr algn="ctr"/>
            <a:r>
              <a:rPr lang="en-US" dirty="0">
                <a:solidFill>
                  <a:schemeClr val="bg2"/>
                </a:solidFill>
                <a:latin typeface="Franklin Gothic"/>
              </a:rPr>
              <a:t>taha.akhanchouf@infomineo.com</a:t>
            </a:r>
          </a:p>
        </p:txBody>
      </p:sp>
      <p:grpSp>
        <p:nvGrpSpPr>
          <p:cNvPr id="33" name="Group 32">
            <a:extLst>
              <a:ext uri="{FF2B5EF4-FFF2-40B4-BE49-F238E27FC236}">
                <a16:creationId xmlns:a16="http://schemas.microsoft.com/office/drawing/2014/main" id="{139B7CA2-DB61-B2FF-94A0-07A29C7F886D}"/>
              </a:ext>
            </a:extLst>
          </p:cNvPr>
          <p:cNvGrpSpPr/>
          <p:nvPr/>
        </p:nvGrpSpPr>
        <p:grpSpPr>
          <a:xfrm>
            <a:off x="5875840" y="2200274"/>
            <a:ext cx="4070493" cy="823553"/>
            <a:chOff x="5829398" y="2844015"/>
            <a:chExt cx="4070493" cy="2317149"/>
          </a:xfrm>
        </p:grpSpPr>
        <p:cxnSp>
          <p:nvCxnSpPr>
            <p:cNvPr id="22" name="Straight Connector 23">
              <a:extLst>
                <a:ext uri="{FF2B5EF4-FFF2-40B4-BE49-F238E27FC236}">
                  <a16:creationId xmlns:a16="http://schemas.microsoft.com/office/drawing/2014/main" id="{83072AF9-5B27-9DFC-27CE-6DE6F64F033C}"/>
                </a:ext>
              </a:extLst>
            </p:cNvPr>
            <p:cNvCxnSpPr>
              <a:cxnSpLocks/>
              <a:stCxn id="67" idx="2"/>
              <a:endCxn id="84" idx="0"/>
            </p:cNvCxnSpPr>
            <p:nvPr/>
          </p:nvCxnSpPr>
          <p:spPr>
            <a:xfrm rot="16200000" flipH="1">
              <a:off x="7723573" y="2984842"/>
              <a:ext cx="2317145" cy="2035491"/>
            </a:xfrm>
            <a:prstGeom prst="bentConnector3">
              <a:avLst>
                <a:gd name="adj1" fmla="val 50000"/>
              </a:avLst>
            </a:prstGeom>
            <a:ln w="15875">
              <a:solidFill>
                <a:schemeClr val="bg2"/>
              </a:solidFill>
              <a:tailEnd type="diamond"/>
            </a:ln>
          </p:spPr>
          <p:style>
            <a:lnRef idx="1">
              <a:schemeClr val="accent1"/>
            </a:lnRef>
            <a:fillRef idx="0">
              <a:schemeClr val="accent1"/>
            </a:fillRef>
            <a:effectRef idx="0">
              <a:schemeClr val="accent1"/>
            </a:effectRef>
            <a:fontRef idx="minor">
              <a:schemeClr val="tx1"/>
            </a:fontRef>
          </p:style>
        </p:cxnSp>
        <p:cxnSp>
          <p:nvCxnSpPr>
            <p:cNvPr id="27" name="Straight Connector 23">
              <a:extLst>
                <a:ext uri="{FF2B5EF4-FFF2-40B4-BE49-F238E27FC236}">
                  <a16:creationId xmlns:a16="http://schemas.microsoft.com/office/drawing/2014/main" id="{ACBDEA84-4253-0D15-9442-825CEFF38D5D}"/>
                </a:ext>
              </a:extLst>
            </p:cNvPr>
            <p:cNvCxnSpPr>
              <a:cxnSpLocks/>
              <a:stCxn id="67" idx="2"/>
              <a:endCxn id="82" idx="0"/>
            </p:cNvCxnSpPr>
            <p:nvPr/>
          </p:nvCxnSpPr>
          <p:spPr>
            <a:xfrm rot="5400000">
              <a:off x="5688327" y="2985089"/>
              <a:ext cx="2317146" cy="2035003"/>
            </a:xfrm>
            <a:prstGeom prst="bentConnector3">
              <a:avLst>
                <a:gd name="adj1" fmla="val 50000"/>
              </a:avLst>
            </a:prstGeom>
            <a:ln w="15875">
              <a:solidFill>
                <a:schemeClr val="bg2"/>
              </a:solidFill>
              <a:tailEnd type="diamo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673234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322731B-D3A8-456B-B394-4A9A77F50C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Object 18" hidden="1">
                        <a:extLst>
                          <a:ext uri="{FF2B5EF4-FFF2-40B4-BE49-F238E27FC236}">
                            <a16:creationId xmlns:a16="http://schemas.microsoft.com/office/drawing/2014/main" id="{D322731B-D3A8-456B-B394-4A9A77F50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508A584D-D69E-4AD3-A59C-7011CF8915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8" name="Title 17">
            <a:extLst>
              <a:ext uri="{FF2B5EF4-FFF2-40B4-BE49-F238E27FC236}">
                <a16:creationId xmlns:a16="http://schemas.microsoft.com/office/drawing/2014/main" id="{388EDEF1-5BC5-4F73-88C0-F4095016BA9B}"/>
              </a:ext>
            </a:extLst>
          </p:cNvPr>
          <p:cNvSpPr>
            <a:spLocks noGrp="1"/>
          </p:cNvSpPr>
          <p:nvPr>
            <p:ph type="title"/>
          </p:nvPr>
        </p:nvSpPr>
        <p:spPr>
          <a:xfrm>
            <a:off x="376385" y="3041202"/>
            <a:ext cx="3023598" cy="775597"/>
          </a:xfrm>
        </p:spPr>
        <p:txBody>
          <a:bodyPr vert="horz"/>
          <a:lstStyle/>
          <a:p>
            <a:r>
              <a:rPr lang="en-IN" sz="2800" kern="1200" dirty="0">
                <a:solidFill>
                  <a:schemeClr val="bg1"/>
                </a:solidFill>
                <a:latin typeface="Franklin Gothic Demi" panose="020B0703020102020204" pitchFamily="34" charset="0"/>
                <a:ea typeface="+mj-ea"/>
                <a:cs typeface="Calibri" panose="020F0502020204030204" pitchFamily="34" charset="0"/>
                <a:sym typeface="Open Sans"/>
              </a:rPr>
              <a:t>Working with Infomineo</a:t>
            </a:r>
            <a:r>
              <a:rPr lang="en-IN" sz="2800" b="1" dirty="0">
                <a:solidFill>
                  <a:schemeClr val="bg1"/>
                </a:solidFill>
                <a:latin typeface="Franklin Gothic Demi" panose="020B0703020102020204" pitchFamily="34" charset="0"/>
              </a:rPr>
              <a:t>….</a:t>
            </a:r>
          </a:p>
        </p:txBody>
      </p:sp>
      <p:sp>
        <p:nvSpPr>
          <p:cNvPr id="77" name="Lorem Ipsum is simply dummy text of the printing and typesetting industry.">
            <a:extLst>
              <a:ext uri="{FF2B5EF4-FFF2-40B4-BE49-F238E27FC236}">
                <a16:creationId xmlns:a16="http://schemas.microsoft.com/office/drawing/2014/main" id="{1B6DA92A-18CF-4264-8405-84B32D2EFEAB}"/>
              </a:ext>
            </a:extLst>
          </p:cNvPr>
          <p:cNvSpPr>
            <a:spLocks/>
          </p:cNvSpPr>
          <p:nvPr/>
        </p:nvSpPr>
        <p:spPr>
          <a:xfrm>
            <a:off x="4555834" y="517278"/>
            <a:ext cx="7051447" cy="77559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solidFill>
            <a:schemeClr val="bg2"/>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l">
              <a:defRPr sz="2500" b="0">
                <a:solidFill>
                  <a:srgbClr val="9FA09E"/>
                </a:solidFill>
                <a:latin typeface="Barlow Medium"/>
                <a:ea typeface="Barlow Medium"/>
                <a:cs typeface="Barlow Medium"/>
                <a:sym typeface="Barlow Medium"/>
              </a:defRPr>
            </a:lvl1pPr>
          </a:lstStyle>
          <a:p>
            <a:pPr algn="ctr">
              <a:lnSpc>
                <a:spcPct val="90000"/>
              </a:lnSpc>
              <a:buClr>
                <a:schemeClr val="dk2"/>
              </a:buClr>
              <a:buSzPts val="3200"/>
            </a:pPr>
            <a:r>
              <a:rPr lang="en-US" sz="2800" dirty="0">
                <a:solidFill>
                  <a:schemeClr val="bg2"/>
                </a:solidFill>
                <a:latin typeface="Franklin Gothic Demi" panose="020B0703020102020204" pitchFamily="34" charset="0"/>
                <a:ea typeface="+mj-ea"/>
                <a:cs typeface="Calibri" panose="020F0502020204030204" pitchFamily="34" charset="0"/>
                <a:sym typeface="Franklin Gothic"/>
              </a:rPr>
              <a:t>For </a:t>
            </a:r>
            <a:r>
              <a:rPr lang="en-US" sz="2800" u="sng" dirty="0">
                <a:solidFill>
                  <a:schemeClr val="bg2"/>
                </a:solidFill>
                <a:latin typeface="Franklin Gothic Demi" panose="020B0703020102020204" pitchFamily="34" charset="0"/>
                <a:ea typeface="+mj-ea"/>
                <a:cs typeface="Calibri" panose="020F0502020204030204" pitchFamily="34" charset="0"/>
                <a:sym typeface="Franklin Gothic"/>
              </a:rPr>
              <a:t>Data Analytics support</a:t>
            </a:r>
            <a:r>
              <a:rPr lang="en-US" sz="2800" dirty="0">
                <a:solidFill>
                  <a:schemeClr val="bg2"/>
                </a:solidFill>
                <a:latin typeface="Franklin Gothic Demi" panose="020B0703020102020204" pitchFamily="34" charset="0"/>
                <a:ea typeface="+mj-ea"/>
                <a:cs typeface="Calibri" panose="020F0502020204030204" pitchFamily="34" charset="0"/>
                <a:sym typeface="Franklin Gothic"/>
              </a:rPr>
              <a:t>, feel free to reach out to…</a:t>
            </a:r>
          </a:p>
        </p:txBody>
      </p:sp>
      <p:sp>
        <p:nvSpPr>
          <p:cNvPr id="79" name="Rectangle 78">
            <a:extLst>
              <a:ext uri="{FF2B5EF4-FFF2-40B4-BE49-F238E27FC236}">
                <a16:creationId xmlns:a16="http://schemas.microsoft.com/office/drawing/2014/main" id="{6A3B7DC1-03B3-47AB-9C4E-34ECA4EE7FF4}"/>
              </a:ext>
            </a:extLst>
          </p:cNvPr>
          <p:cNvSpPr>
            <a:spLocks/>
          </p:cNvSpPr>
          <p:nvPr/>
        </p:nvSpPr>
        <p:spPr>
          <a:xfrm>
            <a:off x="3942998" y="4784987"/>
            <a:ext cx="3865684" cy="523220"/>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err="1">
                <a:ln>
                  <a:noFill/>
                </a:ln>
                <a:solidFill>
                  <a:schemeClr val="bg2"/>
                </a:solidFill>
                <a:effectLst/>
                <a:uLnTx/>
                <a:uFillTx/>
                <a:latin typeface="Calibri" panose="020F0502020204030204" pitchFamily="34" charset="0"/>
                <a:cs typeface="Calibri" panose="020F0502020204030204" pitchFamily="34" charset="0"/>
                <a:sym typeface="Arial"/>
              </a:rPr>
              <a:t>Hadia</a:t>
            </a:r>
            <a:r>
              <a:rPr kumimoji="0" lang="en-US" b="1" i="0" u="none" strike="noStrike" kern="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sym typeface="Arial"/>
              </a:rPr>
              <a:t> </a:t>
            </a:r>
            <a:r>
              <a:rPr kumimoji="0" lang="en-US" b="1" i="0" u="none" strike="noStrike" kern="0" cap="none" spc="0" normalizeH="0" baseline="0" noProof="0" dirty="0" err="1">
                <a:ln>
                  <a:noFill/>
                </a:ln>
                <a:solidFill>
                  <a:schemeClr val="bg2"/>
                </a:solidFill>
                <a:effectLst/>
                <a:uLnTx/>
                <a:uFillTx/>
                <a:latin typeface="Calibri" panose="020F0502020204030204" pitchFamily="34" charset="0"/>
                <a:cs typeface="Calibri" panose="020F0502020204030204" pitchFamily="34" charset="0"/>
                <a:sym typeface="Arial"/>
              </a:rPr>
              <a:t>Ibnabdeljalil</a:t>
            </a:r>
            <a:endParaRPr kumimoji="0" lang="en-US" b="1" i="0" u="none" strike="noStrike" kern="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Arial"/>
              </a:rPr>
              <a:t>Head of Data Analytics Services</a:t>
            </a:r>
          </a:p>
        </p:txBody>
      </p:sp>
      <p:sp>
        <p:nvSpPr>
          <p:cNvPr id="80" name="Rectangle 79">
            <a:extLst>
              <a:ext uri="{FF2B5EF4-FFF2-40B4-BE49-F238E27FC236}">
                <a16:creationId xmlns:a16="http://schemas.microsoft.com/office/drawing/2014/main" id="{FBEC6501-BCE7-4F0D-A2A5-46F705899323}"/>
              </a:ext>
            </a:extLst>
          </p:cNvPr>
          <p:cNvSpPr>
            <a:spLocks/>
          </p:cNvSpPr>
          <p:nvPr/>
        </p:nvSpPr>
        <p:spPr>
          <a:xfrm>
            <a:off x="8013492" y="4785891"/>
            <a:ext cx="3865684" cy="76944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sym typeface="Arial"/>
              </a:rPr>
              <a:t>Hamza </a:t>
            </a:r>
            <a:r>
              <a:rPr kumimoji="0" lang="en-US" b="1" i="0" u="none" strike="noStrike" kern="0" cap="none" spc="0" normalizeH="0" baseline="0" noProof="0" dirty="0" err="1">
                <a:ln>
                  <a:noFill/>
                </a:ln>
                <a:solidFill>
                  <a:schemeClr val="bg2"/>
                </a:solidFill>
                <a:effectLst/>
                <a:uLnTx/>
                <a:uFillTx/>
                <a:latin typeface="Calibri" panose="020F0502020204030204" pitchFamily="34" charset="0"/>
                <a:cs typeface="Calibri" panose="020F0502020204030204" pitchFamily="34" charset="0"/>
                <a:sym typeface="Arial"/>
              </a:rPr>
              <a:t>Laraichi</a:t>
            </a:r>
            <a:endParaRPr kumimoji="0" lang="en-US" b="1" i="0" u="none" strike="noStrike" kern="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Arial"/>
              </a:rPr>
              <a:t>Primary-contact for contract discussions with The Firm </a:t>
            </a:r>
          </a:p>
        </p:txBody>
      </p:sp>
      <p:sp>
        <p:nvSpPr>
          <p:cNvPr id="3" name="TextBox 2">
            <a:extLst>
              <a:ext uri="{FF2B5EF4-FFF2-40B4-BE49-F238E27FC236}">
                <a16:creationId xmlns:a16="http://schemas.microsoft.com/office/drawing/2014/main" id="{635D37B5-7476-48AE-B384-AA6E5951978B}"/>
              </a:ext>
            </a:extLst>
          </p:cNvPr>
          <p:cNvSpPr txBox="1">
            <a:spLocks/>
          </p:cNvSpPr>
          <p:nvPr/>
        </p:nvSpPr>
        <p:spPr>
          <a:xfrm>
            <a:off x="3942998" y="5914175"/>
            <a:ext cx="3865684" cy="276999"/>
          </a:xfrm>
          <a:prstGeom prst="rect">
            <a:avLst/>
          </a:prstGeom>
          <a:noFill/>
        </p:spPr>
        <p:txBody>
          <a:bodyPr wrap="square" lIns="0" tIns="0" rIns="0" bIns="0" rtlCol="0">
            <a:spAutoFit/>
          </a:bodyPr>
          <a:lstStyle/>
          <a:p>
            <a:pPr algn="ctr"/>
            <a:r>
              <a:rPr lang="en-US" dirty="0">
                <a:solidFill>
                  <a:schemeClr val="bg2"/>
                </a:solidFill>
                <a:latin typeface="Franklin Gothic"/>
              </a:rPr>
              <a:t>hadia.ibnabdeljalil@infomineo.com </a:t>
            </a:r>
          </a:p>
        </p:txBody>
      </p:sp>
      <p:sp>
        <p:nvSpPr>
          <p:cNvPr id="20" name="TextBox 19">
            <a:extLst>
              <a:ext uri="{FF2B5EF4-FFF2-40B4-BE49-F238E27FC236}">
                <a16:creationId xmlns:a16="http://schemas.microsoft.com/office/drawing/2014/main" id="{DB974F0D-B178-4747-846D-B294A9058635}"/>
              </a:ext>
            </a:extLst>
          </p:cNvPr>
          <p:cNvSpPr txBox="1">
            <a:spLocks/>
          </p:cNvSpPr>
          <p:nvPr/>
        </p:nvSpPr>
        <p:spPr>
          <a:xfrm>
            <a:off x="8218766" y="5914174"/>
            <a:ext cx="3865684" cy="276999"/>
          </a:xfrm>
          <a:prstGeom prst="rect">
            <a:avLst/>
          </a:prstGeom>
          <a:noFill/>
        </p:spPr>
        <p:txBody>
          <a:bodyPr wrap="square" lIns="0" tIns="0" rIns="0" bIns="0" rtlCol="0">
            <a:spAutoFit/>
          </a:bodyPr>
          <a:lstStyle/>
          <a:p>
            <a:pPr algn="ctr"/>
            <a:r>
              <a:rPr lang="en-US" dirty="0">
                <a:solidFill>
                  <a:schemeClr val="bg2"/>
                </a:solidFill>
                <a:latin typeface="Franklin Gothic"/>
              </a:rPr>
              <a:t>hamza.laraichi@infomineo.com</a:t>
            </a:r>
          </a:p>
        </p:txBody>
      </p:sp>
      <p:grpSp>
        <p:nvGrpSpPr>
          <p:cNvPr id="33" name="Group 32">
            <a:extLst>
              <a:ext uri="{FF2B5EF4-FFF2-40B4-BE49-F238E27FC236}">
                <a16:creationId xmlns:a16="http://schemas.microsoft.com/office/drawing/2014/main" id="{139B7CA2-DB61-B2FF-94A0-07A29C7F886D}"/>
              </a:ext>
            </a:extLst>
          </p:cNvPr>
          <p:cNvGrpSpPr/>
          <p:nvPr/>
        </p:nvGrpSpPr>
        <p:grpSpPr>
          <a:xfrm>
            <a:off x="5875840" y="2200274"/>
            <a:ext cx="4070493" cy="823553"/>
            <a:chOff x="5829398" y="2844015"/>
            <a:chExt cx="4070493" cy="2317149"/>
          </a:xfrm>
        </p:grpSpPr>
        <p:cxnSp>
          <p:nvCxnSpPr>
            <p:cNvPr id="22" name="Straight Connector 23">
              <a:extLst>
                <a:ext uri="{FF2B5EF4-FFF2-40B4-BE49-F238E27FC236}">
                  <a16:creationId xmlns:a16="http://schemas.microsoft.com/office/drawing/2014/main" id="{83072AF9-5B27-9DFC-27CE-6DE6F64F033C}"/>
                </a:ext>
              </a:extLst>
            </p:cNvPr>
            <p:cNvCxnSpPr>
              <a:cxnSpLocks/>
            </p:cNvCxnSpPr>
            <p:nvPr/>
          </p:nvCxnSpPr>
          <p:spPr>
            <a:xfrm rot="16200000" flipH="1">
              <a:off x="7723573" y="2984842"/>
              <a:ext cx="2317145" cy="2035491"/>
            </a:xfrm>
            <a:prstGeom prst="bentConnector3">
              <a:avLst>
                <a:gd name="adj1" fmla="val 50000"/>
              </a:avLst>
            </a:prstGeom>
            <a:ln w="15875">
              <a:solidFill>
                <a:schemeClr val="bg2"/>
              </a:solidFill>
              <a:tailEnd type="diamond"/>
            </a:ln>
          </p:spPr>
          <p:style>
            <a:lnRef idx="1">
              <a:schemeClr val="accent1"/>
            </a:lnRef>
            <a:fillRef idx="0">
              <a:schemeClr val="accent1"/>
            </a:fillRef>
            <a:effectRef idx="0">
              <a:schemeClr val="accent1"/>
            </a:effectRef>
            <a:fontRef idx="minor">
              <a:schemeClr val="tx1"/>
            </a:fontRef>
          </p:style>
        </p:cxnSp>
        <p:cxnSp>
          <p:nvCxnSpPr>
            <p:cNvPr id="27" name="Straight Connector 23">
              <a:extLst>
                <a:ext uri="{FF2B5EF4-FFF2-40B4-BE49-F238E27FC236}">
                  <a16:creationId xmlns:a16="http://schemas.microsoft.com/office/drawing/2014/main" id="{ACBDEA84-4253-0D15-9442-825CEFF38D5D}"/>
                </a:ext>
              </a:extLst>
            </p:cNvPr>
            <p:cNvCxnSpPr>
              <a:cxnSpLocks/>
            </p:cNvCxnSpPr>
            <p:nvPr/>
          </p:nvCxnSpPr>
          <p:spPr>
            <a:xfrm rot="5400000">
              <a:off x="5688327" y="2985089"/>
              <a:ext cx="2317146" cy="2035003"/>
            </a:xfrm>
            <a:prstGeom prst="bentConnector3">
              <a:avLst>
                <a:gd name="adj1" fmla="val 50000"/>
              </a:avLst>
            </a:prstGeom>
            <a:ln w="15875">
              <a:solidFill>
                <a:schemeClr val="bg2"/>
              </a:solidFill>
              <a:tailEnd type="diamon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AC9C32B7-A4BC-3710-4692-821D4A1CCE60}"/>
              </a:ext>
            </a:extLst>
          </p:cNvPr>
          <p:cNvPicPr>
            <a:picLocks noChangeAspect="1"/>
          </p:cNvPicPr>
          <p:nvPr/>
        </p:nvPicPr>
        <p:blipFill>
          <a:blip r:embed="rId6"/>
          <a:stretch>
            <a:fillRect/>
          </a:stretch>
        </p:blipFill>
        <p:spPr>
          <a:xfrm>
            <a:off x="5253976" y="3086019"/>
            <a:ext cx="1525504" cy="1636776"/>
          </a:xfrm>
          <a:prstGeom prst="ellipse">
            <a:avLst/>
          </a:prstGeom>
          <a:solidFill>
            <a:srgbClr val="FFFFFF">
              <a:shade val="85000"/>
            </a:srgbClr>
          </a:solidFill>
          <a:ln>
            <a:noFill/>
          </a:ln>
          <a:effectLst>
            <a:outerShdw blurRad="63500" sx="102000" sy="102000" algn="ctr" rotWithShape="0">
              <a:prstClr val="black">
                <a:alpha val="40000"/>
              </a:prstClr>
            </a:outerShdw>
          </a:effectLst>
        </p:spPr>
      </p:pic>
      <p:pic>
        <p:nvPicPr>
          <p:cNvPr id="4" name="Picture 3">
            <a:extLst>
              <a:ext uri="{FF2B5EF4-FFF2-40B4-BE49-F238E27FC236}">
                <a16:creationId xmlns:a16="http://schemas.microsoft.com/office/drawing/2014/main" id="{E57D2C98-24D8-C486-5A0D-CA2C997427FB}"/>
              </a:ext>
            </a:extLst>
          </p:cNvPr>
          <p:cNvPicPr>
            <a:picLocks/>
          </p:cNvPicPr>
          <p:nvPr/>
        </p:nvPicPr>
        <p:blipFill rotWithShape="1">
          <a:blip r:embed="rId7" cstate="hqprint">
            <a:extLst>
              <a:ext uri="{BEBA8EAE-BF5A-486C-A8C5-ECC9F3942E4B}">
                <a14:imgProps xmlns:a14="http://schemas.microsoft.com/office/drawing/2010/main">
                  <a14:imgLayer r:embed="rId8">
                    <a14:imgEffect>
                      <a14:saturation sat="0"/>
                    </a14:imgEffect>
                    <a14:imgEffect>
                      <a14:brightnessContrast bright="20000" contrast="20000"/>
                    </a14:imgEffect>
                  </a14:imgLayer>
                </a14:imgProps>
              </a:ext>
              <a:ext uri="{28A0092B-C50C-407E-A947-70E740481C1C}">
                <a14:useLocalDpi xmlns:a14="http://schemas.microsoft.com/office/drawing/2010/main"/>
              </a:ext>
            </a:extLst>
          </a:blip>
          <a:srcRect/>
          <a:stretch/>
        </p:blipFill>
        <p:spPr>
          <a:xfrm>
            <a:off x="9127946" y="3086019"/>
            <a:ext cx="1636776" cy="1636776"/>
          </a:xfrm>
          <a:prstGeom prst="ellipse">
            <a:avLst/>
          </a:prstGeom>
          <a:solidFill>
            <a:srgbClr val="FFFFFF">
              <a:shade val="85000"/>
            </a:srgbClr>
          </a:solidFill>
          <a:ln>
            <a:no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02651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807443987"/>
              </p:ext>
            </p:extLst>
          </p:nvPr>
        </p:nvGraphicFramePr>
        <p:xfrm>
          <a:off x="1525467" y="265237"/>
          <a:ext cx="1465" cy="1465"/>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467" y="265237"/>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Shape 171">
            <a:extLst>
              <a:ext uri="{FF2B5EF4-FFF2-40B4-BE49-F238E27FC236}">
                <a16:creationId xmlns:a16="http://schemas.microsoft.com/office/drawing/2014/main" id="{31138CA4-27AD-23FD-856D-63A9FB9A1272}"/>
              </a:ext>
            </a:extLst>
          </p:cNvPr>
          <p:cNvSpPr>
            <a:spLocks/>
          </p:cNvSpPr>
          <p:nvPr/>
        </p:nvSpPr>
        <p:spPr>
          <a:xfrm>
            <a:off x="539400" y="3550919"/>
            <a:ext cx="11113202" cy="2757805"/>
          </a:xfrm>
          <a:prstGeom prst="snip1Rect">
            <a:avLst>
              <a:gd name="adj" fmla="val 0"/>
            </a:avLst>
          </a:prstGeom>
          <a:gradFill flip="none" rotWithShape="1">
            <a:gsLst>
              <a:gs pos="0">
                <a:schemeClr val="tx2">
                  <a:lumMod val="60000"/>
                  <a:lumOff val="40000"/>
                  <a:alpha val="27000"/>
                </a:schemeClr>
              </a:gs>
              <a:gs pos="100000">
                <a:schemeClr val="accent1">
                  <a:lumMod val="20000"/>
                  <a:lumOff val="80000"/>
                  <a:alpha val="7000"/>
                </a:schemeClr>
              </a:gs>
            </a:gsLst>
            <a:lin ang="16200000" scaled="1"/>
            <a:tileRect/>
          </a:gradFill>
          <a:ln w="9525" cap="flat" cmpd="sng">
            <a:solidFill>
              <a:schemeClr val="accent2">
                <a:lumMod val="20000"/>
                <a:lumOff val="80000"/>
              </a:schemeClr>
            </a:solidFill>
            <a:prstDash val="solid"/>
            <a:miter/>
            <a:headEnd type="none" w="med" len="med"/>
            <a:tailEnd type="none" w="med" len="med"/>
          </a:ln>
        </p:spPr>
        <p:txBody>
          <a:bodyPr lIns="168808" tIns="84392" rIns="84392" bIns="84392" anchor="t" anchorCtr="0">
            <a:noAutofit/>
          </a:bodyPr>
          <a:lstStyle/>
          <a:p>
            <a:pPr algn="ctr">
              <a:spcBef>
                <a:spcPts val="0"/>
              </a:spcBef>
              <a:spcAft>
                <a:spcPts val="0"/>
              </a:spcAft>
              <a:buSzPct val="25000"/>
            </a:pPr>
            <a:endParaRPr lang="en-US" b="1" dirty="0">
              <a:solidFill>
                <a:schemeClr val="tx2"/>
              </a:solidFill>
              <a:latin typeface="Arial"/>
              <a:ea typeface="Arial"/>
              <a:cs typeface="Arial"/>
              <a:sym typeface="Arial"/>
            </a:endParaRPr>
          </a:p>
        </p:txBody>
      </p:sp>
      <p:sp>
        <p:nvSpPr>
          <p:cNvPr id="3" name="Text Placeholder 2"/>
          <p:cNvSpPr>
            <a:spLocks noGrp="1"/>
          </p:cNvSpPr>
          <p:nvPr>
            <p:ph type="body" idx="1"/>
          </p:nvPr>
        </p:nvSpPr>
        <p:spPr>
          <a:xfrm>
            <a:off x="539399" y="1219589"/>
            <a:ext cx="11075937" cy="1938992"/>
          </a:xfrm>
        </p:spPr>
        <p:txBody>
          <a:bodyPr lIns="0" tIns="0" rIns="0" bIns="0"/>
          <a:lstStyle/>
          <a:p>
            <a:pPr marL="11723" marR="17585" algn="just">
              <a:lnSpc>
                <a:spcPct val="100000"/>
              </a:lnSpc>
              <a:spcBef>
                <a:spcPts val="18"/>
              </a:spcBef>
            </a:pPr>
            <a:r>
              <a:rPr lang="en-US" sz="1800" b="1" dirty="0">
                <a:solidFill>
                  <a:schemeClr val="accent1"/>
                </a:solidFill>
                <a:latin typeface="Calibri" panose="020F0502020204030204" pitchFamily="34" charset="0"/>
                <a:cs typeface="Calibri" panose="020F0502020204030204" pitchFamily="34" charset="0"/>
              </a:rPr>
              <a:t>Infomineo</a:t>
            </a:r>
            <a:r>
              <a:rPr lang="en-US" sz="1800" b="0" dirty="0">
                <a:latin typeface="Calibri" panose="020F0502020204030204" pitchFamily="34" charset="0"/>
                <a:cs typeface="Calibri" panose="020F0502020204030204" pitchFamily="34" charset="0"/>
              </a:rPr>
              <a:t> is a data and research outsourcing provider dedicated to supporting global companies in getting access to information that powers their investment decisions and operations. Our global coverage and unique value proposition has allowed us to develop long term relationships with most of the leading global consulting firms and Fortune 500 companies. </a:t>
            </a:r>
          </a:p>
          <a:p>
            <a:pPr marL="11723" marR="17585" algn="just">
              <a:lnSpc>
                <a:spcPct val="100000"/>
              </a:lnSpc>
              <a:spcBef>
                <a:spcPts val="18"/>
              </a:spcBef>
            </a:pPr>
            <a:endParaRPr lang="en-US" sz="1800" b="0" dirty="0">
              <a:latin typeface="Calibri" panose="020F0502020204030204" pitchFamily="34" charset="0"/>
              <a:cs typeface="Calibri" panose="020F0502020204030204" pitchFamily="34" charset="0"/>
            </a:endParaRPr>
          </a:p>
          <a:p>
            <a:pPr marL="11723" marR="17585" algn="just">
              <a:lnSpc>
                <a:spcPct val="100000"/>
              </a:lnSpc>
              <a:spcBef>
                <a:spcPts val="18"/>
              </a:spcBef>
            </a:pPr>
            <a:r>
              <a:rPr lang="en-US" sz="1800" b="0" dirty="0">
                <a:latin typeface="Calibri" panose="020F0502020204030204" pitchFamily="34" charset="0"/>
                <a:cs typeface="Calibri" panose="020F0502020204030204" pitchFamily="34" charset="0"/>
              </a:rPr>
              <a:t>Created in 2011 by an ex-BCG and ex-McKinsey consultants, </a:t>
            </a:r>
            <a:r>
              <a:rPr lang="en-US" sz="1800" b="1" dirty="0">
                <a:solidFill>
                  <a:schemeClr val="accent1"/>
                </a:solidFill>
                <a:latin typeface="Calibri" panose="020F0502020204030204" pitchFamily="34" charset="0"/>
                <a:cs typeface="Calibri" panose="020F0502020204030204" pitchFamily="34" charset="0"/>
              </a:rPr>
              <a:t>Infomineo combines leading consulting methodologies and </a:t>
            </a:r>
            <a:r>
              <a:rPr lang="en-US" sz="1800" b="1" dirty="0">
                <a:solidFill>
                  <a:schemeClr val="accent1"/>
                </a:solidFill>
              </a:rPr>
              <a:t>data &amp; research techniques</a:t>
            </a:r>
            <a:r>
              <a:rPr lang="en-US" sz="1800" b="0" dirty="0">
                <a:solidFill>
                  <a:schemeClr val="accent1"/>
                </a:solidFill>
                <a:latin typeface="Calibri" panose="020F0502020204030204" pitchFamily="34" charset="0"/>
                <a:cs typeface="Calibri" panose="020F0502020204030204" pitchFamily="34" charset="0"/>
              </a:rPr>
              <a:t>. </a:t>
            </a:r>
            <a:endParaRPr lang="en-US" sz="1800" dirty="0">
              <a:solidFill>
                <a:schemeClr val="accent1"/>
              </a:solidFill>
              <a:latin typeface="Calibri" panose="020F0502020204030204" pitchFamily="34" charset="0"/>
              <a:cs typeface="Calibri" panose="020F0502020204030204" pitchFamily="34" charset="0"/>
            </a:endParaRPr>
          </a:p>
        </p:txBody>
      </p:sp>
      <p:sp>
        <p:nvSpPr>
          <p:cNvPr id="192" name="TextBox 191">
            <a:extLst>
              <a:ext uri="{FF2B5EF4-FFF2-40B4-BE49-F238E27FC236}">
                <a16:creationId xmlns:a16="http://schemas.microsoft.com/office/drawing/2014/main" id="{98783B3A-8E7C-4A58-AD01-2D3B48AF8DCF}"/>
              </a:ext>
            </a:extLst>
          </p:cNvPr>
          <p:cNvSpPr txBox="1"/>
          <p:nvPr/>
        </p:nvSpPr>
        <p:spPr>
          <a:xfrm>
            <a:off x="450622" y="471335"/>
            <a:ext cx="8478736" cy="523220"/>
          </a:xfrm>
          <a:prstGeom prst="rect">
            <a:avLst/>
          </a:prstGeom>
          <a:noFill/>
        </p:spPr>
        <p:txBody>
          <a:bodyPr wrap="square" rtlCol="0">
            <a:spAutoFit/>
          </a:bodyPr>
          <a:lstStyle/>
          <a:p>
            <a:pPr algn="l"/>
            <a:r>
              <a:rPr lang="en-US" sz="2800" dirty="0">
                <a:solidFill>
                  <a:schemeClr val="tx2"/>
                </a:solidFill>
                <a:latin typeface="Franklin Gothic Demi" panose="020B0703020102020204" pitchFamily="34" charset="0"/>
                <a:ea typeface="+mj-ea"/>
                <a:cs typeface="Calibri" panose="020F0502020204030204" pitchFamily="34" charset="0"/>
                <a:sym typeface="Calibri" panose="020F0502020204030204" pitchFamily="34" charset="0"/>
              </a:rPr>
              <a:t>Infomineo has grown into the leader of Brainshoring</a:t>
            </a:r>
          </a:p>
        </p:txBody>
      </p:sp>
      <p:sp>
        <p:nvSpPr>
          <p:cNvPr id="162" name="Google Shape;1231;p5">
            <a:extLst>
              <a:ext uri="{FF2B5EF4-FFF2-40B4-BE49-F238E27FC236}">
                <a16:creationId xmlns:a16="http://schemas.microsoft.com/office/drawing/2014/main" id="{63E1D4AD-BB80-4703-BC9D-CABD59332A26}"/>
              </a:ext>
            </a:extLst>
          </p:cNvPr>
          <p:cNvSpPr txBox="1"/>
          <p:nvPr/>
        </p:nvSpPr>
        <p:spPr>
          <a:xfrm>
            <a:off x="722889" y="5215446"/>
            <a:ext cx="1365020" cy="664798"/>
          </a:xfrm>
          <a:prstGeom prst="rect">
            <a:avLst/>
          </a:prstGeom>
          <a:noFill/>
          <a:ln>
            <a:noFill/>
          </a:ln>
        </p:spPr>
        <p:txBody>
          <a:bodyPr spcFirstLastPara="1" wrap="square" lIns="0" tIns="0" rIns="0" bIns="0" anchor="t" anchorCtr="0">
            <a:spAutoFit/>
          </a:bodyPr>
          <a:lstStyle/>
          <a:p>
            <a:pPr marL="0" marR="0" lvl="0" indent="0" algn="ctr">
              <a:lnSpc>
                <a:spcPct val="90000"/>
              </a:lnSpc>
              <a:spcBef>
                <a:spcPts val="0"/>
              </a:spcBef>
              <a:spcAft>
                <a:spcPts val="0"/>
              </a:spcAft>
              <a:buClr>
                <a:srgbClr val="000000"/>
              </a:buClr>
              <a:buSzPts val="1600"/>
              <a:buFont typeface="Arial"/>
              <a:buNone/>
            </a:pPr>
            <a:r>
              <a:rPr lang="en-US" sz="1600" b="1" i="0" u="none" strike="noStrike" cap="none" dirty="0">
                <a:solidFill>
                  <a:schemeClr val="dk2"/>
                </a:solidFill>
                <a:latin typeface="Franklin Gothic"/>
                <a:ea typeface="Franklin Gothic"/>
                <a:cs typeface="Franklin Gothic"/>
                <a:sym typeface="Franklin Gothic"/>
              </a:rPr>
              <a:t>17</a:t>
            </a:r>
            <a:r>
              <a:rPr lang="en-US" sz="1400" b="0" i="0" u="none" strike="noStrike" cap="none" dirty="0">
                <a:solidFill>
                  <a:srgbClr val="00B050"/>
                </a:solidFill>
                <a:latin typeface="Calibri"/>
                <a:ea typeface="Calibri"/>
                <a:cs typeface="Calibri"/>
                <a:sym typeface="Calibri"/>
              </a:rPr>
              <a:t> </a:t>
            </a:r>
            <a:r>
              <a:rPr lang="en-US" sz="1600" dirty="0">
                <a:solidFill>
                  <a:schemeClr val="dk1"/>
                </a:solidFill>
                <a:latin typeface="Calibri"/>
                <a:ea typeface="Calibri"/>
                <a:cs typeface="Calibri"/>
                <a:sym typeface="Calibri"/>
              </a:rPr>
              <a:t>nationalities</a:t>
            </a:r>
            <a:r>
              <a:rPr lang="en-US" sz="1400" b="0" i="0" u="none" strike="noStrike" cap="none" dirty="0">
                <a:solidFill>
                  <a:schemeClr val="dk1"/>
                </a:solidFill>
                <a:latin typeface="Calibri"/>
                <a:ea typeface="Calibri"/>
                <a:cs typeface="Calibri"/>
                <a:sym typeface="Calibri"/>
              </a:rPr>
              <a:t>,</a:t>
            </a:r>
            <a:br>
              <a:rPr lang="en-US" sz="1400" b="0" i="0" u="none" strike="noStrike" cap="none" dirty="0">
                <a:solidFill>
                  <a:srgbClr val="727272"/>
                </a:solidFill>
                <a:latin typeface="Calibri"/>
                <a:ea typeface="Calibri"/>
                <a:cs typeface="Calibri"/>
                <a:sym typeface="Calibri"/>
              </a:rPr>
            </a:br>
            <a:r>
              <a:rPr lang="en-US" sz="1600" b="1" i="0" u="none" strike="noStrike" cap="none" dirty="0">
                <a:solidFill>
                  <a:schemeClr val="dk2"/>
                </a:solidFill>
                <a:latin typeface="Franklin Gothic"/>
                <a:ea typeface="Franklin Gothic"/>
                <a:cs typeface="Franklin Gothic"/>
                <a:sym typeface="Franklin Gothic"/>
              </a:rPr>
              <a:t>13</a:t>
            </a:r>
            <a:r>
              <a:rPr lang="en-US" sz="1400" b="0" i="0" u="none" strike="noStrike" cap="none" dirty="0">
                <a:solidFill>
                  <a:srgbClr val="0070C0"/>
                </a:solidFill>
                <a:latin typeface="Calibri"/>
                <a:ea typeface="Calibri"/>
                <a:cs typeface="Calibri"/>
                <a:sym typeface="Calibri"/>
              </a:rPr>
              <a:t> </a:t>
            </a:r>
            <a:r>
              <a:rPr lang="en-US" sz="1600" dirty="0">
                <a:solidFill>
                  <a:schemeClr val="dk1"/>
                </a:solidFill>
                <a:latin typeface="Calibri"/>
                <a:ea typeface="Calibri"/>
                <a:cs typeface="Calibri"/>
                <a:sym typeface="Calibri"/>
              </a:rPr>
              <a:t>languages</a:t>
            </a:r>
            <a:r>
              <a:rPr lang="en-US" sz="1400" b="0" i="0" u="none" strike="noStrike" cap="none" dirty="0">
                <a:solidFill>
                  <a:schemeClr val="dk1"/>
                </a:solidFill>
                <a:latin typeface="Calibri"/>
                <a:ea typeface="Calibri"/>
                <a:cs typeface="Calibri"/>
                <a:sym typeface="Calibri"/>
              </a:rPr>
              <a:t> </a:t>
            </a:r>
            <a:r>
              <a:rPr lang="en-US" sz="1600" dirty="0">
                <a:solidFill>
                  <a:schemeClr val="dk1"/>
                </a:solidFill>
                <a:latin typeface="Calibri"/>
                <a:ea typeface="Calibri"/>
                <a:cs typeface="Calibri"/>
                <a:sym typeface="Calibri"/>
              </a:rPr>
              <a:t>spoken natively</a:t>
            </a:r>
            <a:endParaRPr sz="1600" dirty="0">
              <a:solidFill>
                <a:schemeClr val="dk1"/>
              </a:solidFill>
              <a:latin typeface="Calibri"/>
              <a:ea typeface="Calibri"/>
              <a:cs typeface="Calibri"/>
              <a:sym typeface="Arial"/>
            </a:endParaRPr>
          </a:p>
        </p:txBody>
      </p:sp>
      <p:sp>
        <p:nvSpPr>
          <p:cNvPr id="163" name="Google Shape;1232;p5">
            <a:extLst>
              <a:ext uri="{FF2B5EF4-FFF2-40B4-BE49-F238E27FC236}">
                <a16:creationId xmlns:a16="http://schemas.microsoft.com/office/drawing/2014/main" id="{C2A5FA4C-CD3A-42BC-AE2E-09B3DE0B746A}"/>
              </a:ext>
            </a:extLst>
          </p:cNvPr>
          <p:cNvSpPr txBox="1"/>
          <p:nvPr/>
        </p:nvSpPr>
        <p:spPr>
          <a:xfrm>
            <a:off x="3673678" y="5215446"/>
            <a:ext cx="1917942" cy="886397"/>
          </a:xfrm>
          <a:prstGeom prst="rect">
            <a:avLst/>
          </a:prstGeom>
          <a:noFill/>
          <a:ln>
            <a:noFill/>
          </a:ln>
        </p:spPr>
        <p:txBody>
          <a:bodyPr spcFirstLastPara="1" wrap="square" lIns="0" tIns="0" rIns="0" bIns="0" anchor="t" anchorCtr="0">
            <a:spAutoFit/>
          </a:bodyPr>
          <a:lstStyle/>
          <a:p>
            <a:pPr marL="0" marR="0" lvl="0" indent="0" algn="ctr">
              <a:lnSpc>
                <a:spcPct val="90000"/>
              </a:lnSpc>
              <a:spcBef>
                <a:spcPts val="0"/>
              </a:spcBef>
              <a:spcAft>
                <a:spcPts val="0"/>
              </a:spcAft>
              <a:buClr>
                <a:srgbClr val="000000"/>
              </a:buClr>
              <a:buSzPts val="1600"/>
              <a:buFont typeface="Arial"/>
              <a:buNone/>
            </a:pPr>
            <a:r>
              <a:rPr lang="en-US" sz="1600" b="1" i="0" u="none" strike="noStrike" cap="none" dirty="0">
                <a:solidFill>
                  <a:schemeClr val="dk2"/>
                </a:solidFill>
                <a:latin typeface="Franklin Gothic"/>
                <a:ea typeface="Franklin Gothic"/>
                <a:cs typeface="Franklin Gothic"/>
                <a:sym typeface="Franklin Gothic"/>
              </a:rPr>
              <a:t> 5 offices</a:t>
            </a:r>
            <a:br>
              <a:rPr lang="en-US" sz="1600" b="1" i="0" u="none" strike="noStrike" cap="none" dirty="0">
                <a:solidFill>
                  <a:srgbClr val="0070C0"/>
                </a:solidFill>
                <a:latin typeface="Calibri"/>
                <a:ea typeface="Calibri"/>
                <a:cs typeface="Calibri"/>
                <a:sym typeface="Calibri"/>
              </a:rPr>
            </a:br>
            <a:r>
              <a:rPr lang="en-US" sz="1600" dirty="0">
                <a:solidFill>
                  <a:schemeClr val="dk1"/>
                </a:solidFill>
                <a:latin typeface="Calibri"/>
                <a:ea typeface="Calibri"/>
                <a:cs typeface="Calibri"/>
                <a:sym typeface="Calibri"/>
              </a:rPr>
              <a:t>Casablanca, Cairo, Dubai, Barcelona </a:t>
            </a:r>
            <a:br>
              <a:rPr lang="en-US" sz="1600" dirty="0">
                <a:solidFill>
                  <a:schemeClr val="dk1"/>
                </a:solidFill>
                <a:latin typeface="Calibri"/>
                <a:ea typeface="Calibri"/>
                <a:cs typeface="Calibri"/>
                <a:sym typeface="Calibri"/>
              </a:rPr>
            </a:br>
            <a:r>
              <a:rPr lang="en-US" sz="1600" dirty="0">
                <a:solidFill>
                  <a:schemeClr val="dk1"/>
                </a:solidFill>
                <a:latin typeface="Calibri"/>
                <a:ea typeface="Calibri"/>
                <a:cs typeface="Calibri"/>
                <a:sym typeface="Calibri"/>
              </a:rPr>
              <a:t>and Mexico</a:t>
            </a:r>
            <a:endParaRPr sz="1600" dirty="0">
              <a:solidFill>
                <a:schemeClr val="dk1"/>
              </a:solidFill>
              <a:latin typeface="Calibri"/>
              <a:ea typeface="Calibri"/>
              <a:cs typeface="Calibri"/>
              <a:sym typeface="Arial"/>
            </a:endParaRPr>
          </a:p>
        </p:txBody>
      </p:sp>
      <p:sp>
        <p:nvSpPr>
          <p:cNvPr id="165" name="Google Shape;1234;p5">
            <a:extLst>
              <a:ext uri="{FF2B5EF4-FFF2-40B4-BE49-F238E27FC236}">
                <a16:creationId xmlns:a16="http://schemas.microsoft.com/office/drawing/2014/main" id="{7A29F96C-2B32-45DC-A9F2-FF1DA780B8D5}"/>
              </a:ext>
            </a:extLst>
          </p:cNvPr>
          <p:cNvSpPr txBox="1"/>
          <p:nvPr/>
        </p:nvSpPr>
        <p:spPr>
          <a:xfrm>
            <a:off x="6543386" y="5215446"/>
            <a:ext cx="2254424" cy="886398"/>
          </a:xfrm>
          <a:prstGeom prst="rect">
            <a:avLst/>
          </a:prstGeom>
          <a:noFill/>
          <a:ln>
            <a:noFill/>
          </a:ln>
        </p:spPr>
        <p:txBody>
          <a:bodyPr spcFirstLastPara="1" wrap="square" lIns="0" tIns="0" rIns="0" bIns="0" anchor="t" anchorCtr="0">
            <a:spAutoFit/>
          </a:bodyPr>
          <a:lstStyle/>
          <a:p>
            <a:pPr marL="0" marR="0" lvl="0" indent="0" algn="ctr">
              <a:lnSpc>
                <a:spcPct val="90000"/>
              </a:lnSpc>
              <a:spcBef>
                <a:spcPts val="0"/>
              </a:spcBef>
              <a:spcAft>
                <a:spcPts val="0"/>
              </a:spcAft>
              <a:buClr>
                <a:srgbClr val="000000"/>
              </a:buClr>
              <a:buSzPts val="1600"/>
              <a:buFont typeface="Arial"/>
              <a:buNone/>
            </a:pPr>
            <a:r>
              <a:rPr lang="en-US" sz="1600" b="1" i="0" u="none" strike="noStrike" cap="none" dirty="0">
                <a:solidFill>
                  <a:schemeClr val="dk2"/>
                </a:solidFill>
                <a:latin typeface="Franklin Gothic"/>
                <a:ea typeface="Franklin Gothic"/>
                <a:cs typeface="Franklin Gothic"/>
                <a:sym typeface="Franklin Gothic"/>
              </a:rPr>
              <a:t>Geographic distribution</a:t>
            </a:r>
            <a:br>
              <a:rPr lang="en-US" sz="1400" b="0" i="0" u="none" strike="noStrike" cap="none" dirty="0">
                <a:solidFill>
                  <a:schemeClr val="dk1"/>
                </a:solidFill>
                <a:latin typeface="Calibri"/>
                <a:ea typeface="Calibri"/>
                <a:cs typeface="Calibri"/>
                <a:sym typeface="Calibri"/>
              </a:rPr>
            </a:br>
            <a:r>
              <a:rPr lang="en-US" sz="1600" dirty="0">
                <a:solidFill>
                  <a:schemeClr val="dk1"/>
                </a:solidFill>
                <a:latin typeface="Calibri"/>
                <a:ea typeface="Calibri"/>
                <a:cs typeface="Calibri"/>
                <a:sym typeface="Calibri"/>
              </a:rPr>
              <a:t>of our work:</a:t>
            </a:r>
            <a:br>
              <a:rPr lang="en-US" sz="1600" dirty="0">
                <a:solidFill>
                  <a:schemeClr val="dk1"/>
                </a:solidFill>
                <a:latin typeface="Calibri"/>
                <a:ea typeface="Calibri"/>
                <a:cs typeface="Calibri"/>
                <a:sym typeface="Calibri"/>
              </a:rPr>
            </a:br>
            <a:r>
              <a:rPr lang="en-US" sz="1600" dirty="0">
                <a:solidFill>
                  <a:schemeClr val="dk1"/>
                </a:solidFill>
                <a:latin typeface="Calibri"/>
                <a:ea typeface="Calibri"/>
                <a:cs typeface="Calibri"/>
                <a:sym typeface="Calibri"/>
              </a:rPr>
              <a:t>40% Europe, 40% Middle East and Africa, 20% ROW</a:t>
            </a:r>
            <a:endParaRPr sz="1600" dirty="0">
              <a:solidFill>
                <a:schemeClr val="dk1"/>
              </a:solidFill>
              <a:latin typeface="Calibri"/>
              <a:ea typeface="Calibri"/>
              <a:cs typeface="Calibri"/>
              <a:sym typeface="Arial"/>
            </a:endParaRPr>
          </a:p>
        </p:txBody>
      </p:sp>
      <p:grpSp>
        <p:nvGrpSpPr>
          <p:cNvPr id="6" name="Group 5">
            <a:extLst>
              <a:ext uri="{FF2B5EF4-FFF2-40B4-BE49-F238E27FC236}">
                <a16:creationId xmlns:a16="http://schemas.microsoft.com/office/drawing/2014/main" id="{4CE87914-B4D5-DF9F-4847-AA72D6902FCD}"/>
              </a:ext>
            </a:extLst>
          </p:cNvPr>
          <p:cNvGrpSpPr/>
          <p:nvPr/>
        </p:nvGrpSpPr>
        <p:grpSpPr>
          <a:xfrm>
            <a:off x="1515158" y="3829673"/>
            <a:ext cx="8659726" cy="664803"/>
            <a:chOff x="1415906" y="4032802"/>
            <a:chExt cx="8845494" cy="679064"/>
          </a:xfrm>
        </p:grpSpPr>
        <p:sp>
          <p:nvSpPr>
            <p:cNvPr id="161" name="Google Shape;1230;p5">
              <a:extLst>
                <a:ext uri="{FF2B5EF4-FFF2-40B4-BE49-F238E27FC236}">
                  <a16:creationId xmlns:a16="http://schemas.microsoft.com/office/drawing/2014/main" id="{5ED4EEE7-C62F-4520-8B45-2455F40857D3}"/>
                </a:ext>
              </a:extLst>
            </p:cNvPr>
            <p:cNvSpPr txBox="1"/>
            <p:nvPr/>
          </p:nvSpPr>
          <p:spPr>
            <a:xfrm>
              <a:off x="1415906" y="4032808"/>
              <a:ext cx="3195866" cy="679058"/>
            </a:xfrm>
            <a:prstGeom prst="rect">
              <a:avLst/>
            </a:prstGeom>
            <a:noFill/>
            <a:ln>
              <a:noFill/>
            </a:ln>
          </p:spPr>
          <p:txBody>
            <a:bodyPr spcFirstLastPara="1" wrap="square" lIns="0" tIns="0" rIns="0" bIns="0" anchor="b" anchorCtr="0">
              <a:spAutoFit/>
            </a:bodyPr>
            <a:lstStyle/>
            <a:p>
              <a:pPr marL="0" marR="0" lvl="0" indent="0" algn="ctr">
                <a:lnSpc>
                  <a:spcPct val="90000"/>
                </a:lnSpc>
                <a:spcBef>
                  <a:spcPts val="0"/>
                </a:spcBef>
                <a:spcAft>
                  <a:spcPts val="0"/>
                </a:spcAft>
                <a:buClr>
                  <a:srgbClr val="000000"/>
                </a:buClr>
                <a:buSzPts val="1600"/>
                <a:buFont typeface="Arial"/>
                <a:buNone/>
              </a:pPr>
              <a:r>
                <a:rPr lang="en-US" sz="1600" b="1" dirty="0">
                  <a:solidFill>
                    <a:schemeClr val="dk2"/>
                  </a:solidFill>
                  <a:latin typeface="Franklin Gothic"/>
                  <a:ea typeface="Franklin Gothic"/>
                  <a:cs typeface="Franklin Gothic"/>
                  <a:sym typeface="Franklin Gothic"/>
                </a:rPr>
                <a:t>29</a:t>
              </a:r>
              <a:r>
                <a:rPr lang="en-US" sz="1600" b="1" i="0" u="none" strike="noStrike" cap="none" dirty="0">
                  <a:solidFill>
                    <a:schemeClr val="dk2"/>
                  </a:solidFill>
                  <a:latin typeface="Franklin Gothic"/>
                  <a:ea typeface="Franklin Gothic"/>
                  <a:cs typeface="Franklin Gothic"/>
                  <a:sym typeface="Franklin Gothic"/>
                </a:rPr>
                <a:t>0</a:t>
              </a:r>
              <a:r>
                <a:rPr lang="en-US" sz="1600" b="1" i="0" u="none" strike="noStrike" cap="none" dirty="0">
                  <a:solidFill>
                    <a:schemeClr val="dk2"/>
                  </a:solidFill>
                  <a:latin typeface="Calibri"/>
                  <a:ea typeface="Calibri"/>
                  <a:cs typeface="Calibri"/>
                  <a:sym typeface="Calibri"/>
                </a:rPr>
                <a:t> </a:t>
              </a:r>
              <a:r>
                <a:rPr lang="en-US" sz="1600" dirty="0">
                  <a:solidFill>
                    <a:schemeClr val="dk1"/>
                  </a:solidFill>
                  <a:latin typeface="Calibri"/>
                  <a:ea typeface="Calibri"/>
                  <a:cs typeface="Calibri"/>
                  <a:sym typeface="Calibri"/>
                </a:rPr>
                <a:t>employees, 55% of women</a:t>
              </a:r>
              <a:br>
                <a:rPr lang="en-US" sz="1600" dirty="0">
                  <a:solidFill>
                    <a:schemeClr val="dk1"/>
                  </a:solidFill>
                  <a:latin typeface="Calibri"/>
                  <a:ea typeface="Calibri"/>
                  <a:cs typeface="Calibri"/>
                  <a:sym typeface="Calibri"/>
                </a:rPr>
              </a:br>
              <a:r>
                <a:rPr lang="en-US" sz="1600" dirty="0">
                  <a:solidFill>
                    <a:schemeClr val="dk1"/>
                  </a:solidFill>
                  <a:latin typeface="Calibri"/>
                  <a:ea typeface="Calibri"/>
                  <a:cs typeface="Calibri"/>
                  <a:sym typeface="Calibri"/>
                </a:rPr>
                <a:t>Mix of business and technical (engineering, design) backgrounds</a:t>
              </a:r>
              <a:endParaRPr sz="1600" dirty="0">
                <a:solidFill>
                  <a:schemeClr val="dk1"/>
                </a:solidFill>
                <a:latin typeface="Calibri"/>
                <a:ea typeface="Calibri"/>
                <a:cs typeface="Calibri"/>
                <a:sym typeface="Arial"/>
              </a:endParaRPr>
            </a:p>
          </p:txBody>
        </p:sp>
        <p:sp>
          <p:nvSpPr>
            <p:cNvPr id="164" name="Google Shape;1233;p5">
              <a:extLst>
                <a:ext uri="{FF2B5EF4-FFF2-40B4-BE49-F238E27FC236}">
                  <a16:creationId xmlns:a16="http://schemas.microsoft.com/office/drawing/2014/main" id="{6B9A3932-A583-47E8-838B-1520C39857FA}"/>
                </a:ext>
              </a:extLst>
            </p:cNvPr>
            <p:cNvSpPr txBox="1"/>
            <p:nvPr/>
          </p:nvSpPr>
          <p:spPr>
            <a:xfrm>
              <a:off x="4993506" y="4032802"/>
              <a:ext cx="2204990" cy="679058"/>
            </a:xfrm>
            <a:prstGeom prst="rect">
              <a:avLst/>
            </a:prstGeom>
            <a:noFill/>
            <a:ln>
              <a:noFill/>
            </a:ln>
          </p:spPr>
          <p:txBody>
            <a:bodyPr spcFirstLastPara="1" wrap="square" lIns="0" tIns="0" rIns="0" bIns="0" anchor="b" anchorCtr="0">
              <a:spAutoFit/>
            </a:bodyPr>
            <a:lstStyle/>
            <a:p>
              <a:pPr marL="0" marR="0" lvl="0" indent="0" algn="ctr">
                <a:lnSpc>
                  <a:spcPct val="90000"/>
                </a:lnSpc>
                <a:spcBef>
                  <a:spcPts val="0"/>
                </a:spcBef>
                <a:spcAft>
                  <a:spcPts val="0"/>
                </a:spcAft>
                <a:buClr>
                  <a:srgbClr val="000000"/>
                </a:buClr>
                <a:buSzPts val="1600"/>
                <a:buFont typeface="Arial"/>
                <a:buNone/>
              </a:pPr>
              <a:r>
                <a:rPr lang="en-US" sz="1600" b="1" i="0" u="none" strike="noStrike" cap="none" dirty="0">
                  <a:solidFill>
                    <a:schemeClr val="dk2"/>
                  </a:solidFill>
                  <a:latin typeface="Franklin Gothic"/>
                  <a:ea typeface="Franklin Gothic"/>
                  <a:cs typeface="Franklin Gothic"/>
                  <a:sym typeface="Franklin Gothic"/>
                </a:rPr>
                <a:t>200,000+</a:t>
              </a:r>
              <a:br>
                <a:rPr lang="en-US" sz="1600" b="1" i="0" u="none" strike="noStrike" cap="none" dirty="0">
                  <a:solidFill>
                    <a:srgbClr val="0070C0"/>
                  </a:solidFill>
                  <a:latin typeface="Calibri"/>
                  <a:ea typeface="Calibri"/>
                  <a:cs typeface="Calibri"/>
                  <a:sym typeface="Calibri"/>
                </a:rPr>
              </a:br>
              <a:r>
                <a:rPr lang="en-US" sz="1600" dirty="0">
                  <a:solidFill>
                    <a:schemeClr val="dk1"/>
                  </a:solidFill>
                  <a:latin typeface="Calibri"/>
                  <a:ea typeface="Calibri"/>
                  <a:cs typeface="Calibri"/>
                  <a:sym typeface="Calibri"/>
                </a:rPr>
                <a:t>requests successfully executed</a:t>
              </a:r>
              <a:endParaRPr sz="1600" dirty="0">
                <a:solidFill>
                  <a:schemeClr val="dk1"/>
                </a:solidFill>
                <a:latin typeface="Calibri"/>
                <a:ea typeface="Calibri"/>
                <a:cs typeface="Calibri"/>
                <a:sym typeface="Arial"/>
              </a:endParaRPr>
            </a:p>
          </p:txBody>
        </p:sp>
        <p:sp>
          <p:nvSpPr>
            <p:cNvPr id="166" name="Google Shape;1235;p5">
              <a:extLst>
                <a:ext uri="{FF2B5EF4-FFF2-40B4-BE49-F238E27FC236}">
                  <a16:creationId xmlns:a16="http://schemas.microsoft.com/office/drawing/2014/main" id="{C175C7DE-5A58-4054-9F42-DAA6A4E9FCD0}"/>
                </a:ext>
              </a:extLst>
            </p:cNvPr>
            <p:cNvSpPr txBox="1"/>
            <p:nvPr/>
          </p:nvSpPr>
          <p:spPr>
            <a:xfrm>
              <a:off x="8443219" y="4032802"/>
              <a:ext cx="1818181" cy="679058"/>
            </a:xfrm>
            <a:prstGeom prst="rect">
              <a:avLst/>
            </a:prstGeom>
            <a:noFill/>
            <a:ln>
              <a:noFill/>
            </a:ln>
          </p:spPr>
          <p:txBody>
            <a:bodyPr spcFirstLastPara="1" wrap="square" lIns="0" tIns="0" rIns="0" bIns="0" anchor="b" anchorCtr="0">
              <a:spAutoFit/>
            </a:bodyPr>
            <a:lstStyle/>
            <a:p>
              <a:pPr marL="0" marR="0" lvl="0" indent="0" algn="ctr">
                <a:lnSpc>
                  <a:spcPct val="90000"/>
                </a:lnSpc>
                <a:spcBef>
                  <a:spcPts val="0"/>
                </a:spcBef>
                <a:spcAft>
                  <a:spcPts val="0"/>
                </a:spcAft>
                <a:buClr>
                  <a:srgbClr val="000000"/>
                </a:buClr>
                <a:buSzPts val="1600"/>
                <a:buFont typeface="Arial"/>
                <a:buNone/>
              </a:pPr>
              <a:r>
                <a:rPr lang="en-US" sz="1600" b="1" i="0" u="none" strike="noStrike" cap="none" dirty="0">
                  <a:solidFill>
                    <a:schemeClr val="dk2"/>
                  </a:solidFill>
                  <a:latin typeface="Franklin Gothic"/>
                  <a:ea typeface="Franklin Gothic"/>
                  <a:cs typeface="Franklin Gothic"/>
                  <a:sym typeface="Franklin Gothic"/>
                </a:rPr>
                <a:t>97% </a:t>
              </a:r>
              <a:r>
                <a:rPr lang="en-US" sz="1600" b="0" i="0" u="none" strike="noStrike" cap="none" dirty="0">
                  <a:solidFill>
                    <a:schemeClr val="dk1"/>
                  </a:solidFill>
                  <a:latin typeface="Calibri"/>
                  <a:ea typeface="Calibri"/>
                  <a:cs typeface="Calibri"/>
                  <a:sym typeface="Calibri"/>
                </a:rPr>
                <a:t>of requests rated as meeting or above expectations</a:t>
              </a:r>
              <a:endParaRPr sz="1400" b="0" i="0" u="none" strike="noStrike" cap="none" dirty="0">
                <a:solidFill>
                  <a:srgbClr val="000000"/>
                </a:solidFill>
                <a:latin typeface="Arial"/>
                <a:ea typeface="Arial"/>
                <a:cs typeface="Arial"/>
                <a:sym typeface="Arial"/>
              </a:endParaRPr>
            </a:p>
          </p:txBody>
        </p:sp>
      </p:grpSp>
      <p:sp>
        <p:nvSpPr>
          <p:cNvPr id="167" name="Google Shape;1237;p5">
            <a:extLst>
              <a:ext uri="{FF2B5EF4-FFF2-40B4-BE49-F238E27FC236}">
                <a16:creationId xmlns:a16="http://schemas.microsoft.com/office/drawing/2014/main" id="{C535F388-1616-44AA-B0FF-8341512521B2}"/>
              </a:ext>
            </a:extLst>
          </p:cNvPr>
          <p:cNvSpPr txBox="1"/>
          <p:nvPr/>
        </p:nvSpPr>
        <p:spPr>
          <a:xfrm>
            <a:off x="10112127" y="5215446"/>
            <a:ext cx="1514673" cy="886397"/>
          </a:xfrm>
          <a:prstGeom prst="rect">
            <a:avLst/>
          </a:prstGeom>
          <a:noFill/>
          <a:ln>
            <a:noFill/>
          </a:ln>
        </p:spPr>
        <p:txBody>
          <a:bodyPr spcFirstLastPara="1" wrap="square" lIns="0" tIns="0" rIns="0" bIns="0" anchor="t" anchorCtr="0">
            <a:spAutoFit/>
          </a:bodyPr>
          <a:lstStyle/>
          <a:p>
            <a:pPr marL="0" marR="0" lvl="0" indent="0" algn="ctr">
              <a:lnSpc>
                <a:spcPct val="90000"/>
              </a:lnSpc>
              <a:spcBef>
                <a:spcPts val="0"/>
              </a:spcBef>
              <a:spcAft>
                <a:spcPts val="0"/>
              </a:spcAft>
              <a:buClr>
                <a:srgbClr val="000000"/>
              </a:buClr>
              <a:buSzPts val="1600"/>
              <a:buFont typeface="Arial"/>
              <a:buNone/>
            </a:pPr>
            <a:r>
              <a:rPr lang="en-US" sz="1600" b="1" i="0" u="none" strike="noStrike" cap="none" dirty="0">
                <a:solidFill>
                  <a:schemeClr val="dk2"/>
                </a:solidFill>
                <a:latin typeface="Franklin Gothic"/>
                <a:ea typeface="Franklin Gothic"/>
                <a:cs typeface="Franklin Gothic"/>
                <a:sym typeface="Franklin Gothic"/>
              </a:rPr>
              <a:t>85%</a:t>
            </a:r>
            <a:br>
              <a:rPr lang="en-US" sz="1600" b="1" i="0" u="none" strike="noStrike" cap="none" dirty="0">
                <a:solidFill>
                  <a:srgbClr val="0070C0"/>
                </a:solidFill>
                <a:latin typeface="Calibri"/>
                <a:ea typeface="Calibri"/>
                <a:cs typeface="Calibri"/>
                <a:sym typeface="Calibri"/>
              </a:rPr>
            </a:br>
            <a:r>
              <a:rPr lang="en-US" sz="1600" dirty="0">
                <a:solidFill>
                  <a:schemeClr val="dk1"/>
                </a:solidFill>
                <a:latin typeface="Calibri"/>
                <a:ea typeface="Calibri"/>
                <a:cs typeface="Calibri"/>
                <a:sym typeface="Calibri"/>
              </a:rPr>
              <a:t>of our business </a:t>
            </a:r>
            <a:br>
              <a:rPr lang="en-US" sz="1600" dirty="0">
                <a:solidFill>
                  <a:schemeClr val="dk1"/>
                </a:solidFill>
                <a:latin typeface="Calibri"/>
                <a:ea typeface="Calibri"/>
                <a:cs typeface="Calibri"/>
                <a:sym typeface="Calibri"/>
              </a:rPr>
            </a:br>
            <a:r>
              <a:rPr lang="en-US" sz="1600" dirty="0">
                <a:solidFill>
                  <a:schemeClr val="dk1"/>
                </a:solidFill>
                <a:latin typeface="Calibri"/>
                <a:ea typeface="Calibri"/>
                <a:cs typeface="Calibri"/>
                <a:sym typeface="Calibri"/>
              </a:rPr>
              <a:t>on a retainer </a:t>
            </a:r>
            <a:br>
              <a:rPr lang="en-US" sz="1600" dirty="0">
                <a:solidFill>
                  <a:schemeClr val="dk1"/>
                </a:solidFill>
                <a:latin typeface="Calibri"/>
                <a:ea typeface="Calibri"/>
                <a:cs typeface="Calibri"/>
                <a:sym typeface="Calibri"/>
              </a:rPr>
            </a:br>
            <a:r>
              <a:rPr lang="en-US" sz="1600" dirty="0">
                <a:solidFill>
                  <a:schemeClr val="dk1"/>
                </a:solidFill>
                <a:latin typeface="Calibri"/>
                <a:ea typeface="Calibri"/>
                <a:cs typeface="Calibri"/>
                <a:sym typeface="Calibri"/>
              </a:rPr>
              <a:t>basis</a:t>
            </a:r>
            <a:endParaRPr sz="1600" dirty="0">
              <a:solidFill>
                <a:schemeClr val="dk1"/>
              </a:solidFill>
              <a:latin typeface="Calibri"/>
              <a:ea typeface="Calibri"/>
              <a:cs typeface="Calibri"/>
              <a:sym typeface="Arial"/>
            </a:endParaRPr>
          </a:p>
        </p:txBody>
      </p:sp>
      <p:pic>
        <p:nvPicPr>
          <p:cNvPr id="106" name="Google Shape;1225;p5">
            <a:extLst>
              <a:ext uri="{FF2B5EF4-FFF2-40B4-BE49-F238E27FC236}">
                <a16:creationId xmlns:a16="http://schemas.microsoft.com/office/drawing/2014/main" id="{C6FD368D-A947-4F91-AB83-21DCB2D70E30}"/>
              </a:ext>
            </a:extLst>
          </p:cNvPr>
          <p:cNvPicPr preferRelativeResize="0"/>
          <p:nvPr/>
        </p:nvPicPr>
        <p:blipFill rotWithShape="1">
          <a:blip r:embed="rId6">
            <a:alphaModFix/>
          </a:blip>
          <a:srcRect/>
          <a:stretch/>
        </p:blipFill>
        <p:spPr>
          <a:xfrm>
            <a:off x="2716476" y="4624927"/>
            <a:ext cx="699498" cy="483958"/>
          </a:xfrm>
          <a:prstGeom prst="rect">
            <a:avLst/>
          </a:prstGeom>
          <a:noFill/>
          <a:ln>
            <a:noFill/>
          </a:ln>
        </p:spPr>
      </p:pic>
      <p:pic>
        <p:nvPicPr>
          <p:cNvPr id="108" name="Google Shape;1226;p5">
            <a:extLst>
              <a:ext uri="{FF2B5EF4-FFF2-40B4-BE49-F238E27FC236}">
                <a16:creationId xmlns:a16="http://schemas.microsoft.com/office/drawing/2014/main" id="{5606FE9C-1E14-4063-95CC-726E3AD419B4}"/>
              </a:ext>
            </a:extLst>
          </p:cNvPr>
          <p:cNvPicPr preferRelativeResize="0"/>
          <p:nvPr/>
        </p:nvPicPr>
        <p:blipFill rotWithShape="1">
          <a:blip r:embed="rId7">
            <a:alphaModFix/>
          </a:blip>
          <a:srcRect/>
          <a:stretch/>
        </p:blipFill>
        <p:spPr>
          <a:xfrm>
            <a:off x="7400245" y="4607446"/>
            <a:ext cx="589214" cy="566345"/>
          </a:xfrm>
          <a:prstGeom prst="rect">
            <a:avLst/>
          </a:prstGeom>
          <a:noFill/>
          <a:ln>
            <a:noFill/>
          </a:ln>
        </p:spPr>
      </p:pic>
      <p:pic>
        <p:nvPicPr>
          <p:cNvPr id="158" name="Google Shape;1227;p5">
            <a:extLst>
              <a:ext uri="{FF2B5EF4-FFF2-40B4-BE49-F238E27FC236}">
                <a16:creationId xmlns:a16="http://schemas.microsoft.com/office/drawing/2014/main" id="{07F121AF-BF79-4712-BA6E-EF52D7DC1388}"/>
              </a:ext>
            </a:extLst>
          </p:cNvPr>
          <p:cNvPicPr preferRelativeResize="0"/>
          <p:nvPr/>
        </p:nvPicPr>
        <p:blipFill rotWithShape="1">
          <a:blip r:embed="rId8">
            <a:alphaModFix/>
          </a:blip>
          <a:srcRect/>
          <a:stretch/>
        </p:blipFill>
        <p:spPr>
          <a:xfrm>
            <a:off x="1085002" y="4624490"/>
            <a:ext cx="640794" cy="532258"/>
          </a:xfrm>
          <a:prstGeom prst="rect">
            <a:avLst/>
          </a:prstGeom>
          <a:noFill/>
          <a:ln>
            <a:noFill/>
          </a:ln>
        </p:spPr>
      </p:pic>
      <p:pic>
        <p:nvPicPr>
          <p:cNvPr id="159" name="Google Shape;1228;p5">
            <a:extLst>
              <a:ext uri="{FF2B5EF4-FFF2-40B4-BE49-F238E27FC236}">
                <a16:creationId xmlns:a16="http://schemas.microsoft.com/office/drawing/2014/main" id="{E7E56A48-BAB9-4387-AE11-BE79715CA8B0}"/>
              </a:ext>
            </a:extLst>
          </p:cNvPr>
          <p:cNvPicPr preferRelativeResize="0"/>
          <p:nvPr/>
        </p:nvPicPr>
        <p:blipFill rotWithShape="1">
          <a:blip r:embed="rId9">
            <a:alphaModFix/>
          </a:blip>
          <a:srcRect/>
          <a:stretch/>
        </p:blipFill>
        <p:spPr>
          <a:xfrm>
            <a:off x="5928456" y="4620771"/>
            <a:ext cx="481108" cy="539695"/>
          </a:xfrm>
          <a:prstGeom prst="rect">
            <a:avLst/>
          </a:prstGeom>
          <a:noFill/>
          <a:ln>
            <a:noFill/>
          </a:ln>
        </p:spPr>
      </p:pic>
      <p:pic>
        <p:nvPicPr>
          <p:cNvPr id="160" name="Google Shape;1229;p5">
            <a:extLst>
              <a:ext uri="{FF2B5EF4-FFF2-40B4-BE49-F238E27FC236}">
                <a16:creationId xmlns:a16="http://schemas.microsoft.com/office/drawing/2014/main" id="{E70695B4-0153-4685-A46C-F6368174EF1A}"/>
              </a:ext>
            </a:extLst>
          </p:cNvPr>
          <p:cNvPicPr preferRelativeResize="0"/>
          <p:nvPr/>
        </p:nvPicPr>
        <p:blipFill rotWithShape="1">
          <a:blip r:embed="rId10">
            <a:alphaModFix/>
          </a:blip>
          <a:srcRect/>
          <a:stretch/>
        </p:blipFill>
        <p:spPr>
          <a:xfrm>
            <a:off x="4406654" y="4624490"/>
            <a:ext cx="531122" cy="532258"/>
          </a:xfrm>
          <a:prstGeom prst="rect">
            <a:avLst/>
          </a:prstGeom>
          <a:noFill/>
          <a:ln>
            <a:noFill/>
          </a:ln>
        </p:spPr>
      </p:pic>
      <p:pic>
        <p:nvPicPr>
          <p:cNvPr id="168" name="Google Shape;1263;p5">
            <a:extLst>
              <a:ext uri="{FF2B5EF4-FFF2-40B4-BE49-F238E27FC236}">
                <a16:creationId xmlns:a16="http://schemas.microsoft.com/office/drawing/2014/main" id="{99440F44-F734-4734-8F64-8CE5E06393D8}"/>
              </a:ext>
            </a:extLst>
          </p:cNvPr>
          <p:cNvPicPr preferRelativeResize="0"/>
          <p:nvPr/>
        </p:nvPicPr>
        <p:blipFill rotWithShape="1">
          <a:blip r:embed="rId11">
            <a:alphaModFix/>
          </a:blip>
          <a:srcRect/>
          <a:stretch/>
        </p:blipFill>
        <p:spPr>
          <a:xfrm>
            <a:off x="8929358" y="4537778"/>
            <a:ext cx="719701" cy="719702"/>
          </a:xfrm>
          <a:prstGeom prst="rect">
            <a:avLst/>
          </a:prstGeom>
          <a:noFill/>
          <a:ln>
            <a:noFill/>
          </a:ln>
        </p:spPr>
      </p:pic>
      <p:pic>
        <p:nvPicPr>
          <p:cNvPr id="169" name="Google Shape;1264;p5">
            <a:extLst>
              <a:ext uri="{FF2B5EF4-FFF2-40B4-BE49-F238E27FC236}">
                <a16:creationId xmlns:a16="http://schemas.microsoft.com/office/drawing/2014/main" id="{3748CF16-6BF4-43A9-A468-7086CEB996F1}"/>
              </a:ext>
            </a:extLst>
          </p:cNvPr>
          <p:cNvPicPr preferRelativeResize="0"/>
          <p:nvPr/>
        </p:nvPicPr>
        <p:blipFill rotWithShape="1">
          <a:blip r:embed="rId12">
            <a:alphaModFix/>
          </a:blip>
          <a:srcRect/>
          <a:stretch/>
        </p:blipFill>
        <p:spPr>
          <a:xfrm>
            <a:off x="10571859" y="4657738"/>
            <a:ext cx="517683" cy="517681"/>
          </a:xfrm>
          <a:prstGeom prst="rect">
            <a:avLst/>
          </a:prstGeom>
          <a:noFill/>
          <a:ln>
            <a:noFill/>
          </a:ln>
        </p:spPr>
      </p:pic>
      <p:cxnSp>
        <p:nvCxnSpPr>
          <p:cNvPr id="170" name="Google Shape;1265;p5">
            <a:extLst>
              <a:ext uri="{FF2B5EF4-FFF2-40B4-BE49-F238E27FC236}">
                <a16:creationId xmlns:a16="http://schemas.microsoft.com/office/drawing/2014/main" id="{71AC100F-20F4-4083-97CB-71EF0409529C}"/>
              </a:ext>
            </a:extLst>
          </p:cNvPr>
          <p:cNvCxnSpPr/>
          <p:nvPr/>
        </p:nvCxnSpPr>
        <p:spPr>
          <a:xfrm>
            <a:off x="9716890"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1" name="Google Shape;1266;p5">
            <a:extLst>
              <a:ext uri="{FF2B5EF4-FFF2-40B4-BE49-F238E27FC236}">
                <a16:creationId xmlns:a16="http://schemas.microsoft.com/office/drawing/2014/main" id="{B5CC0BC2-E975-4FDF-B5DD-8A8438610472}"/>
              </a:ext>
            </a:extLst>
          </p:cNvPr>
          <p:cNvCxnSpPr/>
          <p:nvPr/>
        </p:nvCxnSpPr>
        <p:spPr>
          <a:xfrm>
            <a:off x="11191057" y="4890619"/>
            <a:ext cx="309330"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2" name="Google Shape;1267;p5">
            <a:extLst>
              <a:ext uri="{FF2B5EF4-FFF2-40B4-BE49-F238E27FC236}">
                <a16:creationId xmlns:a16="http://schemas.microsoft.com/office/drawing/2014/main" id="{A3EEC3ED-D0BE-4CF5-A802-1D1198E71390}"/>
              </a:ext>
            </a:extLst>
          </p:cNvPr>
          <p:cNvCxnSpPr/>
          <p:nvPr/>
        </p:nvCxnSpPr>
        <p:spPr>
          <a:xfrm>
            <a:off x="8108071"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3" name="Google Shape;1268;p5">
            <a:extLst>
              <a:ext uri="{FF2B5EF4-FFF2-40B4-BE49-F238E27FC236}">
                <a16:creationId xmlns:a16="http://schemas.microsoft.com/office/drawing/2014/main" id="{7057ED1B-3C41-4230-9CE8-A0E9E17403D4}"/>
              </a:ext>
            </a:extLst>
          </p:cNvPr>
          <p:cNvCxnSpPr/>
          <p:nvPr/>
        </p:nvCxnSpPr>
        <p:spPr>
          <a:xfrm>
            <a:off x="6528176"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4" name="Google Shape;1269;p5">
            <a:extLst>
              <a:ext uri="{FF2B5EF4-FFF2-40B4-BE49-F238E27FC236}">
                <a16:creationId xmlns:a16="http://schemas.microsoft.com/office/drawing/2014/main" id="{BCACA3FB-34AA-44B5-AE50-E5D95BF39B9B}"/>
              </a:ext>
            </a:extLst>
          </p:cNvPr>
          <p:cNvCxnSpPr/>
          <p:nvPr/>
        </p:nvCxnSpPr>
        <p:spPr>
          <a:xfrm>
            <a:off x="5056388"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5" name="Google Shape;1270;p5">
            <a:extLst>
              <a:ext uri="{FF2B5EF4-FFF2-40B4-BE49-F238E27FC236}">
                <a16:creationId xmlns:a16="http://schemas.microsoft.com/office/drawing/2014/main" id="{CD1127AB-378A-4F5A-9BC1-96A0366BE612}"/>
              </a:ext>
            </a:extLst>
          </p:cNvPr>
          <p:cNvCxnSpPr/>
          <p:nvPr/>
        </p:nvCxnSpPr>
        <p:spPr>
          <a:xfrm>
            <a:off x="3534586"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6" name="Google Shape;1271;p5">
            <a:extLst>
              <a:ext uri="{FF2B5EF4-FFF2-40B4-BE49-F238E27FC236}">
                <a16:creationId xmlns:a16="http://schemas.microsoft.com/office/drawing/2014/main" id="{3D3874B0-FEAC-43E8-BE87-E626135903B1}"/>
              </a:ext>
            </a:extLst>
          </p:cNvPr>
          <p:cNvCxnSpPr/>
          <p:nvPr/>
        </p:nvCxnSpPr>
        <p:spPr>
          <a:xfrm>
            <a:off x="1844407"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7" name="Google Shape;1272;p5">
            <a:extLst>
              <a:ext uri="{FF2B5EF4-FFF2-40B4-BE49-F238E27FC236}">
                <a16:creationId xmlns:a16="http://schemas.microsoft.com/office/drawing/2014/main" id="{F9A972F3-9E52-49BA-ACB5-7972532E3860}"/>
              </a:ext>
            </a:extLst>
          </p:cNvPr>
          <p:cNvCxnSpPr/>
          <p:nvPr/>
        </p:nvCxnSpPr>
        <p:spPr>
          <a:xfrm>
            <a:off x="657060" y="4890619"/>
            <a:ext cx="309330" cy="0"/>
          </a:xfrm>
          <a:prstGeom prst="straightConnector1">
            <a:avLst/>
          </a:prstGeom>
          <a:solidFill>
            <a:schemeClr val="lt1"/>
          </a:solidFill>
          <a:ln w="9525" cap="flat" cmpd="sng">
            <a:solidFill>
              <a:srgbClr val="A1A1A1"/>
            </a:solidFill>
            <a:prstDash val="solid"/>
            <a:miter lim="800000"/>
            <a:headEnd type="none" w="sm" len="sm"/>
            <a:tailEnd type="none" w="sm" len="sm"/>
          </a:ln>
        </p:spPr>
      </p:cxnSp>
      <p:sp>
        <p:nvSpPr>
          <p:cNvPr id="65" name="TextBox 64">
            <a:extLst>
              <a:ext uri="{FF2B5EF4-FFF2-40B4-BE49-F238E27FC236}">
                <a16:creationId xmlns:a16="http://schemas.microsoft.com/office/drawing/2014/main" id="{3C296CFD-7ED0-7B85-FE79-3250DA22D5CE}"/>
              </a:ext>
            </a:extLst>
          </p:cNvPr>
          <p:cNvSpPr txBox="1"/>
          <p:nvPr/>
        </p:nvSpPr>
        <p:spPr>
          <a:xfrm>
            <a:off x="4910368" y="3366254"/>
            <a:ext cx="2371266" cy="369332"/>
          </a:xfrm>
          <a:prstGeom prst="rect">
            <a:avLst/>
          </a:prstGeom>
          <a:solidFill>
            <a:schemeClr val="bg1"/>
          </a:solidFill>
        </p:spPr>
        <p:txBody>
          <a:bodyPr wrap="square">
            <a:spAutoFit/>
          </a:bodyPr>
          <a:lstStyle/>
          <a:p>
            <a:pPr algn="ctr">
              <a:spcBef>
                <a:spcPts val="0"/>
              </a:spcBef>
              <a:spcAft>
                <a:spcPts val="0"/>
              </a:spcAft>
              <a:buSzPct val="25000"/>
            </a:pPr>
            <a:r>
              <a:rPr lang="en-US" b="1" dirty="0">
                <a:solidFill>
                  <a:schemeClr val="tx2"/>
                </a:solidFill>
                <a:latin typeface="Arial"/>
                <a:ea typeface="Arial"/>
                <a:cs typeface="Arial"/>
                <a:sym typeface="Arial"/>
              </a:rPr>
              <a:t>Infomineo in figures</a:t>
            </a:r>
          </a:p>
        </p:txBody>
      </p:sp>
      <p:cxnSp>
        <p:nvCxnSpPr>
          <p:cNvPr id="5" name="Straight Connector 4">
            <a:extLst>
              <a:ext uri="{FF2B5EF4-FFF2-40B4-BE49-F238E27FC236}">
                <a16:creationId xmlns:a16="http://schemas.microsoft.com/office/drawing/2014/main" id="{FD7291AA-2167-5543-929C-741147CEA02E}"/>
              </a:ext>
            </a:extLst>
          </p:cNvPr>
          <p:cNvCxnSpPr/>
          <p:nvPr/>
        </p:nvCxnSpPr>
        <p:spPr>
          <a:xfrm>
            <a:off x="539399" y="3550919"/>
            <a:ext cx="437096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DBD3C4B-65C7-A142-ABEF-22369290F979}"/>
              </a:ext>
            </a:extLst>
          </p:cNvPr>
          <p:cNvCxnSpPr>
            <a:cxnSpLocks/>
          </p:cNvCxnSpPr>
          <p:nvPr/>
        </p:nvCxnSpPr>
        <p:spPr>
          <a:xfrm>
            <a:off x="7281633" y="3550919"/>
            <a:ext cx="437096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78586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881"/>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18353E-AED7-4A4A-8678-960B5FA4B8F3}"/>
              </a:ext>
            </a:extLst>
          </p:cNvPr>
          <p:cNvGraphicFramePr>
            <a:graphicFrameLocks noChangeAspect="1"/>
          </p:cNvGraphicFramePr>
          <p:nvPr>
            <p:custDataLst>
              <p:tags r:id="rId1"/>
            </p:custDataLst>
            <p:extLst>
              <p:ext uri="{D42A27DB-BD31-4B8C-83A1-F6EECF244321}">
                <p14:modId xmlns:p14="http://schemas.microsoft.com/office/powerpoint/2010/main" val="3672082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D118353E-AED7-4A4A-8678-960B5FA4B8F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536C2C-F896-4E60-984C-D84CCAD8C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Title 3">
            <a:extLst>
              <a:ext uri="{FF2B5EF4-FFF2-40B4-BE49-F238E27FC236}">
                <a16:creationId xmlns:a16="http://schemas.microsoft.com/office/drawing/2014/main" id="{05A2FE30-D496-684B-8A91-C05FB484EE23}"/>
              </a:ext>
            </a:extLst>
          </p:cNvPr>
          <p:cNvSpPr>
            <a:spLocks noGrp="1"/>
          </p:cNvSpPr>
          <p:nvPr>
            <p:ph type="title"/>
          </p:nvPr>
        </p:nvSpPr>
        <p:spPr>
          <a:xfrm>
            <a:off x="738188" y="4546427"/>
            <a:ext cx="8494712" cy="692497"/>
          </a:xfrm>
        </p:spPr>
        <p:txBody>
          <a:bodyPr vert="horz"/>
          <a:lstStyle/>
          <a:p>
            <a:r>
              <a:rPr lang="en-US" dirty="0"/>
              <a:t>Presentation of services</a:t>
            </a:r>
          </a:p>
        </p:txBody>
      </p:sp>
    </p:spTree>
    <p:extLst>
      <p:ext uri="{BB962C8B-B14F-4D97-AF65-F5344CB8AC3E}">
        <p14:creationId xmlns:p14="http://schemas.microsoft.com/office/powerpoint/2010/main" val="164781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8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AD4E6EA-E5C6-49AF-BF8B-F154B404D65C}"/>
              </a:ext>
            </a:extLst>
          </p:cNvPr>
          <p:cNvGraphicFramePr>
            <a:graphicFrameLocks noChangeAspect="1"/>
          </p:cNvGraphicFramePr>
          <p:nvPr>
            <p:custDataLst>
              <p:tags r:id="rId1"/>
            </p:custDataLst>
            <p:extLst>
              <p:ext uri="{D42A27DB-BD31-4B8C-83A1-F6EECF244321}">
                <p14:modId xmlns:p14="http://schemas.microsoft.com/office/powerpoint/2010/main" val="677144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4AD4E6EA-E5C6-49AF-BF8B-F154B404D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82" name="Google Shape;1282;p6"/>
          <p:cNvSpPr/>
          <p:nvPr/>
        </p:nvSpPr>
        <p:spPr>
          <a:xfrm>
            <a:off x="-446654" y="0"/>
            <a:ext cx="4360469" cy="6857999"/>
          </a:xfrm>
          <a:custGeom>
            <a:avLst/>
            <a:gdLst/>
            <a:ahLst/>
            <a:cxnLst/>
            <a:rect l="l" t="t" r="r" b="b"/>
            <a:pathLst>
              <a:path w="4409954" h="6850992" extrusionOk="0">
                <a:moveTo>
                  <a:pt x="0" y="0"/>
                </a:moveTo>
                <a:lnTo>
                  <a:pt x="2854655" y="0"/>
                </a:lnTo>
                <a:lnTo>
                  <a:pt x="2869398" y="12911"/>
                </a:lnTo>
                <a:cubicBezTo>
                  <a:pt x="3821232" y="887164"/>
                  <a:pt x="4409954" y="2094934"/>
                  <a:pt x="4409954" y="3429000"/>
                </a:cubicBezTo>
                <a:cubicBezTo>
                  <a:pt x="4409954" y="4763066"/>
                  <a:pt x="3821232" y="5970836"/>
                  <a:pt x="2869398" y="6845090"/>
                </a:cubicBezTo>
                <a:lnTo>
                  <a:pt x="2862658" y="6850992"/>
                </a:lnTo>
                <a:lnTo>
                  <a:pt x="0" y="6850992"/>
                </a:lnTo>
                <a:close/>
              </a:path>
            </a:pathLst>
          </a:custGeom>
          <a:solidFill>
            <a:schemeClr val="lt2"/>
          </a:solidFill>
          <a:ln>
            <a:noFill/>
          </a:ln>
        </p:spPr>
        <p:txBody>
          <a:bodyPr spcFirstLastPara="1" wrap="square" lIns="0" tIns="27430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1" u="none" strike="noStrike" cap="none">
              <a:solidFill>
                <a:schemeClr val="lt1"/>
              </a:solidFill>
              <a:latin typeface="Calibri"/>
              <a:ea typeface="Calibri"/>
              <a:cs typeface="Calibri"/>
              <a:sym typeface="Calibri"/>
            </a:endParaRPr>
          </a:p>
        </p:txBody>
      </p:sp>
      <p:pic>
        <p:nvPicPr>
          <p:cNvPr id="1283" name="Google Shape;1283;p6"/>
          <p:cNvPicPr preferRelativeResize="0"/>
          <p:nvPr/>
        </p:nvPicPr>
        <p:blipFill rotWithShape="1">
          <a:blip r:embed="rId6">
            <a:alphaModFix/>
          </a:blip>
          <a:srcRect/>
          <a:stretch/>
        </p:blipFill>
        <p:spPr>
          <a:xfrm>
            <a:off x="-329807" y="0"/>
            <a:ext cx="3484098" cy="6858000"/>
          </a:xfrm>
          <a:custGeom>
            <a:avLst/>
            <a:gdLst/>
            <a:ahLst/>
            <a:cxnLst/>
            <a:rect l="l" t="t" r="r" b="b"/>
            <a:pathLst>
              <a:path w="2711987" h="5338200" extrusionOk="0">
                <a:moveTo>
                  <a:pt x="42887" y="0"/>
                </a:moveTo>
                <a:cubicBezTo>
                  <a:pt x="1516990" y="0"/>
                  <a:pt x="2711987" y="1194997"/>
                  <a:pt x="2711987" y="2669100"/>
                </a:cubicBezTo>
                <a:cubicBezTo>
                  <a:pt x="2711987" y="4143203"/>
                  <a:pt x="1516990" y="5338200"/>
                  <a:pt x="42887" y="5338200"/>
                </a:cubicBezTo>
                <a:lnTo>
                  <a:pt x="0" y="5336035"/>
                </a:lnTo>
                <a:lnTo>
                  <a:pt x="0" y="2166"/>
                </a:lnTo>
                <a:close/>
              </a:path>
            </a:pathLst>
          </a:custGeom>
          <a:noFill/>
          <a:ln>
            <a:noFill/>
          </a:ln>
        </p:spPr>
      </p:pic>
      <p:sp>
        <p:nvSpPr>
          <p:cNvPr id="1284" name="Google Shape;1284;p6"/>
          <p:cNvSpPr/>
          <p:nvPr/>
        </p:nvSpPr>
        <p:spPr>
          <a:xfrm>
            <a:off x="-329807" y="0"/>
            <a:ext cx="3484098" cy="6858000"/>
          </a:xfrm>
          <a:custGeom>
            <a:avLst/>
            <a:gdLst/>
            <a:ahLst/>
            <a:cxnLst/>
            <a:rect l="l" t="t" r="r" b="b"/>
            <a:pathLst>
              <a:path w="2711987" h="5338200" extrusionOk="0">
                <a:moveTo>
                  <a:pt x="42887" y="0"/>
                </a:moveTo>
                <a:cubicBezTo>
                  <a:pt x="1516990" y="0"/>
                  <a:pt x="2711987" y="1194997"/>
                  <a:pt x="2711987" y="2669100"/>
                </a:cubicBezTo>
                <a:cubicBezTo>
                  <a:pt x="2711987" y="4143203"/>
                  <a:pt x="1516990" y="5338200"/>
                  <a:pt x="42887" y="5338200"/>
                </a:cubicBezTo>
                <a:lnTo>
                  <a:pt x="0" y="5336035"/>
                </a:lnTo>
                <a:lnTo>
                  <a:pt x="0" y="2166"/>
                </a:lnTo>
                <a:close/>
              </a:path>
            </a:pathLst>
          </a:custGeom>
          <a:gradFill>
            <a:gsLst>
              <a:gs pos="0">
                <a:srgbClr val="062379">
                  <a:alpha val="94509"/>
                </a:srgbClr>
              </a:gs>
              <a:gs pos="25000">
                <a:srgbClr val="062379">
                  <a:alpha val="94509"/>
                </a:srgbClr>
              </a:gs>
              <a:gs pos="55000">
                <a:srgbClr val="0934B6">
                  <a:alpha val="84313"/>
                </a:srgbClr>
              </a:gs>
              <a:gs pos="73000">
                <a:srgbClr val="036DFF">
                  <a:alpha val="84313"/>
                </a:srgbClr>
              </a:gs>
              <a:gs pos="89000">
                <a:srgbClr val="43E1D3"/>
              </a:gs>
              <a:gs pos="100000">
                <a:srgbClr val="43E1D3"/>
              </a:gs>
            </a:gsLst>
            <a:lin ang="3000000" scaled="0"/>
          </a:gradFill>
          <a:ln>
            <a:noFill/>
          </a:ln>
        </p:spPr>
        <p:txBody>
          <a:bodyPr spcFirstLastPara="1" wrap="square" lIns="0" tIns="27430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1" u="none" strike="noStrike" cap="none">
              <a:solidFill>
                <a:schemeClr val="lt1"/>
              </a:solidFill>
              <a:latin typeface="Calibri"/>
              <a:ea typeface="Calibri"/>
              <a:cs typeface="Calibri"/>
              <a:sym typeface="Calibri"/>
            </a:endParaRPr>
          </a:p>
        </p:txBody>
      </p:sp>
      <p:sp>
        <p:nvSpPr>
          <p:cNvPr id="1294" name="Google Shape;1294;p6"/>
          <p:cNvSpPr txBox="1">
            <a:spLocks noGrp="1"/>
          </p:cNvSpPr>
          <p:nvPr>
            <p:ph type="title"/>
          </p:nvPr>
        </p:nvSpPr>
        <p:spPr>
          <a:xfrm>
            <a:off x="550864" y="2293145"/>
            <a:ext cx="2100150" cy="2492990"/>
          </a:xfrm>
          <a:prstGeom prst="rect">
            <a:avLst/>
          </a:prstGeom>
          <a:noFill/>
          <a:ln>
            <a:noFill/>
          </a:ln>
        </p:spPr>
        <p:txBody>
          <a:bodyPr spcFirstLastPara="1" wrap="square" lIns="0" tIns="0" rIns="0" bIns="0" anchor="t" anchorCtr="0">
            <a:spAutoFit/>
          </a:bodyPr>
          <a:lstStyle/>
          <a:p>
            <a:pPr marL="0" lvl="0" indent="0" rtl="0">
              <a:lnSpc>
                <a:spcPct val="90000"/>
              </a:lnSpc>
              <a:spcBef>
                <a:spcPts val="0"/>
              </a:spcBef>
              <a:spcAft>
                <a:spcPts val="0"/>
              </a:spcAft>
              <a:buClr>
                <a:schemeClr val="dk2"/>
              </a:buClr>
              <a:buSzPts val="3200"/>
              <a:buFont typeface="Franklin Gothic"/>
              <a:buNone/>
            </a:pPr>
            <a:r>
              <a:rPr lang="en-US" sz="3600" dirty="0">
                <a:solidFill>
                  <a:schemeClr val="bg1"/>
                </a:solidFill>
              </a:rPr>
              <a:t>Infomineo offers a diversified suite of services</a:t>
            </a:r>
            <a:endParaRPr sz="3600" dirty="0">
              <a:solidFill>
                <a:schemeClr val="bg1"/>
              </a:solidFill>
            </a:endParaRPr>
          </a:p>
        </p:txBody>
      </p:sp>
      <p:sp>
        <p:nvSpPr>
          <p:cNvPr id="1304" name="Google Shape;1304;p6"/>
          <p:cNvSpPr/>
          <p:nvPr/>
        </p:nvSpPr>
        <p:spPr>
          <a:xfrm>
            <a:off x="2905727" y="849287"/>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algn="ctr">
              <a:buClr>
                <a:srgbClr val="000000"/>
              </a:buClr>
              <a:buSzPts val="1800"/>
            </a:pPr>
            <a:endParaRPr>
              <a:solidFill>
                <a:schemeClr val="lt1"/>
              </a:solidFill>
              <a:latin typeface="Calibri"/>
              <a:cs typeface="Calibri"/>
              <a:sym typeface="Calibri"/>
            </a:endParaRPr>
          </a:p>
        </p:txBody>
      </p:sp>
      <p:sp>
        <p:nvSpPr>
          <p:cNvPr id="1308" name="Google Shape;1308;p6"/>
          <p:cNvSpPr/>
          <p:nvPr/>
        </p:nvSpPr>
        <p:spPr>
          <a:xfrm>
            <a:off x="3331397" y="2170595"/>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09" name="Google Shape;1309;p6"/>
          <p:cNvPicPr preferRelativeResize="0"/>
          <p:nvPr/>
        </p:nvPicPr>
        <p:blipFill rotWithShape="1">
          <a:blip r:embed="rId7">
            <a:alphaModFix/>
          </a:blip>
          <a:srcRect/>
          <a:stretch/>
        </p:blipFill>
        <p:spPr>
          <a:xfrm>
            <a:off x="3602507" y="2441705"/>
            <a:ext cx="465868" cy="465868"/>
          </a:xfrm>
          <a:prstGeom prst="rect">
            <a:avLst/>
          </a:prstGeom>
          <a:noFill/>
          <a:ln>
            <a:noFill/>
          </a:ln>
        </p:spPr>
      </p:pic>
      <p:sp>
        <p:nvSpPr>
          <p:cNvPr id="1311" name="Google Shape;1311;p6"/>
          <p:cNvSpPr/>
          <p:nvPr/>
        </p:nvSpPr>
        <p:spPr>
          <a:xfrm>
            <a:off x="3331397" y="3491903"/>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1312" name="Google Shape;1312;p6"/>
          <p:cNvGrpSpPr/>
          <p:nvPr/>
        </p:nvGrpSpPr>
        <p:grpSpPr>
          <a:xfrm>
            <a:off x="3728996" y="3731308"/>
            <a:ext cx="314264" cy="529278"/>
            <a:chOff x="6689308" y="2024976"/>
            <a:chExt cx="325986" cy="549024"/>
          </a:xfrm>
        </p:grpSpPr>
        <p:sp>
          <p:nvSpPr>
            <p:cNvPr id="1313" name="Google Shape;1313;p6"/>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4" name="Google Shape;1314;p6"/>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5" name="Google Shape;1315;p6"/>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6" name="Google Shape;1316;p6"/>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7" name="Google Shape;1317;p6"/>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8" name="Google Shape;1318;p6"/>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9" name="Google Shape;1319;p6"/>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0" name="Google Shape;1320;p6"/>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1" name="Google Shape;1321;p6"/>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2" name="Google Shape;1322;p6"/>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cxnSp>
        <p:nvCxnSpPr>
          <p:cNvPr id="1323" name="Google Shape;1323;p6"/>
          <p:cNvCxnSpPr>
            <a:cxnSpLocks/>
          </p:cNvCxnSpPr>
          <p:nvPr/>
        </p:nvCxnSpPr>
        <p:spPr>
          <a:xfrm>
            <a:off x="550864" y="2087115"/>
            <a:ext cx="540000" cy="0"/>
          </a:xfrm>
          <a:prstGeom prst="straightConnector1">
            <a:avLst/>
          </a:prstGeom>
          <a:noFill/>
          <a:ln w="38100" cap="flat" cmpd="sng">
            <a:solidFill>
              <a:schemeClr val="bg1"/>
            </a:solidFill>
            <a:prstDash val="solid"/>
            <a:miter lim="800000"/>
            <a:headEnd type="none" w="sm" len="sm"/>
            <a:tailEnd type="none" w="sm" len="sm"/>
          </a:ln>
        </p:spPr>
      </p:cxnSp>
      <p:sp>
        <p:nvSpPr>
          <p:cNvPr id="1286" name="Google Shape;1286;p6"/>
          <p:cNvSpPr/>
          <p:nvPr/>
        </p:nvSpPr>
        <p:spPr>
          <a:xfrm>
            <a:off x="7897729" y="1942850"/>
            <a:ext cx="747446" cy="747446"/>
          </a:xfrm>
          <a:prstGeom prst="ellipse">
            <a:avLst/>
          </a:prstGeom>
          <a:solidFill>
            <a:schemeClr val="lt1"/>
          </a:solidFill>
          <a:ln w="15875">
            <a:solidFill>
              <a:schemeClr val="tx2"/>
            </a:solid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89" name="Google Shape;1289;p6"/>
          <p:cNvSpPr/>
          <p:nvPr/>
        </p:nvSpPr>
        <p:spPr>
          <a:xfrm>
            <a:off x="7870805" y="2907696"/>
            <a:ext cx="747446" cy="747446"/>
          </a:xfrm>
          <a:prstGeom prst="ellipse">
            <a:avLst/>
          </a:prstGeom>
          <a:solidFill>
            <a:schemeClr val="lt1"/>
          </a:solidFill>
          <a:ln w="15875">
            <a:solidFill>
              <a:schemeClr val="tx2"/>
            </a:solid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91" name="Google Shape;1291;p6"/>
          <p:cNvSpPr/>
          <p:nvPr/>
        </p:nvSpPr>
        <p:spPr>
          <a:xfrm>
            <a:off x="8722413" y="1036321"/>
            <a:ext cx="2914931" cy="634020"/>
          </a:xfrm>
          <a:prstGeom prst="rect">
            <a:avLst/>
          </a:prstGeom>
          <a:noFill/>
          <a:ln>
            <a:noFill/>
          </a:ln>
        </p:spPr>
        <p:txBody>
          <a:bodyPr spcFirstLastPara="1" wrap="square" lIns="0" tIns="0" rIns="0" bIns="0" anchor="ctr" anchorCtr="0">
            <a:spAutoFit/>
          </a:bodyPr>
          <a:lstStyle/>
          <a:p>
            <a:pPr marL="0" marR="0" lvl="0" indent="0" algn="l" rtl="0">
              <a:lnSpc>
                <a:spcPct val="80000"/>
              </a:lnSpc>
              <a:spcBef>
                <a:spcPts val="0"/>
              </a:spcBef>
              <a:spcAft>
                <a:spcPts val="0"/>
              </a:spcAft>
              <a:buClr>
                <a:srgbClr val="000000"/>
              </a:buClr>
              <a:buSzPts val="2000"/>
              <a:buFont typeface="Arial"/>
              <a:buNone/>
            </a:pPr>
            <a:r>
              <a:rPr lang="en-US" sz="2000" i="0" u="none" strike="noStrike" cap="none" dirty="0">
                <a:solidFill>
                  <a:schemeClr val="dk1"/>
                </a:solidFill>
                <a:latin typeface="Franklin Gothic Demi" panose="020B0703020102020204" pitchFamily="34" charset="0"/>
                <a:ea typeface="Franklin Gothic"/>
                <a:cs typeface="Franklin Gothic"/>
                <a:sym typeface="Franklin Gothic"/>
              </a:rPr>
              <a:t>Desk research</a:t>
            </a:r>
            <a:endParaRPr sz="1400" i="0" u="none" strike="noStrike" cap="none" dirty="0">
              <a:solidFill>
                <a:srgbClr val="000000"/>
              </a:solidFill>
              <a:latin typeface="Franklin Gothic Demi" panose="020B0703020102020204" pitchFamily="34" charset="0"/>
              <a:ea typeface="Arial"/>
              <a:cs typeface="Arial"/>
              <a:sym typeface="Arial"/>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Getting insights through free and paid data sources</a:t>
            </a:r>
            <a:endParaRPr sz="1400" b="0" i="0" u="none" strike="noStrike" cap="none" dirty="0">
              <a:solidFill>
                <a:srgbClr val="000000"/>
              </a:solidFill>
              <a:latin typeface="Arial"/>
              <a:ea typeface="Arial"/>
              <a:cs typeface="Arial"/>
              <a:sym typeface="Arial"/>
            </a:endParaRPr>
          </a:p>
        </p:txBody>
      </p:sp>
      <p:sp>
        <p:nvSpPr>
          <p:cNvPr id="1292" name="Google Shape;1292;p6"/>
          <p:cNvSpPr/>
          <p:nvPr/>
        </p:nvSpPr>
        <p:spPr>
          <a:xfrm>
            <a:off x="8722413" y="2096513"/>
            <a:ext cx="3114302" cy="440120"/>
          </a:xfrm>
          <a:prstGeom prst="rect">
            <a:avLst/>
          </a:prstGeom>
          <a:noFill/>
          <a:ln>
            <a:noFill/>
          </a:ln>
        </p:spPr>
        <p:txBody>
          <a:bodyPr spcFirstLastPara="1" wrap="square" lIns="0" tIns="0" rIns="0" bIns="0" anchor="ctr" anchorCtr="0">
            <a:spAutoFit/>
          </a:bodyPr>
          <a:lstStyle/>
          <a:p>
            <a:pPr>
              <a:lnSpc>
                <a:spcPct val="80000"/>
              </a:lnSpc>
              <a:buClr>
                <a:srgbClr val="000000"/>
              </a:buClr>
              <a:buSzPts val="2000"/>
            </a:pPr>
            <a:r>
              <a:rPr lang="en-US" sz="2000" dirty="0">
                <a:solidFill>
                  <a:schemeClr val="dk1"/>
                </a:solidFill>
                <a:latin typeface="Franklin Gothic Demi" panose="020B0703020102020204" pitchFamily="34" charset="0"/>
                <a:sym typeface="Franklin Gothic"/>
              </a:rPr>
              <a:t>Primary research</a:t>
            </a:r>
            <a:endParaRPr sz="2000" dirty="0">
              <a:solidFill>
                <a:schemeClr val="dk1"/>
              </a:solidFill>
              <a:latin typeface="Franklin Gothic Demi" panose="020B0703020102020204" pitchFamily="34" charset="0"/>
              <a:sym typeface="Arial"/>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Building new data through cold calling</a:t>
            </a:r>
            <a:endParaRPr sz="1400" b="0" i="0" u="none" strike="noStrike" cap="none" dirty="0">
              <a:solidFill>
                <a:srgbClr val="000000"/>
              </a:solidFill>
              <a:latin typeface="Arial"/>
              <a:ea typeface="Arial"/>
              <a:cs typeface="Arial"/>
              <a:sym typeface="Arial"/>
            </a:endParaRPr>
          </a:p>
        </p:txBody>
      </p:sp>
      <p:sp>
        <p:nvSpPr>
          <p:cNvPr id="1293" name="Google Shape;1293;p6"/>
          <p:cNvSpPr/>
          <p:nvPr/>
        </p:nvSpPr>
        <p:spPr>
          <a:xfrm>
            <a:off x="8722413" y="2993422"/>
            <a:ext cx="2686733" cy="634020"/>
          </a:xfrm>
          <a:prstGeom prst="rect">
            <a:avLst/>
          </a:prstGeom>
          <a:noFill/>
          <a:ln>
            <a:noFill/>
          </a:ln>
        </p:spPr>
        <p:txBody>
          <a:bodyPr spcFirstLastPara="1" wrap="square" lIns="0" tIns="0" rIns="0" bIns="0" anchor="ctr" anchorCtr="0">
            <a:spAutoFit/>
          </a:bodyPr>
          <a:lstStyle/>
          <a:p>
            <a:pPr>
              <a:lnSpc>
                <a:spcPct val="80000"/>
              </a:lnSpc>
              <a:buClr>
                <a:srgbClr val="000000"/>
              </a:buClr>
              <a:buSzPts val="2000"/>
            </a:pPr>
            <a:r>
              <a:rPr lang="en-US" sz="2000" dirty="0">
                <a:solidFill>
                  <a:schemeClr val="dk1"/>
                </a:solidFill>
                <a:latin typeface="Franklin Gothic Demi" panose="020B0703020102020204" pitchFamily="34" charset="0"/>
                <a:sym typeface="Franklin Gothic"/>
              </a:rPr>
              <a:t>Tech enabled research</a:t>
            </a:r>
            <a:endParaRPr sz="2000" dirty="0">
              <a:solidFill>
                <a:schemeClr val="dk1"/>
              </a:solidFill>
              <a:latin typeface="Franklin Gothic Demi" panose="020B0703020102020204" pitchFamily="34" charset="0"/>
              <a:sym typeface="Calibri"/>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Using technology to generate data and insights</a:t>
            </a:r>
            <a:endParaRPr sz="1400" b="0" i="0" u="none" strike="noStrike" cap="none" dirty="0">
              <a:solidFill>
                <a:srgbClr val="000000"/>
              </a:solidFill>
              <a:latin typeface="Arial"/>
              <a:ea typeface="Arial"/>
              <a:cs typeface="Arial"/>
              <a:sym typeface="Arial"/>
            </a:endParaRPr>
          </a:p>
        </p:txBody>
      </p:sp>
      <p:sp>
        <p:nvSpPr>
          <p:cNvPr id="1295" name="Google Shape;1295;p6"/>
          <p:cNvSpPr txBox="1"/>
          <p:nvPr/>
        </p:nvSpPr>
        <p:spPr>
          <a:xfrm>
            <a:off x="4497444" y="3506338"/>
            <a:ext cx="3328000" cy="369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dirty="0">
                <a:solidFill>
                  <a:schemeClr val="accent2"/>
                </a:solidFill>
                <a:latin typeface="Franklin Gothic Demi" panose="020B0703020102020204" pitchFamily="34" charset="0"/>
                <a:sym typeface="Franklin Gothic"/>
              </a:rPr>
              <a:t>Business Translation</a:t>
            </a:r>
            <a:endParaRPr sz="2400" dirty="0">
              <a:solidFill>
                <a:schemeClr val="accent2"/>
              </a:solidFill>
              <a:latin typeface="Franklin Gothic Demi" panose="020B0703020102020204" pitchFamily="34" charset="0"/>
              <a:sym typeface="Arial"/>
            </a:endParaRPr>
          </a:p>
        </p:txBody>
      </p:sp>
      <p:sp>
        <p:nvSpPr>
          <p:cNvPr id="1296" name="Google Shape;1296;p6"/>
          <p:cNvSpPr txBox="1"/>
          <p:nvPr/>
        </p:nvSpPr>
        <p:spPr>
          <a:xfrm>
            <a:off x="4050003" y="939874"/>
            <a:ext cx="2646622" cy="369332"/>
          </a:xfrm>
          <a:prstGeom prst="rect">
            <a:avLst/>
          </a:prstGeom>
          <a:noFill/>
          <a:ln>
            <a:noFill/>
            <a:prstDash val="lgDash"/>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i="0" u="none" strike="noStrike" cap="none" dirty="0">
                <a:solidFill>
                  <a:schemeClr val="tx2"/>
                </a:solidFill>
                <a:latin typeface="Franklin Gothic Demi" panose="020B0703020102020204" pitchFamily="34" charset="0"/>
                <a:ea typeface="Franklin Gothic"/>
                <a:cs typeface="Franklin Gothic"/>
                <a:sym typeface="Franklin Gothic"/>
              </a:rPr>
              <a:t>Business Research </a:t>
            </a:r>
            <a:endParaRPr sz="1400" i="0" u="none" strike="noStrike" cap="none" dirty="0">
              <a:solidFill>
                <a:schemeClr val="tx2"/>
              </a:solidFill>
              <a:latin typeface="Franklin Gothic Demi" panose="020B0703020102020204" pitchFamily="34" charset="0"/>
              <a:ea typeface="Arial"/>
              <a:cs typeface="Arial"/>
              <a:sym typeface="Arial"/>
            </a:endParaRPr>
          </a:p>
        </p:txBody>
      </p:sp>
      <p:sp>
        <p:nvSpPr>
          <p:cNvPr id="1298" name="Google Shape;1298;p6"/>
          <p:cNvSpPr/>
          <p:nvPr/>
        </p:nvSpPr>
        <p:spPr>
          <a:xfrm>
            <a:off x="4050003" y="1385986"/>
            <a:ext cx="2310799" cy="409343"/>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Getting the right insights to make better decisions</a:t>
            </a:r>
            <a:endParaRPr sz="1400" b="0" i="0" u="none" strike="noStrike" cap="none" dirty="0">
              <a:solidFill>
                <a:srgbClr val="000000"/>
              </a:solidFill>
              <a:latin typeface="Arial"/>
              <a:ea typeface="Arial"/>
              <a:cs typeface="Arial"/>
              <a:sym typeface="Arial"/>
            </a:endParaRPr>
          </a:p>
        </p:txBody>
      </p:sp>
      <p:sp>
        <p:nvSpPr>
          <p:cNvPr id="1299" name="Google Shape;1299;p6"/>
          <p:cNvSpPr/>
          <p:nvPr/>
        </p:nvSpPr>
        <p:spPr>
          <a:xfrm>
            <a:off x="4497444" y="3889243"/>
            <a:ext cx="2708158" cy="614014"/>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Translating business content between languages without betraying the original message</a:t>
            </a:r>
            <a:endParaRPr sz="1400" b="0" i="0" u="none" strike="noStrike" cap="none" dirty="0">
              <a:solidFill>
                <a:srgbClr val="000000"/>
              </a:solidFill>
              <a:latin typeface="Arial"/>
              <a:ea typeface="Arial"/>
              <a:cs typeface="Arial"/>
              <a:sym typeface="Arial"/>
            </a:endParaRPr>
          </a:p>
        </p:txBody>
      </p:sp>
      <p:sp>
        <p:nvSpPr>
          <p:cNvPr id="1297" name="Google Shape;1297;p6"/>
          <p:cNvSpPr txBox="1"/>
          <p:nvPr/>
        </p:nvSpPr>
        <p:spPr>
          <a:xfrm>
            <a:off x="4497444" y="2282399"/>
            <a:ext cx="2613837"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i="0" u="none" strike="noStrike" cap="none" dirty="0">
                <a:solidFill>
                  <a:schemeClr val="accent2"/>
                </a:solidFill>
                <a:latin typeface="Franklin Gothic Demi" panose="020B0703020102020204" pitchFamily="34" charset="0"/>
                <a:ea typeface="Franklin Gothic"/>
                <a:cs typeface="Franklin Gothic"/>
                <a:sym typeface="Franklin Gothic"/>
              </a:rPr>
              <a:t>Graphic</a:t>
            </a:r>
            <a:r>
              <a:rPr lang="en-US" sz="2400" i="0" u="none" strike="noStrike" cap="none" dirty="0">
                <a:solidFill>
                  <a:schemeClr val="accent2"/>
                </a:solidFill>
                <a:latin typeface="Franklin Gothic"/>
                <a:ea typeface="Franklin Gothic"/>
                <a:cs typeface="Franklin Gothic"/>
                <a:sym typeface="Franklin Gothic"/>
              </a:rPr>
              <a:t> </a:t>
            </a:r>
            <a:r>
              <a:rPr lang="en-US" sz="2400" dirty="0">
                <a:solidFill>
                  <a:schemeClr val="accent2"/>
                </a:solidFill>
                <a:latin typeface="Franklin Gothic Demi" panose="020B0703020102020204" pitchFamily="34" charset="0"/>
                <a:sym typeface="Franklin Gothic"/>
              </a:rPr>
              <a:t>Design</a:t>
            </a:r>
            <a:endParaRPr sz="2400" dirty="0">
              <a:solidFill>
                <a:schemeClr val="accent2"/>
              </a:solidFill>
              <a:latin typeface="Franklin Gothic Demi" panose="020B0703020102020204" pitchFamily="34" charset="0"/>
              <a:sym typeface="Arial"/>
            </a:endParaRPr>
          </a:p>
        </p:txBody>
      </p:sp>
      <p:sp>
        <p:nvSpPr>
          <p:cNvPr id="1300" name="Google Shape;1300;p6"/>
          <p:cNvSpPr/>
          <p:nvPr/>
        </p:nvSpPr>
        <p:spPr>
          <a:xfrm>
            <a:off x="4497446" y="2657537"/>
            <a:ext cx="2536598" cy="409343"/>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Presenting messages in a meaningful and beautiful way</a:t>
            </a:r>
            <a:endParaRPr sz="1400" b="0" i="0" u="none" strike="noStrike" cap="none" dirty="0">
              <a:solidFill>
                <a:srgbClr val="000000"/>
              </a:solidFill>
              <a:latin typeface="Arial"/>
              <a:ea typeface="Arial"/>
              <a:cs typeface="Arial"/>
              <a:sym typeface="Arial"/>
            </a:endParaRPr>
          </a:p>
        </p:txBody>
      </p:sp>
      <p:cxnSp>
        <p:nvCxnSpPr>
          <p:cNvPr id="1303" name="Google Shape;1303;p6"/>
          <p:cNvCxnSpPr>
            <a:cxnSpLocks/>
            <a:stCxn id="1304" idx="6"/>
            <a:endCxn id="1325" idx="2"/>
          </p:cNvCxnSpPr>
          <p:nvPr/>
        </p:nvCxnSpPr>
        <p:spPr>
          <a:xfrm>
            <a:off x="3913815" y="1353331"/>
            <a:ext cx="3956990" cy="0"/>
          </a:xfrm>
          <a:prstGeom prst="straightConnector1">
            <a:avLst/>
          </a:prstGeom>
          <a:noFill/>
          <a:ln w="15875" cap="flat" cmpd="sng">
            <a:solidFill>
              <a:schemeClr val="tx2"/>
            </a:solidFill>
            <a:prstDash val="solid"/>
            <a:miter lim="800000"/>
            <a:headEnd type="none" w="sm" len="sm"/>
            <a:tailEnd type="none" w="sm" len="sm"/>
          </a:ln>
        </p:spPr>
      </p:cxnSp>
      <p:sp>
        <p:nvSpPr>
          <p:cNvPr id="1325" name="Google Shape;1325;p6"/>
          <p:cNvSpPr/>
          <p:nvPr/>
        </p:nvSpPr>
        <p:spPr>
          <a:xfrm>
            <a:off x="7870805" y="979608"/>
            <a:ext cx="747446" cy="747446"/>
          </a:xfrm>
          <a:prstGeom prst="ellipse">
            <a:avLst/>
          </a:prstGeom>
          <a:solidFill>
            <a:schemeClr val="lt1"/>
          </a:solidFill>
          <a:ln w="15875">
            <a:solidFill>
              <a:schemeClr val="tx2"/>
            </a:solid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cxnSp>
        <p:nvCxnSpPr>
          <p:cNvPr id="1327" name="Google Shape;1327;p6"/>
          <p:cNvCxnSpPr>
            <a:cxnSpLocks/>
            <a:endCxn id="1286" idx="2"/>
          </p:cNvCxnSpPr>
          <p:nvPr/>
        </p:nvCxnSpPr>
        <p:spPr>
          <a:xfrm rot="16200000" flipH="1">
            <a:off x="7314924" y="1733768"/>
            <a:ext cx="927380" cy="238230"/>
          </a:xfrm>
          <a:prstGeom prst="bentConnector2">
            <a:avLst/>
          </a:prstGeom>
          <a:noFill/>
          <a:ln w="15875" cap="flat" cmpd="sng">
            <a:solidFill>
              <a:schemeClr val="tx2"/>
            </a:solidFill>
            <a:prstDash val="solid"/>
            <a:miter lim="800000"/>
            <a:headEnd type="none" w="sm" len="sm"/>
            <a:tailEnd type="none" w="sm" len="sm"/>
          </a:ln>
        </p:spPr>
      </p:cxnSp>
      <p:cxnSp>
        <p:nvCxnSpPr>
          <p:cNvPr id="1329" name="Google Shape;1329;p6"/>
          <p:cNvCxnSpPr>
            <a:cxnSpLocks/>
            <a:endCxn id="1289" idx="2"/>
          </p:cNvCxnSpPr>
          <p:nvPr/>
        </p:nvCxnSpPr>
        <p:spPr>
          <a:xfrm rot="16200000" flipH="1">
            <a:off x="6798977" y="2209590"/>
            <a:ext cx="1932351" cy="211305"/>
          </a:xfrm>
          <a:prstGeom prst="bentConnector2">
            <a:avLst/>
          </a:prstGeom>
          <a:noFill/>
          <a:ln w="15875" cap="flat" cmpd="sng">
            <a:solidFill>
              <a:schemeClr val="tx2"/>
            </a:solidFill>
            <a:prstDash val="solid"/>
            <a:miter lim="800000"/>
            <a:headEnd type="none" w="sm" len="sm"/>
            <a:tailEnd type="none" w="sm" len="sm"/>
          </a:ln>
        </p:spPr>
      </p:cxnSp>
      <p:cxnSp>
        <p:nvCxnSpPr>
          <p:cNvPr id="1330" name="Google Shape;1330;p6"/>
          <p:cNvCxnSpPr>
            <a:cxnSpLocks/>
            <a:endCxn id="1325" idx="2"/>
          </p:cNvCxnSpPr>
          <p:nvPr/>
        </p:nvCxnSpPr>
        <p:spPr>
          <a:xfrm rot="16200000" flipH="1">
            <a:off x="7763021" y="1245546"/>
            <a:ext cx="4263" cy="211305"/>
          </a:xfrm>
          <a:prstGeom prst="bentConnector2">
            <a:avLst/>
          </a:prstGeom>
          <a:noFill/>
          <a:ln w="15875" cap="flat" cmpd="sng">
            <a:solidFill>
              <a:schemeClr val="tx2"/>
            </a:solidFill>
            <a:prstDash val="solid"/>
            <a:miter lim="800000"/>
            <a:headEnd type="none" w="sm" len="sm"/>
            <a:tailEnd type="none" w="sm" len="sm"/>
          </a:ln>
        </p:spPr>
      </p:cxnSp>
      <p:sp>
        <p:nvSpPr>
          <p:cNvPr id="3" name="Google Shape;1295;p6">
            <a:extLst>
              <a:ext uri="{FF2B5EF4-FFF2-40B4-BE49-F238E27FC236}">
                <a16:creationId xmlns:a16="http://schemas.microsoft.com/office/drawing/2014/main" id="{E81C51C5-B279-30D5-4D03-4E144C56F1D1}"/>
              </a:ext>
            </a:extLst>
          </p:cNvPr>
          <p:cNvSpPr txBox="1"/>
          <p:nvPr/>
        </p:nvSpPr>
        <p:spPr>
          <a:xfrm>
            <a:off x="4050003" y="4816996"/>
            <a:ext cx="3328000" cy="369330"/>
          </a:xfrm>
          <a:prstGeom prst="rect">
            <a:avLst/>
          </a:prstGeom>
          <a:noFill/>
          <a:ln>
            <a:noFill/>
            <a:prstDash val="lgDash"/>
          </a:ln>
        </p:spPr>
        <p:txBody>
          <a:bodyPr spcFirstLastPara="1" wrap="square" lIns="0" tIns="0" rIns="0" bIns="0" anchor="t" anchorCtr="0">
            <a:spAutoFit/>
          </a:bodyPr>
          <a:lstStyle>
            <a:defPPr>
              <a:defRPr lang="en-US"/>
            </a:defPPr>
            <a:lvl1pPr marR="0" lvl="0" indent="0">
              <a:lnSpc>
                <a:spcPct val="100000"/>
              </a:lnSpc>
              <a:spcBef>
                <a:spcPts val="0"/>
              </a:spcBef>
              <a:spcAft>
                <a:spcPts val="0"/>
              </a:spcAft>
              <a:buClr>
                <a:srgbClr val="000000"/>
              </a:buClr>
              <a:buSzPts val="2400"/>
              <a:buFont typeface="Arial"/>
              <a:buNone/>
              <a:defRPr sz="2400" i="0" u="none" strike="noStrike" cap="none">
                <a:solidFill>
                  <a:schemeClr val="tx2"/>
                </a:solidFill>
                <a:latin typeface="Franklin Gothic Demi" panose="020B0703020102020204" pitchFamily="34" charset="0"/>
                <a:ea typeface="Franklin Gothic"/>
                <a:cs typeface="Franklin Gothic"/>
              </a:defRPr>
            </a:lvl1pPr>
          </a:lstStyle>
          <a:p>
            <a:r>
              <a:rPr lang="en-US" dirty="0">
                <a:sym typeface="Franklin Gothic"/>
              </a:rPr>
              <a:t>Data Analytics</a:t>
            </a:r>
            <a:endParaRPr dirty="0">
              <a:sym typeface="Arial"/>
            </a:endParaRPr>
          </a:p>
        </p:txBody>
      </p:sp>
      <p:sp>
        <p:nvSpPr>
          <p:cNvPr id="4" name="Google Shape;1299;p6">
            <a:extLst>
              <a:ext uri="{FF2B5EF4-FFF2-40B4-BE49-F238E27FC236}">
                <a16:creationId xmlns:a16="http://schemas.microsoft.com/office/drawing/2014/main" id="{01B6645B-C46C-2F08-AE41-FA3EA18D1102}"/>
              </a:ext>
            </a:extLst>
          </p:cNvPr>
          <p:cNvSpPr/>
          <p:nvPr/>
        </p:nvSpPr>
        <p:spPr>
          <a:xfrm>
            <a:off x="4050003" y="5198760"/>
            <a:ext cx="2776296" cy="614014"/>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from cleaning the data to visualizing the model leveraging a full range of analytics capabilities </a:t>
            </a:r>
            <a:endParaRPr lang="en-US" sz="1400" b="0" i="0" u="none" strike="noStrike" cap="none" dirty="0">
              <a:solidFill>
                <a:srgbClr val="000000"/>
              </a:solidFill>
              <a:latin typeface="Arial"/>
              <a:ea typeface="Arial"/>
              <a:cs typeface="Arial"/>
              <a:sym typeface="Arial"/>
            </a:endParaRPr>
          </a:p>
        </p:txBody>
      </p:sp>
      <p:pic>
        <p:nvPicPr>
          <p:cNvPr id="10" name="Graphic 9">
            <a:extLst>
              <a:ext uri="{FF2B5EF4-FFF2-40B4-BE49-F238E27FC236}">
                <a16:creationId xmlns:a16="http://schemas.microsoft.com/office/drawing/2014/main" id="{CEF468C7-859E-BE1E-88D0-D95886230D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8527" y="1122087"/>
            <a:ext cx="462488" cy="462488"/>
          </a:xfrm>
          <a:prstGeom prst="rect">
            <a:avLst/>
          </a:prstGeom>
        </p:spPr>
      </p:pic>
      <p:sp>
        <p:nvSpPr>
          <p:cNvPr id="6" name="Google Shape;1311;p6">
            <a:extLst>
              <a:ext uri="{FF2B5EF4-FFF2-40B4-BE49-F238E27FC236}">
                <a16:creationId xmlns:a16="http://schemas.microsoft.com/office/drawing/2014/main" id="{5036B97D-2A3C-205D-F528-853E4BBEED0D}"/>
              </a:ext>
            </a:extLst>
          </p:cNvPr>
          <p:cNvSpPr/>
          <p:nvPr/>
        </p:nvSpPr>
        <p:spPr>
          <a:xfrm>
            <a:off x="2905727" y="4813212"/>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 name="Graphic 23">
            <a:extLst>
              <a:ext uri="{FF2B5EF4-FFF2-40B4-BE49-F238E27FC236}">
                <a16:creationId xmlns:a16="http://schemas.microsoft.com/office/drawing/2014/main" id="{E541C1BC-0A22-C9B5-41C4-0976F2126C1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59579" y="5052593"/>
            <a:ext cx="548220" cy="548220"/>
          </a:xfrm>
          <a:prstGeom prst="rect">
            <a:avLst/>
          </a:prstGeom>
        </p:spPr>
      </p:pic>
      <p:sp>
        <p:nvSpPr>
          <p:cNvPr id="39" name="Freeform: Shape 38">
            <a:extLst>
              <a:ext uri="{FF2B5EF4-FFF2-40B4-BE49-F238E27FC236}">
                <a16:creationId xmlns:a16="http://schemas.microsoft.com/office/drawing/2014/main" id="{E9F5F446-63BD-FF80-7F42-2EC282555866}"/>
              </a:ext>
            </a:extLst>
          </p:cNvPr>
          <p:cNvSpPr>
            <a:spLocks noChangeAspect="1"/>
          </p:cNvSpPr>
          <p:nvPr/>
        </p:nvSpPr>
        <p:spPr>
          <a:xfrm>
            <a:off x="8053014" y="2098199"/>
            <a:ext cx="436876" cy="436748"/>
          </a:xfrm>
          <a:custGeom>
            <a:avLst/>
            <a:gdLst>
              <a:gd name="connsiteX0" fmla="*/ 846782 w 1943056"/>
              <a:gd name="connsiteY0" fmla="*/ 1781273 h 1942479"/>
              <a:gd name="connsiteX1" fmla="*/ 846782 w 1943056"/>
              <a:gd name="connsiteY1" fmla="*/ 1813514 h 1942479"/>
              <a:gd name="connsiteX2" fmla="*/ 911265 w 1943056"/>
              <a:gd name="connsiteY2" fmla="*/ 1877996 h 1942479"/>
              <a:gd name="connsiteX3" fmla="*/ 1040229 w 1943056"/>
              <a:gd name="connsiteY3" fmla="*/ 1877996 h 1942479"/>
              <a:gd name="connsiteX4" fmla="*/ 1104712 w 1943056"/>
              <a:gd name="connsiteY4" fmla="*/ 1813514 h 1942479"/>
              <a:gd name="connsiteX5" fmla="*/ 1104712 w 1943056"/>
              <a:gd name="connsiteY5" fmla="*/ 1781273 h 1942479"/>
              <a:gd name="connsiteX6" fmla="*/ 846782 w 1943056"/>
              <a:gd name="connsiteY6" fmla="*/ 1652308 h 1942479"/>
              <a:gd name="connsiteX7" fmla="*/ 846782 w 1943056"/>
              <a:gd name="connsiteY7" fmla="*/ 1716790 h 1942479"/>
              <a:gd name="connsiteX8" fmla="*/ 1104712 w 1943056"/>
              <a:gd name="connsiteY8" fmla="*/ 1716790 h 1942479"/>
              <a:gd name="connsiteX9" fmla="*/ 1104712 w 1943056"/>
              <a:gd name="connsiteY9" fmla="*/ 1652308 h 1942479"/>
              <a:gd name="connsiteX10" fmla="*/ 1394883 w 1943056"/>
              <a:gd name="connsiteY10" fmla="*/ 1458861 h 1942479"/>
              <a:gd name="connsiteX11" fmla="*/ 1459365 w 1943056"/>
              <a:gd name="connsiteY11" fmla="*/ 1458861 h 1942479"/>
              <a:gd name="connsiteX12" fmla="*/ 1459365 w 1943056"/>
              <a:gd name="connsiteY12" fmla="*/ 1684549 h 1942479"/>
              <a:gd name="connsiteX13" fmla="*/ 1394883 w 1943056"/>
              <a:gd name="connsiteY13" fmla="*/ 1684549 h 1942479"/>
              <a:gd name="connsiteX14" fmla="*/ 943506 w 1943056"/>
              <a:gd name="connsiteY14" fmla="*/ 1426621 h 1942479"/>
              <a:gd name="connsiteX15" fmla="*/ 1007988 w 1943056"/>
              <a:gd name="connsiteY15" fmla="*/ 1426621 h 1942479"/>
              <a:gd name="connsiteX16" fmla="*/ 1007988 w 1943056"/>
              <a:gd name="connsiteY16" fmla="*/ 1523344 h 1942479"/>
              <a:gd name="connsiteX17" fmla="*/ 943506 w 1943056"/>
              <a:gd name="connsiteY17" fmla="*/ 1523344 h 1942479"/>
              <a:gd name="connsiteX18" fmla="*/ 1576733 w 1943056"/>
              <a:gd name="connsiteY18" fmla="*/ 1369626 h 1942479"/>
              <a:gd name="connsiteX19" fmla="*/ 1770189 w 1943056"/>
              <a:gd name="connsiteY19" fmla="*/ 1530808 h 1942479"/>
              <a:gd name="connsiteX20" fmla="*/ 1728914 w 1943056"/>
              <a:gd name="connsiteY20" fmla="*/ 1580349 h 1942479"/>
              <a:gd name="connsiteX21" fmla="*/ 1535457 w 1943056"/>
              <a:gd name="connsiteY21" fmla="*/ 1419167 h 1942479"/>
              <a:gd name="connsiteX22" fmla="*/ 1588330 w 1943056"/>
              <a:gd name="connsiteY22" fmla="*/ 1200932 h 1942479"/>
              <a:gd name="connsiteX23" fmla="*/ 1814018 w 1943056"/>
              <a:gd name="connsiteY23" fmla="*/ 1200932 h 1942479"/>
              <a:gd name="connsiteX24" fmla="*/ 1814018 w 1943056"/>
              <a:gd name="connsiteY24" fmla="*/ 1265414 h 1942479"/>
              <a:gd name="connsiteX25" fmla="*/ 1588330 w 1943056"/>
              <a:gd name="connsiteY25" fmla="*/ 1265414 h 1942479"/>
              <a:gd name="connsiteX26" fmla="*/ 419135 w 1943056"/>
              <a:gd name="connsiteY26" fmla="*/ 1007484 h 1942479"/>
              <a:gd name="connsiteX27" fmla="*/ 297702 w 1943056"/>
              <a:gd name="connsiteY27" fmla="*/ 1092666 h 1942479"/>
              <a:gd name="connsiteX28" fmla="*/ 375281 w 1943056"/>
              <a:gd name="connsiteY28" fmla="*/ 1257425 h 1942479"/>
              <a:gd name="connsiteX29" fmla="*/ 540040 w 1943056"/>
              <a:gd name="connsiteY29" fmla="*/ 1179846 h 1942479"/>
              <a:gd name="connsiteX30" fmla="*/ 420360 w 1943056"/>
              <a:gd name="connsiteY30" fmla="*/ 1007484 h 1942479"/>
              <a:gd name="connsiteX31" fmla="*/ 419135 w 1943056"/>
              <a:gd name="connsiteY31" fmla="*/ 1007484 h 1942479"/>
              <a:gd name="connsiteX32" fmla="*/ 369580 w 1943056"/>
              <a:gd name="connsiteY32" fmla="*/ 835445 h 1942479"/>
              <a:gd name="connsiteX33" fmla="*/ 363938 w 1943056"/>
              <a:gd name="connsiteY33" fmla="*/ 862270 h 1942479"/>
              <a:gd name="connsiteX34" fmla="*/ 353956 w 1943056"/>
              <a:gd name="connsiteY34" fmla="*/ 885555 h 1942479"/>
              <a:gd name="connsiteX35" fmla="*/ 264281 w 1943056"/>
              <a:gd name="connsiteY35" fmla="*/ 902120 h 1942479"/>
              <a:gd name="connsiteX36" fmla="*/ 197251 w 1943056"/>
              <a:gd name="connsiteY36" fmla="*/ 855951 h 1942479"/>
              <a:gd name="connsiteX37" fmla="*/ 138508 w 1943056"/>
              <a:gd name="connsiteY37" fmla="*/ 914565 h 1942479"/>
              <a:gd name="connsiteX38" fmla="*/ 184677 w 1943056"/>
              <a:gd name="connsiteY38" fmla="*/ 981691 h 1942479"/>
              <a:gd name="connsiteX39" fmla="*/ 194564 w 1943056"/>
              <a:gd name="connsiteY39" fmla="*/ 1004766 h 1942479"/>
              <a:gd name="connsiteX40" fmla="*/ 144859 w 1943056"/>
              <a:gd name="connsiteY40" fmla="*/ 1081220 h 1942479"/>
              <a:gd name="connsiteX41" fmla="*/ 64482 w 1943056"/>
              <a:gd name="connsiteY41" fmla="*/ 1098147 h 1942479"/>
              <a:gd name="connsiteX42" fmla="*/ 64482 w 1943056"/>
              <a:gd name="connsiteY42" fmla="*/ 1174752 h 1942479"/>
              <a:gd name="connsiteX43" fmla="*/ 144859 w 1943056"/>
              <a:gd name="connsiteY43" fmla="*/ 1191678 h 1942479"/>
              <a:gd name="connsiteX44" fmla="*/ 168196 w 1943056"/>
              <a:gd name="connsiteY44" fmla="*/ 1201705 h 1942479"/>
              <a:gd name="connsiteX45" fmla="*/ 184645 w 1943056"/>
              <a:gd name="connsiteY45" fmla="*/ 1291400 h 1942479"/>
              <a:gd name="connsiteX46" fmla="*/ 138508 w 1943056"/>
              <a:gd name="connsiteY46" fmla="*/ 1358333 h 1942479"/>
              <a:gd name="connsiteX47" fmla="*/ 197251 w 1943056"/>
              <a:gd name="connsiteY47" fmla="*/ 1416947 h 1942479"/>
              <a:gd name="connsiteX48" fmla="*/ 264248 w 1943056"/>
              <a:gd name="connsiteY48" fmla="*/ 1370907 h 1942479"/>
              <a:gd name="connsiteX49" fmla="*/ 287559 w 1943056"/>
              <a:gd name="connsiteY49" fmla="*/ 1360903 h 1942479"/>
              <a:gd name="connsiteX50" fmla="*/ 363938 w 1943056"/>
              <a:gd name="connsiteY50" fmla="*/ 1410725 h 1942479"/>
              <a:gd name="connsiteX51" fmla="*/ 380833 w 1943056"/>
              <a:gd name="connsiteY51" fmla="*/ 1491102 h 1942479"/>
              <a:gd name="connsiteX52" fmla="*/ 457470 w 1943056"/>
              <a:gd name="connsiteY52" fmla="*/ 1491102 h 1942479"/>
              <a:gd name="connsiteX53" fmla="*/ 474364 w 1943056"/>
              <a:gd name="connsiteY53" fmla="*/ 1410596 h 1942479"/>
              <a:gd name="connsiteX54" fmla="*/ 484369 w 1943056"/>
              <a:gd name="connsiteY54" fmla="*/ 1387286 h 1942479"/>
              <a:gd name="connsiteX55" fmla="*/ 574054 w 1943056"/>
              <a:gd name="connsiteY55" fmla="*/ 1370778 h 1942479"/>
              <a:gd name="connsiteX56" fmla="*/ 641019 w 1943056"/>
              <a:gd name="connsiteY56" fmla="*/ 1416947 h 1942479"/>
              <a:gd name="connsiteX57" fmla="*/ 710176 w 1943056"/>
              <a:gd name="connsiteY57" fmla="*/ 1347919 h 1942479"/>
              <a:gd name="connsiteX58" fmla="*/ 645210 w 1943056"/>
              <a:gd name="connsiteY58" fmla="*/ 1265414 h 1942479"/>
              <a:gd name="connsiteX59" fmla="*/ 590110 w 1943056"/>
              <a:gd name="connsiteY59" fmla="*/ 1225274 h 1942479"/>
              <a:gd name="connsiteX60" fmla="*/ 440949 w 1943056"/>
              <a:gd name="connsiteY60" fmla="*/ 1328948 h 1942479"/>
              <a:gd name="connsiteX61" fmla="*/ 225962 w 1943056"/>
              <a:gd name="connsiteY61" fmla="*/ 1159763 h 1942479"/>
              <a:gd name="connsiteX62" fmla="*/ 395148 w 1943056"/>
              <a:gd name="connsiteY62" fmla="*/ 944775 h 1942479"/>
              <a:gd name="connsiteX63" fmla="*/ 369580 w 1943056"/>
              <a:gd name="connsiteY63" fmla="*/ 835445 h 1942479"/>
              <a:gd name="connsiteX64" fmla="*/ 290864 w 1943056"/>
              <a:gd name="connsiteY64" fmla="*/ 492589 h 1942479"/>
              <a:gd name="connsiteX65" fmla="*/ 306496 w 1943056"/>
              <a:gd name="connsiteY65" fmla="*/ 555116 h 1942479"/>
              <a:gd name="connsiteX66" fmla="*/ 48571 w 1943056"/>
              <a:gd name="connsiteY66" fmla="*/ 619596 h 1942479"/>
              <a:gd name="connsiteX67" fmla="*/ 32940 w 1943056"/>
              <a:gd name="connsiteY67" fmla="*/ 557070 h 1942479"/>
              <a:gd name="connsiteX68" fmla="*/ 1386372 w 1943056"/>
              <a:gd name="connsiteY68" fmla="*/ 371172 h 1942479"/>
              <a:gd name="connsiteX69" fmla="*/ 1192924 w 1943056"/>
              <a:gd name="connsiteY69" fmla="*/ 564620 h 1942479"/>
              <a:gd name="connsiteX70" fmla="*/ 1386372 w 1943056"/>
              <a:gd name="connsiteY70" fmla="*/ 758067 h 1942479"/>
              <a:gd name="connsiteX71" fmla="*/ 1579819 w 1943056"/>
              <a:gd name="connsiteY71" fmla="*/ 564620 h 1942479"/>
              <a:gd name="connsiteX72" fmla="*/ 1386372 w 1943056"/>
              <a:gd name="connsiteY72" fmla="*/ 371172 h 1942479"/>
              <a:gd name="connsiteX73" fmla="*/ 734939 w 1943056"/>
              <a:gd name="connsiteY73" fmla="*/ 367626 h 1942479"/>
              <a:gd name="connsiteX74" fmla="*/ 769404 w 1943056"/>
              <a:gd name="connsiteY74" fmla="*/ 422178 h 1942479"/>
              <a:gd name="connsiteX75" fmla="*/ 615134 w 1943056"/>
              <a:gd name="connsiteY75" fmla="*/ 608828 h 1942479"/>
              <a:gd name="connsiteX76" fmla="*/ 834725 w 1943056"/>
              <a:gd name="connsiteY76" fmla="*/ 1109980 h 1942479"/>
              <a:gd name="connsiteX77" fmla="*/ 1007989 w 1943056"/>
              <a:gd name="connsiteY77" fmla="*/ 1362138 h 1942479"/>
              <a:gd name="connsiteX78" fmla="*/ 943507 w 1943056"/>
              <a:gd name="connsiteY78" fmla="*/ 1362138 h 1942479"/>
              <a:gd name="connsiteX79" fmla="*/ 811318 w 1943056"/>
              <a:gd name="connsiteY79" fmla="*/ 1169981 h 1942479"/>
              <a:gd name="connsiteX80" fmla="*/ 593625 w 1943056"/>
              <a:gd name="connsiteY80" fmla="*/ 990130 h 1942479"/>
              <a:gd name="connsiteX81" fmla="*/ 734939 w 1943056"/>
              <a:gd name="connsiteY81" fmla="*/ 367626 h 1942479"/>
              <a:gd name="connsiteX82" fmla="*/ 1386372 w 1943056"/>
              <a:gd name="connsiteY82" fmla="*/ 306690 h 1942479"/>
              <a:gd name="connsiteX83" fmla="*/ 1644302 w 1943056"/>
              <a:gd name="connsiteY83" fmla="*/ 564620 h 1942479"/>
              <a:gd name="connsiteX84" fmla="*/ 1386372 w 1943056"/>
              <a:gd name="connsiteY84" fmla="*/ 822550 h 1942479"/>
              <a:gd name="connsiteX85" fmla="*/ 1128442 w 1943056"/>
              <a:gd name="connsiteY85" fmla="*/ 564620 h 1942479"/>
              <a:gd name="connsiteX86" fmla="*/ 1386372 w 1943056"/>
              <a:gd name="connsiteY86" fmla="*/ 306690 h 1942479"/>
              <a:gd name="connsiteX87" fmla="*/ 123953 w 1943056"/>
              <a:gd name="connsiteY87" fmla="*/ 175258 h 1942479"/>
              <a:gd name="connsiteX88" fmla="*/ 349632 w 1943056"/>
              <a:gd name="connsiteY88" fmla="*/ 336460 h 1942479"/>
              <a:gd name="connsiteX89" fmla="*/ 312171 w 1943056"/>
              <a:gd name="connsiteY89" fmla="*/ 388905 h 1942479"/>
              <a:gd name="connsiteX90" fmla="*/ 86491 w 1943056"/>
              <a:gd name="connsiteY90" fmla="*/ 227703 h 1942479"/>
              <a:gd name="connsiteX91" fmla="*/ 1390981 w 1943056"/>
              <a:gd name="connsiteY91" fmla="*/ 76746 h 1942479"/>
              <a:gd name="connsiteX92" fmla="*/ 1377633 w 1943056"/>
              <a:gd name="connsiteY92" fmla="*/ 170245 h 1942479"/>
              <a:gd name="connsiteX93" fmla="*/ 1339908 w 1943056"/>
              <a:gd name="connsiteY93" fmla="*/ 233938 h 1942479"/>
              <a:gd name="connsiteX94" fmla="*/ 1204498 w 1943056"/>
              <a:gd name="connsiteY94" fmla="*/ 214577 h 1942479"/>
              <a:gd name="connsiteX95" fmla="*/ 1147818 w 1943056"/>
              <a:gd name="connsiteY95" fmla="*/ 139036 h 1942479"/>
              <a:gd name="connsiteX96" fmla="*/ 1044646 w 1943056"/>
              <a:gd name="connsiteY96" fmla="*/ 216415 h 1942479"/>
              <a:gd name="connsiteX97" fmla="*/ 1101488 w 1943056"/>
              <a:gd name="connsiteY97" fmla="*/ 292020 h 1942479"/>
              <a:gd name="connsiteX98" fmla="*/ 1119862 w 1943056"/>
              <a:gd name="connsiteY98" fmla="*/ 363773 h 1942479"/>
              <a:gd name="connsiteX99" fmla="*/ 1010406 w 1943056"/>
              <a:gd name="connsiteY99" fmla="*/ 445811 h 1942479"/>
              <a:gd name="connsiteX100" fmla="*/ 916907 w 1943056"/>
              <a:gd name="connsiteY100" fmla="*/ 432463 h 1942479"/>
              <a:gd name="connsiteX101" fmla="*/ 898658 w 1943056"/>
              <a:gd name="connsiteY101" fmla="*/ 560106 h 1942479"/>
              <a:gd name="connsiteX102" fmla="*/ 992158 w 1943056"/>
              <a:gd name="connsiteY102" fmla="*/ 573453 h 1942479"/>
              <a:gd name="connsiteX103" fmla="*/ 1055850 w 1943056"/>
              <a:gd name="connsiteY103" fmla="*/ 611179 h 1942479"/>
              <a:gd name="connsiteX104" fmla="*/ 1036489 w 1943056"/>
              <a:gd name="connsiteY104" fmla="*/ 746589 h 1942479"/>
              <a:gd name="connsiteX105" fmla="*/ 960980 w 1943056"/>
              <a:gd name="connsiteY105" fmla="*/ 803269 h 1942479"/>
              <a:gd name="connsiteX106" fmla="*/ 1038359 w 1943056"/>
              <a:gd name="connsiteY106" fmla="*/ 906440 h 1942479"/>
              <a:gd name="connsiteX107" fmla="*/ 1113900 w 1943056"/>
              <a:gd name="connsiteY107" fmla="*/ 849793 h 1942479"/>
              <a:gd name="connsiteX108" fmla="*/ 1185653 w 1943056"/>
              <a:gd name="connsiteY108" fmla="*/ 831418 h 1942479"/>
              <a:gd name="connsiteX109" fmla="*/ 1267691 w 1943056"/>
              <a:gd name="connsiteY109" fmla="*/ 940874 h 1942479"/>
              <a:gd name="connsiteX110" fmla="*/ 1254343 w 1943056"/>
              <a:gd name="connsiteY110" fmla="*/ 1034373 h 1942479"/>
              <a:gd name="connsiteX111" fmla="*/ 1381986 w 1943056"/>
              <a:gd name="connsiteY111" fmla="*/ 1052622 h 1942479"/>
              <a:gd name="connsiteX112" fmla="*/ 1395044 w 1943056"/>
              <a:gd name="connsiteY112" fmla="*/ 958994 h 1942479"/>
              <a:gd name="connsiteX113" fmla="*/ 1432769 w 1943056"/>
              <a:gd name="connsiteY113" fmla="*/ 895301 h 1942479"/>
              <a:gd name="connsiteX114" fmla="*/ 1568179 w 1943056"/>
              <a:gd name="connsiteY114" fmla="*/ 914662 h 1942479"/>
              <a:gd name="connsiteX115" fmla="*/ 1624859 w 1943056"/>
              <a:gd name="connsiteY115" fmla="*/ 990171 h 1942479"/>
              <a:gd name="connsiteX116" fmla="*/ 1728031 w 1943056"/>
              <a:gd name="connsiteY116" fmla="*/ 912792 h 1942479"/>
              <a:gd name="connsiteX117" fmla="*/ 1671383 w 1943056"/>
              <a:gd name="connsiteY117" fmla="*/ 837251 h 1942479"/>
              <a:gd name="connsiteX118" fmla="*/ 1653005 w 1943056"/>
              <a:gd name="connsiteY118" fmla="*/ 765540 h 1942479"/>
              <a:gd name="connsiteX119" fmla="*/ 1762432 w 1943056"/>
              <a:gd name="connsiteY119" fmla="*/ 683460 h 1942479"/>
              <a:gd name="connsiteX120" fmla="*/ 1855931 w 1943056"/>
              <a:gd name="connsiteY120" fmla="*/ 696808 h 1942479"/>
              <a:gd name="connsiteX121" fmla="*/ 1874277 w 1943056"/>
              <a:gd name="connsiteY121" fmla="*/ 569198 h 1942479"/>
              <a:gd name="connsiteX122" fmla="*/ 1780777 w 1943056"/>
              <a:gd name="connsiteY122" fmla="*/ 555850 h 1942479"/>
              <a:gd name="connsiteX123" fmla="*/ 1717085 w 1943056"/>
              <a:gd name="connsiteY123" fmla="*/ 518124 h 1942479"/>
              <a:gd name="connsiteX124" fmla="*/ 1736446 w 1943056"/>
              <a:gd name="connsiteY124" fmla="*/ 382715 h 1942479"/>
              <a:gd name="connsiteX125" fmla="*/ 1811987 w 1943056"/>
              <a:gd name="connsiteY125" fmla="*/ 326035 h 1942479"/>
              <a:gd name="connsiteX126" fmla="*/ 1734608 w 1943056"/>
              <a:gd name="connsiteY126" fmla="*/ 222863 h 1942479"/>
              <a:gd name="connsiteX127" fmla="*/ 1659067 w 1943056"/>
              <a:gd name="connsiteY127" fmla="*/ 279511 h 1942479"/>
              <a:gd name="connsiteX128" fmla="*/ 1587356 w 1943056"/>
              <a:gd name="connsiteY128" fmla="*/ 297888 h 1942479"/>
              <a:gd name="connsiteX129" fmla="*/ 1505276 w 1943056"/>
              <a:gd name="connsiteY129" fmla="*/ 188461 h 1942479"/>
              <a:gd name="connsiteX130" fmla="*/ 1518624 w 1943056"/>
              <a:gd name="connsiteY130" fmla="*/ 94962 h 1942479"/>
              <a:gd name="connsiteX131" fmla="*/ 1368154 w 1943056"/>
              <a:gd name="connsiteY131" fmla="*/ 8330 h 1942479"/>
              <a:gd name="connsiteX132" fmla="*/ 1559538 w 1943056"/>
              <a:gd name="connsiteY132" fmla="*/ 35670 h 1942479"/>
              <a:gd name="connsiteX133" fmla="*/ 1559574 w 1943056"/>
              <a:gd name="connsiteY133" fmla="*/ 35676 h 1942479"/>
              <a:gd name="connsiteX134" fmla="*/ 1586911 w 1943056"/>
              <a:gd name="connsiteY134" fmla="*/ 72167 h 1942479"/>
              <a:gd name="connsiteX135" fmla="*/ 1568985 w 1943056"/>
              <a:gd name="connsiteY135" fmla="*/ 197586 h 1942479"/>
              <a:gd name="connsiteX136" fmla="*/ 1575204 w 1943056"/>
              <a:gd name="connsiteY136" fmla="*/ 221729 h 1942479"/>
              <a:gd name="connsiteX137" fmla="*/ 1620377 w 1943056"/>
              <a:gd name="connsiteY137" fmla="*/ 227925 h 1942479"/>
              <a:gd name="connsiteX138" fmla="*/ 1721711 w 1943056"/>
              <a:gd name="connsiteY138" fmla="*/ 151900 h 1942479"/>
              <a:gd name="connsiteX139" fmla="*/ 1766849 w 1943056"/>
              <a:gd name="connsiteY139" fmla="*/ 158348 h 1942479"/>
              <a:gd name="connsiteX140" fmla="*/ 1882917 w 1943056"/>
              <a:gd name="connsiteY140" fmla="*/ 313106 h 1942479"/>
              <a:gd name="connsiteX141" fmla="*/ 1876469 w 1943056"/>
              <a:gd name="connsiteY141" fmla="*/ 358244 h 1942479"/>
              <a:gd name="connsiteX142" fmla="*/ 1775103 w 1943056"/>
              <a:gd name="connsiteY142" fmla="*/ 434268 h 1942479"/>
              <a:gd name="connsiteX143" fmla="*/ 1762529 w 1943056"/>
              <a:gd name="connsiteY143" fmla="*/ 455515 h 1942479"/>
              <a:gd name="connsiteX144" fmla="*/ 1789901 w 1943056"/>
              <a:gd name="connsiteY144" fmla="*/ 491980 h 1942479"/>
              <a:gd name="connsiteX145" fmla="*/ 1915320 w 1943056"/>
              <a:gd name="connsiteY145" fmla="*/ 509874 h 1942479"/>
              <a:gd name="connsiteX146" fmla="*/ 1915384 w 1943056"/>
              <a:gd name="connsiteY146" fmla="*/ 509938 h 1942479"/>
              <a:gd name="connsiteX147" fmla="*/ 1915394 w 1943056"/>
              <a:gd name="connsiteY147" fmla="*/ 509938 h 1942479"/>
              <a:gd name="connsiteX148" fmla="*/ 1942725 w 1943056"/>
              <a:gd name="connsiteY148" fmla="*/ 546435 h 1942479"/>
              <a:gd name="connsiteX149" fmla="*/ 1915384 w 1943056"/>
              <a:gd name="connsiteY149" fmla="*/ 737948 h 1942479"/>
              <a:gd name="connsiteX150" fmla="*/ 1915384 w 1943056"/>
              <a:gd name="connsiteY150" fmla="*/ 737958 h 1942479"/>
              <a:gd name="connsiteX151" fmla="*/ 1878887 w 1943056"/>
              <a:gd name="connsiteY151" fmla="*/ 765289 h 1942479"/>
              <a:gd name="connsiteX152" fmla="*/ 1753469 w 1943056"/>
              <a:gd name="connsiteY152" fmla="*/ 747395 h 1942479"/>
              <a:gd name="connsiteX153" fmla="*/ 1721228 w 1943056"/>
              <a:gd name="connsiteY153" fmla="*/ 762870 h 1942479"/>
              <a:gd name="connsiteX154" fmla="*/ 1723162 w 1943056"/>
              <a:gd name="connsiteY154" fmla="*/ 798658 h 1942479"/>
              <a:gd name="connsiteX155" fmla="*/ 1799155 w 1943056"/>
              <a:gd name="connsiteY155" fmla="*/ 899992 h 1942479"/>
              <a:gd name="connsiteX156" fmla="*/ 1792706 w 1943056"/>
              <a:gd name="connsiteY156" fmla="*/ 945130 h 1942479"/>
              <a:gd name="connsiteX157" fmla="*/ 1637949 w 1943056"/>
              <a:gd name="connsiteY157" fmla="*/ 1061198 h 1942479"/>
              <a:gd name="connsiteX158" fmla="*/ 1592811 w 1943056"/>
              <a:gd name="connsiteY158" fmla="*/ 1054750 h 1942479"/>
              <a:gd name="connsiteX159" fmla="*/ 1516786 w 1943056"/>
              <a:gd name="connsiteY159" fmla="*/ 953416 h 1942479"/>
              <a:gd name="connsiteX160" fmla="*/ 1495539 w 1943056"/>
              <a:gd name="connsiteY160" fmla="*/ 940842 h 1942479"/>
              <a:gd name="connsiteX161" fmla="*/ 1459075 w 1943056"/>
              <a:gd name="connsiteY161" fmla="*/ 968215 h 1942479"/>
              <a:gd name="connsiteX162" fmla="*/ 1441181 w 1943056"/>
              <a:gd name="connsiteY162" fmla="*/ 1093633 h 1942479"/>
              <a:gd name="connsiteX163" fmla="*/ 1409230 w 1943056"/>
              <a:gd name="connsiteY163" fmla="*/ 1121296 h 1942479"/>
              <a:gd name="connsiteX164" fmla="*/ 1404684 w 1943056"/>
              <a:gd name="connsiteY164" fmla="*/ 1121006 h 1942479"/>
              <a:gd name="connsiteX165" fmla="*/ 1213171 w 1943056"/>
              <a:gd name="connsiteY165" fmla="*/ 1093633 h 1942479"/>
              <a:gd name="connsiteX166" fmla="*/ 1213161 w 1943056"/>
              <a:gd name="connsiteY166" fmla="*/ 1093633 h 1942479"/>
              <a:gd name="connsiteX167" fmla="*/ 1185830 w 1943056"/>
              <a:gd name="connsiteY167" fmla="*/ 1057136 h 1942479"/>
              <a:gd name="connsiteX168" fmla="*/ 1203724 w 1943056"/>
              <a:gd name="connsiteY168" fmla="*/ 931718 h 1942479"/>
              <a:gd name="connsiteX169" fmla="*/ 1197621 w 1943056"/>
              <a:gd name="connsiteY169" fmla="*/ 907891 h 1942479"/>
              <a:gd name="connsiteX170" fmla="*/ 1152493 w 1943056"/>
              <a:gd name="connsiteY170" fmla="*/ 901379 h 1942479"/>
              <a:gd name="connsiteX171" fmla="*/ 1051127 w 1943056"/>
              <a:gd name="connsiteY171" fmla="*/ 977371 h 1942479"/>
              <a:gd name="connsiteX172" fmla="*/ 1005989 w 1943056"/>
              <a:gd name="connsiteY172" fmla="*/ 970923 h 1942479"/>
              <a:gd name="connsiteX173" fmla="*/ 889921 w 1943056"/>
              <a:gd name="connsiteY173" fmla="*/ 816165 h 1942479"/>
              <a:gd name="connsiteX174" fmla="*/ 896369 w 1943056"/>
              <a:gd name="connsiteY174" fmla="*/ 771027 h 1942479"/>
              <a:gd name="connsiteX175" fmla="*/ 997703 w 1943056"/>
              <a:gd name="connsiteY175" fmla="*/ 695035 h 1942479"/>
              <a:gd name="connsiteX176" fmla="*/ 1010277 w 1943056"/>
              <a:gd name="connsiteY176" fmla="*/ 673788 h 1942479"/>
              <a:gd name="connsiteX177" fmla="*/ 982904 w 1943056"/>
              <a:gd name="connsiteY177" fmla="*/ 637323 h 1942479"/>
              <a:gd name="connsiteX178" fmla="*/ 857486 w 1943056"/>
              <a:gd name="connsiteY178" fmla="*/ 619397 h 1942479"/>
              <a:gd name="connsiteX179" fmla="*/ 857451 w 1943056"/>
              <a:gd name="connsiteY179" fmla="*/ 619391 h 1942479"/>
              <a:gd name="connsiteX180" fmla="*/ 830113 w 1943056"/>
              <a:gd name="connsiteY180" fmla="*/ 582900 h 1942479"/>
              <a:gd name="connsiteX181" fmla="*/ 857486 w 1943056"/>
              <a:gd name="connsiteY181" fmla="*/ 391420 h 1942479"/>
              <a:gd name="connsiteX182" fmla="*/ 857493 w 1943056"/>
              <a:gd name="connsiteY182" fmla="*/ 391384 h 1942479"/>
              <a:gd name="connsiteX183" fmla="*/ 893983 w 1943056"/>
              <a:gd name="connsiteY183" fmla="*/ 364047 h 1942479"/>
              <a:gd name="connsiteX184" fmla="*/ 1019402 w 1943056"/>
              <a:gd name="connsiteY184" fmla="*/ 381973 h 1942479"/>
              <a:gd name="connsiteX185" fmla="*/ 1051643 w 1943056"/>
              <a:gd name="connsiteY185" fmla="*/ 366465 h 1942479"/>
              <a:gd name="connsiteX186" fmla="*/ 1049708 w 1943056"/>
              <a:gd name="connsiteY186" fmla="*/ 330677 h 1942479"/>
              <a:gd name="connsiteX187" fmla="*/ 973716 w 1943056"/>
              <a:gd name="connsiteY187" fmla="*/ 229343 h 1942479"/>
              <a:gd name="connsiteX188" fmla="*/ 967558 w 1943056"/>
              <a:gd name="connsiteY188" fmla="*/ 205453 h 1942479"/>
              <a:gd name="connsiteX189" fmla="*/ 968815 w 1943056"/>
              <a:gd name="connsiteY189" fmla="*/ 201938 h 1942479"/>
              <a:gd name="connsiteX190" fmla="*/ 508066 w 1943056"/>
              <a:gd name="connsiteY190" fmla="*/ 457656 h 1942479"/>
              <a:gd name="connsiteX191" fmla="*/ 680031 w 1943056"/>
              <a:gd name="connsiteY191" fmla="*/ 1211087 h 1942479"/>
              <a:gd name="connsiteX192" fmla="*/ 782300 w 1943056"/>
              <a:gd name="connsiteY192" fmla="*/ 1393057 h 1942479"/>
              <a:gd name="connsiteX193" fmla="*/ 782300 w 1943056"/>
              <a:gd name="connsiteY193" fmla="*/ 1523343 h 1942479"/>
              <a:gd name="connsiteX194" fmla="*/ 846782 w 1943056"/>
              <a:gd name="connsiteY194" fmla="*/ 1587826 h 1942479"/>
              <a:gd name="connsiteX195" fmla="*/ 1104712 w 1943056"/>
              <a:gd name="connsiteY195" fmla="*/ 1587826 h 1942479"/>
              <a:gd name="connsiteX196" fmla="*/ 1169194 w 1943056"/>
              <a:gd name="connsiteY196" fmla="*/ 1523343 h 1942479"/>
              <a:gd name="connsiteX197" fmla="*/ 1169194 w 1943056"/>
              <a:gd name="connsiteY197" fmla="*/ 1395733 h 1942479"/>
              <a:gd name="connsiteX198" fmla="*/ 1273204 w 1943056"/>
              <a:gd name="connsiteY198" fmla="*/ 1209991 h 1942479"/>
              <a:gd name="connsiteX199" fmla="*/ 1341136 w 1943056"/>
              <a:gd name="connsiteY199" fmla="*/ 1158051 h 1942479"/>
              <a:gd name="connsiteX200" fmla="*/ 1384146 w 1943056"/>
              <a:gd name="connsiteY200" fmla="*/ 1206090 h 1942479"/>
              <a:gd name="connsiteX201" fmla="*/ 1308250 w 1943056"/>
              <a:gd name="connsiteY201" fmla="*/ 1264124 h 1942479"/>
              <a:gd name="connsiteX202" fmla="*/ 1233676 w 1943056"/>
              <a:gd name="connsiteY202" fmla="*/ 1395733 h 1942479"/>
              <a:gd name="connsiteX203" fmla="*/ 1233676 w 1943056"/>
              <a:gd name="connsiteY203" fmla="*/ 1523343 h 1942479"/>
              <a:gd name="connsiteX204" fmla="*/ 1169194 w 1943056"/>
              <a:gd name="connsiteY204" fmla="*/ 1634382 h 1942479"/>
              <a:gd name="connsiteX205" fmla="*/ 1169194 w 1943056"/>
              <a:gd name="connsiteY205" fmla="*/ 1813514 h 1942479"/>
              <a:gd name="connsiteX206" fmla="*/ 1040229 w 1943056"/>
              <a:gd name="connsiteY206" fmla="*/ 1942479 h 1942479"/>
              <a:gd name="connsiteX207" fmla="*/ 911265 w 1943056"/>
              <a:gd name="connsiteY207" fmla="*/ 1942479 h 1942479"/>
              <a:gd name="connsiteX208" fmla="*/ 782300 w 1943056"/>
              <a:gd name="connsiteY208" fmla="*/ 1813514 h 1942479"/>
              <a:gd name="connsiteX209" fmla="*/ 782300 w 1943056"/>
              <a:gd name="connsiteY209" fmla="*/ 1634382 h 1942479"/>
              <a:gd name="connsiteX210" fmla="*/ 717817 w 1943056"/>
              <a:gd name="connsiteY210" fmla="*/ 1523343 h 1942479"/>
              <a:gd name="connsiteX211" fmla="*/ 717817 w 1943056"/>
              <a:gd name="connsiteY211" fmla="*/ 1431456 h 1942479"/>
              <a:gd name="connsiteX212" fmla="*/ 667747 w 1943056"/>
              <a:gd name="connsiteY212" fmla="*/ 1481688 h 1942479"/>
              <a:gd name="connsiteX213" fmla="*/ 626672 w 1943056"/>
              <a:gd name="connsiteY213" fmla="*/ 1485428 h 1942479"/>
              <a:gd name="connsiteX214" fmla="*/ 537589 w 1943056"/>
              <a:gd name="connsiteY214" fmla="*/ 1424169 h 1942479"/>
              <a:gd name="connsiteX215" fmla="*/ 515311 w 1943056"/>
              <a:gd name="connsiteY215" fmla="*/ 1530146 h 1942479"/>
              <a:gd name="connsiteX216" fmla="*/ 483746 w 1943056"/>
              <a:gd name="connsiteY216" fmla="*/ 1555746 h 1942479"/>
              <a:gd name="connsiteX217" fmla="*/ 354782 w 1943056"/>
              <a:gd name="connsiteY217" fmla="*/ 1555746 h 1942479"/>
              <a:gd name="connsiteX218" fmla="*/ 323250 w 1943056"/>
              <a:gd name="connsiteY218" fmla="*/ 1529953 h 1942479"/>
              <a:gd name="connsiteX219" fmla="*/ 300971 w 1943056"/>
              <a:gd name="connsiteY219" fmla="*/ 1423976 h 1942479"/>
              <a:gd name="connsiteX220" fmla="*/ 211889 w 1943056"/>
              <a:gd name="connsiteY220" fmla="*/ 1485396 h 1942479"/>
              <a:gd name="connsiteX221" fmla="*/ 170781 w 1943056"/>
              <a:gd name="connsiteY221" fmla="*/ 1481656 h 1942479"/>
              <a:gd name="connsiteX222" fmla="*/ 74058 w 1943056"/>
              <a:gd name="connsiteY222" fmla="*/ 1384932 h 1942479"/>
              <a:gd name="connsiteX223" fmla="*/ 70318 w 1943056"/>
              <a:gd name="connsiteY223" fmla="*/ 1343857 h 1942479"/>
              <a:gd name="connsiteX224" fmla="*/ 131576 w 1943056"/>
              <a:gd name="connsiteY224" fmla="*/ 1254774 h 1942479"/>
              <a:gd name="connsiteX225" fmla="*/ 25599 w 1943056"/>
              <a:gd name="connsiteY225" fmla="*/ 1232496 h 1942479"/>
              <a:gd name="connsiteX226" fmla="*/ 0 w 1943056"/>
              <a:gd name="connsiteY226" fmla="*/ 1200931 h 1942479"/>
              <a:gd name="connsiteX227" fmla="*/ 0 w 1943056"/>
              <a:gd name="connsiteY227" fmla="*/ 1071967 h 1942479"/>
              <a:gd name="connsiteX228" fmla="*/ 25341 w 1943056"/>
              <a:gd name="connsiteY228" fmla="*/ 1040403 h 1942479"/>
              <a:gd name="connsiteX229" fmla="*/ 131318 w 1943056"/>
              <a:gd name="connsiteY229" fmla="*/ 1018124 h 1942479"/>
              <a:gd name="connsiteX230" fmla="*/ 70060 w 1943056"/>
              <a:gd name="connsiteY230" fmla="*/ 929042 h 1942479"/>
              <a:gd name="connsiteX231" fmla="*/ 73800 w 1943056"/>
              <a:gd name="connsiteY231" fmla="*/ 887966 h 1942479"/>
              <a:gd name="connsiteX232" fmla="*/ 170523 w 1943056"/>
              <a:gd name="connsiteY232" fmla="*/ 791243 h 1942479"/>
              <a:gd name="connsiteX233" fmla="*/ 211631 w 1943056"/>
              <a:gd name="connsiteY233" fmla="*/ 787503 h 1942479"/>
              <a:gd name="connsiteX234" fmla="*/ 300874 w 1943056"/>
              <a:gd name="connsiteY234" fmla="*/ 849051 h 1942479"/>
              <a:gd name="connsiteX235" fmla="*/ 323153 w 1943056"/>
              <a:gd name="connsiteY235" fmla="*/ 743107 h 1942479"/>
              <a:gd name="connsiteX236" fmla="*/ 354685 w 1943056"/>
              <a:gd name="connsiteY236" fmla="*/ 717314 h 1942479"/>
              <a:gd name="connsiteX237" fmla="*/ 364357 w 1943056"/>
              <a:gd name="connsiteY237" fmla="*/ 717314 h 1942479"/>
              <a:gd name="connsiteX238" fmla="*/ 366002 w 1943056"/>
              <a:gd name="connsiteY238" fmla="*/ 690070 h 1942479"/>
              <a:gd name="connsiteX239" fmla="*/ 906138 w 1943056"/>
              <a:gd name="connsiteY239" fmla="*/ 140777 h 1942479"/>
              <a:gd name="connsiteX240" fmla="*/ 1038005 w 1943056"/>
              <a:gd name="connsiteY240" fmla="*/ 140777 h 1942479"/>
              <a:gd name="connsiteX241" fmla="*/ 1134889 w 1943056"/>
              <a:gd name="connsiteY241" fmla="*/ 68073 h 1942479"/>
              <a:gd name="connsiteX242" fmla="*/ 1180027 w 1943056"/>
              <a:gd name="connsiteY242" fmla="*/ 74521 h 1942479"/>
              <a:gd name="connsiteX243" fmla="*/ 1256020 w 1943056"/>
              <a:gd name="connsiteY243" fmla="*/ 175887 h 1942479"/>
              <a:gd name="connsiteX244" fmla="*/ 1277267 w 1943056"/>
              <a:gd name="connsiteY244" fmla="*/ 188461 h 1942479"/>
              <a:gd name="connsiteX245" fmla="*/ 1313731 w 1943056"/>
              <a:gd name="connsiteY245" fmla="*/ 161089 h 1942479"/>
              <a:gd name="connsiteX246" fmla="*/ 1331657 w 1943056"/>
              <a:gd name="connsiteY246" fmla="*/ 35670 h 1942479"/>
              <a:gd name="connsiteX247" fmla="*/ 1331657 w 1943056"/>
              <a:gd name="connsiteY247" fmla="*/ 35662 h 1942479"/>
              <a:gd name="connsiteX248" fmla="*/ 1368154 w 1943056"/>
              <a:gd name="connsiteY248" fmla="*/ 8330 h 1942479"/>
              <a:gd name="connsiteX249" fmla="*/ 425217 w 1943056"/>
              <a:gd name="connsiteY249" fmla="*/ 0 h 1942479"/>
              <a:gd name="connsiteX250" fmla="*/ 491148 w 1943056"/>
              <a:gd name="connsiteY250" fmla="*/ 257923 h 1942479"/>
              <a:gd name="connsiteX251" fmla="*/ 428674 w 1943056"/>
              <a:gd name="connsiteY251" fmla="*/ 273892 h 1942479"/>
              <a:gd name="connsiteX252" fmla="*/ 362744 w 1943056"/>
              <a:gd name="connsiteY252" fmla="*/ 15969 h 194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1943056" h="1942479">
                <a:moveTo>
                  <a:pt x="846782" y="1781273"/>
                </a:moveTo>
                <a:lnTo>
                  <a:pt x="846782" y="1813514"/>
                </a:lnTo>
                <a:cubicBezTo>
                  <a:pt x="846782" y="1849128"/>
                  <a:pt x="875651" y="1877996"/>
                  <a:pt x="911265" y="1877996"/>
                </a:cubicBezTo>
                <a:lnTo>
                  <a:pt x="1040229" y="1877996"/>
                </a:lnTo>
                <a:cubicBezTo>
                  <a:pt x="1075843" y="1877996"/>
                  <a:pt x="1104712" y="1849128"/>
                  <a:pt x="1104712" y="1813514"/>
                </a:cubicBezTo>
                <a:lnTo>
                  <a:pt x="1104712" y="1781273"/>
                </a:lnTo>
                <a:close/>
                <a:moveTo>
                  <a:pt x="846782" y="1652308"/>
                </a:moveTo>
                <a:lnTo>
                  <a:pt x="846782" y="1716790"/>
                </a:lnTo>
                <a:lnTo>
                  <a:pt x="1104712" y="1716790"/>
                </a:lnTo>
                <a:lnTo>
                  <a:pt x="1104712" y="1652308"/>
                </a:lnTo>
                <a:close/>
                <a:moveTo>
                  <a:pt x="1394883" y="1458861"/>
                </a:moveTo>
                <a:lnTo>
                  <a:pt x="1459365" y="1458861"/>
                </a:lnTo>
                <a:lnTo>
                  <a:pt x="1459365" y="1684549"/>
                </a:lnTo>
                <a:lnTo>
                  <a:pt x="1394883" y="1684549"/>
                </a:lnTo>
                <a:close/>
                <a:moveTo>
                  <a:pt x="943506" y="1426621"/>
                </a:moveTo>
                <a:lnTo>
                  <a:pt x="1007988" y="1426621"/>
                </a:lnTo>
                <a:lnTo>
                  <a:pt x="1007988" y="1523344"/>
                </a:lnTo>
                <a:lnTo>
                  <a:pt x="943506" y="1523344"/>
                </a:lnTo>
                <a:close/>
                <a:moveTo>
                  <a:pt x="1576733" y="1369626"/>
                </a:moveTo>
                <a:lnTo>
                  <a:pt x="1770189" y="1530808"/>
                </a:lnTo>
                <a:lnTo>
                  <a:pt x="1728914" y="1580349"/>
                </a:lnTo>
                <a:lnTo>
                  <a:pt x="1535457" y="1419167"/>
                </a:lnTo>
                <a:close/>
                <a:moveTo>
                  <a:pt x="1588330" y="1200932"/>
                </a:moveTo>
                <a:lnTo>
                  <a:pt x="1814018" y="1200932"/>
                </a:lnTo>
                <a:lnTo>
                  <a:pt x="1814018" y="1265414"/>
                </a:lnTo>
                <a:lnTo>
                  <a:pt x="1588330" y="1265414"/>
                </a:lnTo>
                <a:close/>
                <a:moveTo>
                  <a:pt x="419135" y="1007484"/>
                </a:moveTo>
                <a:cubicBezTo>
                  <a:pt x="364728" y="1007371"/>
                  <a:pt x="316118" y="1041470"/>
                  <a:pt x="297702" y="1092666"/>
                </a:cubicBezTo>
                <a:cubicBezTo>
                  <a:pt x="273627" y="1159585"/>
                  <a:pt x="308361" y="1233350"/>
                  <a:pt x="375281" y="1257425"/>
                </a:cubicBezTo>
                <a:cubicBezTo>
                  <a:pt x="442200" y="1281499"/>
                  <a:pt x="515965" y="1246766"/>
                  <a:pt x="540040" y="1179846"/>
                </a:cubicBezTo>
                <a:cubicBezTo>
                  <a:pt x="490498" y="1129730"/>
                  <a:pt x="450006" y="1071415"/>
                  <a:pt x="420360" y="1007484"/>
                </a:cubicBezTo>
                <a:cubicBezTo>
                  <a:pt x="419941" y="1007484"/>
                  <a:pt x="419554" y="1007484"/>
                  <a:pt x="419135" y="1007484"/>
                </a:cubicBezTo>
                <a:close/>
                <a:moveTo>
                  <a:pt x="369580" y="835445"/>
                </a:moveTo>
                <a:lnTo>
                  <a:pt x="363938" y="862270"/>
                </a:lnTo>
                <a:cubicBezTo>
                  <a:pt x="362184" y="870617"/>
                  <a:pt x="358789" y="878529"/>
                  <a:pt x="353956" y="885555"/>
                </a:cubicBezTo>
                <a:cubicBezTo>
                  <a:pt x="333767" y="914894"/>
                  <a:pt x="293617" y="922310"/>
                  <a:pt x="264281" y="902120"/>
                </a:cubicBezTo>
                <a:lnTo>
                  <a:pt x="197251" y="855951"/>
                </a:lnTo>
                <a:lnTo>
                  <a:pt x="138508" y="914565"/>
                </a:lnTo>
                <a:lnTo>
                  <a:pt x="184677" y="981691"/>
                </a:lnTo>
                <a:cubicBezTo>
                  <a:pt x="189453" y="988662"/>
                  <a:pt x="192812" y="996500"/>
                  <a:pt x="194564" y="1004766"/>
                </a:cubicBezTo>
                <a:cubicBezTo>
                  <a:pt x="201951" y="1039603"/>
                  <a:pt x="179697" y="1073833"/>
                  <a:pt x="144859" y="1081220"/>
                </a:cubicBezTo>
                <a:lnTo>
                  <a:pt x="64482" y="1098147"/>
                </a:lnTo>
                <a:lnTo>
                  <a:pt x="64482" y="1174752"/>
                </a:lnTo>
                <a:lnTo>
                  <a:pt x="144859" y="1191678"/>
                </a:lnTo>
                <a:cubicBezTo>
                  <a:pt x="153226" y="1193439"/>
                  <a:pt x="161158" y="1196850"/>
                  <a:pt x="168196" y="1201705"/>
                </a:cubicBezTo>
                <a:cubicBezTo>
                  <a:pt x="197507" y="1221930"/>
                  <a:pt x="204871" y="1262090"/>
                  <a:pt x="184645" y="1291400"/>
                </a:cubicBezTo>
                <a:lnTo>
                  <a:pt x="138508" y="1358333"/>
                </a:lnTo>
                <a:lnTo>
                  <a:pt x="197251" y="1416947"/>
                </a:lnTo>
                <a:lnTo>
                  <a:pt x="264248" y="1370907"/>
                </a:lnTo>
                <a:cubicBezTo>
                  <a:pt x="271280" y="1366061"/>
                  <a:pt x="279202" y="1362660"/>
                  <a:pt x="287559" y="1360903"/>
                </a:cubicBezTo>
                <a:cubicBezTo>
                  <a:pt x="322408" y="1353568"/>
                  <a:pt x="356603" y="1375875"/>
                  <a:pt x="363938" y="1410725"/>
                </a:cubicBezTo>
                <a:lnTo>
                  <a:pt x="380833" y="1491102"/>
                </a:lnTo>
                <a:lnTo>
                  <a:pt x="457470" y="1491102"/>
                </a:lnTo>
                <a:lnTo>
                  <a:pt x="474364" y="1410596"/>
                </a:lnTo>
                <a:cubicBezTo>
                  <a:pt x="476121" y="1402239"/>
                  <a:pt x="479523" y="1394317"/>
                  <a:pt x="484369" y="1387286"/>
                </a:cubicBezTo>
                <a:cubicBezTo>
                  <a:pt x="504577" y="1357962"/>
                  <a:pt x="544731" y="1350569"/>
                  <a:pt x="574054" y="1370778"/>
                </a:cubicBezTo>
                <a:lnTo>
                  <a:pt x="641019" y="1416947"/>
                </a:lnTo>
                <a:lnTo>
                  <a:pt x="710176" y="1347919"/>
                </a:lnTo>
                <a:cubicBezTo>
                  <a:pt x="698605" y="1313789"/>
                  <a:pt x="675675" y="1284665"/>
                  <a:pt x="645210" y="1265414"/>
                </a:cubicBezTo>
                <a:cubicBezTo>
                  <a:pt x="626111" y="1253072"/>
                  <a:pt x="607714" y="1239672"/>
                  <a:pt x="590110" y="1225274"/>
                </a:cubicBezTo>
                <a:cubicBezTo>
                  <a:pt x="560716" y="1282479"/>
                  <a:pt x="504813" y="1321336"/>
                  <a:pt x="440949" y="1328948"/>
                </a:cubicBezTo>
                <a:cubicBezTo>
                  <a:pt x="334863" y="1341597"/>
                  <a:pt x="238610" y="1265849"/>
                  <a:pt x="225962" y="1159763"/>
                </a:cubicBezTo>
                <a:cubicBezTo>
                  <a:pt x="213314" y="1053676"/>
                  <a:pt x="289061" y="957423"/>
                  <a:pt x="395148" y="944775"/>
                </a:cubicBezTo>
                <a:cubicBezTo>
                  <a:pt x="383302" y="909191"/>
                  <a:pt x="374745" y="872594"/>
                  <a:pt x="369580" y="835445"/>
                </a:cubicBezTo>
                <a:close/>
                <a:moveTo>
                  <a:pt x="290864" y="492589"/>
                </a:moveTo>
                <a:lnTo>
                  <a:pt x="306496" y="555116"/>
                </a:lnTo>
                <a:lnTo>
                  <a:pt x="48571" y="619596"/>
                </a:lnTo>
                <a:lnTo>
                  <a:pt x="32940" y="557070"/>
                </a:lnTo>
                <a:close/>
                <a:moveTo>
                  <a:pt x="1386372" y="371172"/>
                </a:moveTo>
                <a:cubicBezTo>
                  <a:pt x="1279534" y="371172"/>
                  <a:pt x="1192924" y="457781"/>
                  <a:pt x="1192924" y="564620"/>
                </a:cubicBezTo>
                <a:cubicBezTo>
                  <a:pt x="1192924" y="671458"/>
                  <a:pt x="1279534" y="758067"/>
                  <a:pt x="1386372" y="758067"/>
                </a:cubicBezTo>
                <a:cubicBezTo>
                  <a:pt x="1493158" y="757941"/>
                  <a:pt x="1579693" y="671406"/>
                  <a:pt x="1579819" y="564620"/>
                </a:cubicBezTo>
                <a:cubicBezTo>
                  <a:pt x="1579819" y="457781"/>
                  <a:pt x="1493210" y="371172"/>
                  <a:pt x="1386372" y="371172"/>
                </a:cubicBezTo>
                <a:close/>
                <a:moveTo>
                  <a:pt x="734939" y="367626"/>
                </a:moveTo>
                <a:lnTo>
                  <a:pt x="769404" y="422178"/>
                </a:lnTo>
                <a:cubicBezTo>
                  <a:pt x="699335" y="466284"/>
                  <a:pt x="645260" y="531707"/>
                  <a:pt x="615134" y="608828"/>
                </a:cubicBezTo>
                <a:cubicBezTo>
                  <a:pt x="537380" y="807857"/>
                  <a:pt x="635697" y="1032230"/>
                  <a:pt x="834725" y="1109980"/>
                </a:cubicBezTo>
                <a:cubicBezTo>
                  <a:pt x="939167" y="1149988"/>
                  <a:pt x="1008092" y="1250293"/>
                  <a:pt x="1007989" y="1362138"/>
                </a:cubicBezTo>
                <a:lnTo>
                  <a:pt x="943507" y="1362138"/>
                </a:lnTo>
                <a:cubicBezTo>
                  <a:pt x="943487" y="1276892"/>
                  <a:pt x="890921" y="1200478"/>
                  <a:pt x="811318" y="1169981"/>
                </a:cubicBezTo>
                <a:cubicBezTo>
                  <a:pt x="721388" y="1134857"/>
                  <a:pt x="645086" y="1071819"/>
                  <a:pt x="593625" y="990130"/>
                </a:cubicBezTo>
                <a:cubicBezTo>
                  <a:pt x="460746" y="779208"/>
                  <a:pt x="524016" y="500504"/>
                  <a:pt x="734939" y="367626"/>
                </a:cubicBezTo>
                <a:close/>
                <a:moveTo>
                  <a:pt x="1386372" y="306690"/>
                </a:moveTo>
                <a:cubicBezTo>
                  <a:pt x="1528756" y="306851"/>
                  <a:pt x="1644140" y="422235"/>
                  <a:pt x="1644302" y="564620"/>
                </a:cubicBezTo>
                <a:cubicBezTo>
                  <a:pt x="1644302" y="707071"/>
                  <a:pt x="1528823" y="822550"/>
                  <a:pt x="1386372" y="822550"/>
                </a:cubicBezTo>
                <a:cubicBezTo>
                  <a:pt x="1243921" y="822550"/>
                  <a:pt x="1128442" y="707071"/>
                  <a:pt x="1128442" y="564620"/>
                </a:cubicBezTo>
                <a:cubicBezTo>
                  <a:pt x="1128442" y="422168"/>
                  <a:pt x="1243921" y="306690"/>
                  <a:pt x="1386372" y="306690"/>
                </a:cubicBezTo>
                <a:close/>
                <a:moveTo>
                  <a:pt x="123953" y="175258"/>
                </a:moveTo>
                <a:lnTo>
                  <a:pt x="349632" y="336460"/>
                </a:lnTo>
                <a:lnTo>
                  <a:pt x="312171" y="388905"/>
                </a:lnTo>
                <a:lnTo>
                  <a:pt x="86491" y="227703"/>
                </a:lnTo>
                <a:close/>
                <a:moveTo>
                  <a:pt x="1390981" y="76746"/>
                </a:moveTo>
                <a:lnTo>
                  <a:pt x="1377633" y="170245"/>
                </a:lnTo>
                <a:cubicBezTo>
                  <a:pt x="1374003" y="195638"/>
                  <a:pt x="1360433" y="218549"/>
                  <a:pt x="1339908" y="233938"/>
                </a:cubicBezTo>
                <a:cubicBezTo>
                  <a:pt x="1297169" y="265985"/>
                  <a:pt x="1236546" y="257316"/>
                  <a:pt x="1204498" y="214577"/>
                </a:cubicBezTo>
                <a:lnTo>
                  <a:pt x="1147818" y="139036"/>
                </a:lnTo>
                <a:lnTo>
                  <a:pt x="1044646" y="216415"/>
                </a:lnTo>
                <a:lnTo>
                  <a:pt x="1101488" y="292020"/>
                </a:lnTo>
                <a:cubicBezTo>
                  <a:pt x="1116889" y="312551"/>
                  <a:pt x="1123502" y="338364"/>
                  <a:pt x="1119862" y="363773"/>
                </a:cubicBezTo>
                <a:cubicBezTo>
                  <a:pt x="1112292" y="416652"/>
                  <a:pt x="1063285" y="453381"/>
                  <a:pt x="1010406" y="445811"/>
                </a:cubicBezTo>
                <a:lnTo>
                  <a:pt x="916907" y="432463"/>
                </a:lnTo>
                <a:lnTo>
                  <a:pt x="898658" y="560106"/>
                </a:lnTo>
                <a:lnTo>
                  <a:pt x="992158" y="573453"/>
                </a:lnTo>
                <a:cubicBezTo>
                  <a:pt x="1017551" y="577084"/>
                  <a:pt x="1040461" y="590654"/>
                  <a:pt x="1055850" y="611179"/>
                </a:cubicBezTo>
                <a:cubicBezTo>
                  <a:pt x="1087898" y="653918"/>
                  <a:pt x="1079228" y="714541"/>
                  <a:pt x="1036489" y="746589"/>
                </a:cubicBezTo>
                <a:lnTo>
                  <a:pt x="960980" y="803269"/>
                </a:lnTo>
                <a:lnTo>
                  <a:pt x="1038359" y="906440"/>
                </a:lnTo>
                <a:lnTo>
                  <a:pt x="1113900" y="849793"/>
                </a:lnTo>
                <a:cubicBezTo>
                  <a:pt x="1134432" y="834391"/>
                  <a:pt x="1160244" y="827778"/>
                  <a:pt x="1185653" y="831418"/>
                </a:cubicBezTo>
                <a:cubicBezTo>
                  <a:pt x="1238532" y="838989"/>
                  <a:pt x="1275261" y="887995"/>
                  <a:pt x="1267691" y="940874"/>
                </a:cubicBezTo>
                <a:lnTo>
                  <a:pt x="1254343" y="1034373"/>
                </a:lnTo>
                <a:lnTo>
                  <a:pt x="1381986" y="1052622"/>
                </a:lnTo>
                <a:lnTo>
                  <a:pt x="1395044" y="958994"/>
                </a:lnTo>
                <a:cubicBezTo>
                  <a:pt x="1398674" y="933600"/>
                  <a:pt x="1412244" y="910690"/>
                  <a:pt x="1432769" y="895301"/>
                </a:cubicBezTo>
                <a:cubicBezTo>
                  <a:pt x="1475508" y="863253"/>
                  <a:pt x="1536131" y="871923"/>
                  <a:pt x="1568179" y="914662"/>
                </a:cubicBezTo>
                <a:lnTo>
                  <a:pt x="1624859" y="990171"/>
                </a:lnTo>
                <a:lnTo>
                  <a:pt x="1728031" y="912792"/>
                </a:lnTo>
                <a:lnTo>
                  <a:pt x="1671383" y="837251"/>
                </a:lnTo>
                <a:cubicBezTo>
                  <a:pt x="1655991" y="816729"/>
                  <a:pt x="1649381" y="790933"/>
                  <a:pt x="1653005" y="765540"/>
                </a:cubicBezTo>
                <a:cubicBezTo>
                  <a:pt x="1660559" y="712658"/>
                  <a:pt x="1709550" y="675909"/>
                  <a:pt x="1762432" y="683460"/>
                </a:cubicBezTo>
                <a:lnTo>
                  <a:pt x="1855931" y="696808"/>
                </a:lnTo>
                <a:lnTo>
                  <a:pt x="1874277" y="569198"/>
                </a:lnTo>
                <a:lnTo>
                  <a:pt x="1780777" y="555850"/>
                </a:lnTo>
                <a:cubicBezTo>
                  <a:pt x="1755384" y="552219"/>
                  <a:pt x="1732473" y="538649"/>
                  <a:pt x="1717085" y="518124"/>
                </a:cubicBezTo>
                <a:cubicBezTo>
                  <a:pt x="1685037" y="475385"/>
                  <a:pt x="1693707" y="414762"/>
                  <a:pt x="1736446" y="382715"/>
                </a:cubicBezTo>
                <a:lnTo>
                  <a:pt x="1811987" y="326035"/>
                </a:lnTo>
                <a:lnTo>
                  <a:pt x="1734608" y="222863"/>
                </a:lnTo>
                <a:lnTo>
                  <a:pt x="1659067" y="279511"/>
                </a:lnTo>
                <a:cubicBezTo>
                  <a:pt x="1638545" y="294902"/>
                  <a:pt x="1612749" y="301512"/>
                  <a:pt x="1587356" y="297888"/>
                </a:cubicBezTo>
                <a:cubicBezTo>
                  <a:pt x="1534474" y="290334"/>
                  <a:pt x="1497725" y="241344"/>
                  <a:pt x="1505276" y="188461"/>
                </a:cubicBezTo>
                <a:lnTo>
                  <a:pt x="1518624" y="94962"/>
                </a:lnTo>
                <a:close/>
                <a:moveTo>
                  <a:pt x="1368154" y="8330"/>
                </a:moveTo>
                <a:lnTo>
                  <a:pt x="1559538" y="35670"/>
                </a:lnTo>
                <a:cubicBezTo>
                  <a:pt x="1559551" y="35672"/>
                  <a:pt x="1559561" y="35674"/>
                  <a:pt x="1559574" y="35676"/>
                </a:cubicBezTo>
                <a:cubicBezTo>
                  <a:pt x="1577200" y="38204"/>
                  <a:pt x="1589439" y="54542"/>
                  <a:pt x="1586911" y="72167"/>
                </a:cubicBezTo>
                <a:lnTo>
                  <a:pt x="1568985" y="197586"/>
                </a:lnTo>
                <a:cubicBezTo>
                  <a:pt x="1567737" y="206142"/>
                  <a:pt x="1569978" y="214841"/>
                  <a:pt x="1575204" y="221729"/>
                </a:cubicBezTo>
                <a:cubicBezTo>
                  <a:pt x="1585966" y="235915"/>
                  <a:pt x="1606191" y="238688"/>
                  <a:pt x="1620377" y="227925"/>
                </a:cubicBezTo>
                <a:lnTo>
                  <a:pt x="1721711" y="151900"/>
                </a:lnTo>
                <a:cubicBezTo>
                  <a:pt x="1735955" y="141216"/>
                  <a:pt x="1756164" y="144103"/>
                  <a:pt x="1766849" y="158348"/>
                </a:cubicBezTo>
                <a:lnTo>
                  <a:pt x="1882917" y="313106"/>
                </a:lnTo>
                <a:cubicBezTo>
                  <a:pt x="1893602" y="327350"/>
                  <a:pt x="1890713" y="347559"/>
                  <a:pt x="1876469" y="358244"/>
                </a:cubicBezTo>
                <a:lnTo>
                  <a:pt x="1775103" y="434268"/>
                </a:lnTo>
                <a:cubicBezTo>
                  <a:pt x="1768258" y="439401"/>
                  <a:pt x="1763734" y="447045"/>
                  <a:pt x="1762529" y="455515"/>
                </a:cubicBezTo>
                <a:cubicBezTo>
                  <a:pt x="1760017" y="473141"/>
                  <a:pt x="1772272" y="489468"/>
                  <a:pt x="1789901" y="491980"/>
                </a:cubicBezTo>
                <a:lnTo>
                  <a:pt x="1915320" y="509874"/>
                </a:lnTo>
                <a:lnTo>
                  <a:pt x="1915384" y="509938"/>
                </a:lnTo>
                <a:cubicBezTo>
                  <a:pt x="1915387" y="509938"/>
                  <a:pt x="1915391" y="509938"/>
                  <a:pt x="1915394" y="509938"/>
                </a:cubicBezTo>
                <a:cubicBezTo>
                  <a:pt x="1933017" y="512469"/>
                  <a:pt x="1945256" y="528809"/>
                  <a:pt x="1942725" y="546435"/>
                </a:cubicBezTo>
                <a:lnTo>
                  <a:pt x="1915384" y="737948"/>
                </a:lnTo>
                <a:cubicBezTo>
                  <a:pt x="1915384" y="737951"/>
                  <a:pt x="1915384" y="737954"/>
                  <a:pt x="1915384" y="737958"/>
                </a:cubicBezTo>
                <a:cubicBezTo>
                  <a:pt x="1912853" y="755581"/>
                  <a:pt x="1896513" y="767819"/>
                  <a:pt x="1878887" y="765289"/>
                </a:cubicBezTo>
                <a:lnTo>
                  <a:pt x="1753469" y="747395"/>
                </a:lnTo>
                <a:cubicBezTo>
                  <a:pt x="1740543" y="745302"/>
                  <a:pt x="1727679" y="751476"/>
                  <a:pt x="1721228" y="762870"/>
                </a:cubicBezTo>
                <a:cubicBezTo>
                  <a:pt x="1714418" y="774055"/>
                  <a:pt x="1715186" y="788273"/>
                  <a:pt x="1723162" y="798658"/>
                </a:cubicBezTo>
                <a:lnTo>
                  <a:pt x="1799155" y="899992"/>
                </a:lnTo>
                <a:cubicBezTo>
                  <a:pt x="1809839" y="914236"/>
                  <a:pt x="1806951" y="934445"/>
                  <a:pt x="1792706" y="945130"/>
                </a:cubicBezTo>
                <a:lnTo>
                  <a:pt x="1637949" y="1061198"/>
                </a:lnTo>
                <a:cubicBezTo>
                  <a:pt x="1623704" y="1071883"/>
                  <a:pt x="1603496" y="1068994"/>
                  <a:pt x="1592811" y="1054750"/>
                </a:cubicBezTo>
                <a:lnTo>
                  <a:pt x="1516786" y="953416"/>
                </a:lnTo>
                <a:cubicBezTo>
                  <a:pt x="1511653" y="946571"/>
                  <a:pt x="1504009" y="942048"/>
                  <a:pt x="1495539" y="940842"/>
                </a:cubicBezTo>
                <a:cubicBezTo>
                  <a:pt x="1477913" y="938330"/>
                  <a:pt x="1461586" y="950585"/>
                  <a:pt x="1459075" y="968215"/>
                </a:cubicBezTo>
                <a:lnTo>
                  <a:pt x="1441181" y="1093633"/>
                </a:lnTo>
                <a:cubicBezTo>
                  <a:pt x="1438901" y="1109521"/>
                  <a:pt x="1425283" y="1121315"/>
                  <a:pt x="1409230" y="1121296"/>
                </a:cubicBezTo>
                <a:cubicBezTo>
                  <a:pt x="1407711" y="1121296"/>
                  <a:pt x="1406193" y="1121199"/>
                  <a:pt x="1404684" y="1121006"/>
                </a:cubicBezTo>
                <a:lnTo>
                  <a:pt x="1213171" y="1093633"/>
                </a:lnTo>
                <a:cubicBezTo>
                  <a:pt x="1213168" y="1093633"/>
                  <a:pt x="1213165" y="1093633"/>
                  <a:pt x="1213161" y="1093633"/>
                </a:cubicBezTo>
                <a:cubicBezTo>
                  <a:pt x="1195538" y="1091102"/>
                  <a:pt x="1183300" y="1074762"/>
                  <a:pt x="1185830" y="1057136"/>
                </a:cubicBezTo>
                <a:lnTo>
                  <a:pt x="1203724" y="931718"/>
                </a:lnTo>
                <a:cubicBezTo>
                  <a:pt x="1204917" y="923280"/>
                  <a:pt x="1202725" y="914714"/>
                  <a:pt x="1197621" y="907891"/>
                </a:cubicBezTo>
                <a:cubicBezTo>
                  <a:pt x="1186959" y="893631"/>
                  <a:pt x="1166753" y="890716"/>
                  <a:pt x="1152493" y="901379"/>
                </a:cubicBezTo>
                <a:lnTo>
                  <a:pt x="1051127" y="977371"/>
                </a:lnTo>
                <a:cubicBezTo>
                  <a:pt x="1036883" y="988056"/>
                  <a:pt x="1016674" y="985167"/>
                  <a:pt x="1005989" y="970923"/>
                </a:cubicBezTo>
                <a:lnTo>
                  <a:pt x="889921" y="816165"/>
                </a:lnTo>
                <a:cubicBezTo>
                  <a:pt x="879236" y="801921"/>
                  <a:pt x="882125" y="781712"/>
                  <a:pt x="896369" y="771027"/>
                </a:cubicBezTo>
                <a:lnTo>
                  <a:pt x="997703" y="695035"/>
                </a:lnTo>
                <a:cubicBezTo>
                  <a:pt x="1004548" y="689902"/>
                  <a:pt x="1009071" y="682258"/>
                  <a:pt x="1010277" y="673788"/>
                </a:cubicBezTo>
                <a:cubicBezTo>
                  <a:pt x="1012789" y="656162"/>
                  <a:pt x="1000534" y="639835"/>
                  <a:pt x="982904" y="637323"/>
                </a:cubicBezTo>
                <a:lnTo>
                  <a:pt x="857486" y="619397"/>
                </a:lnTo>
                <a:cubicBezTo>
                  <a:pt x="857473" y="619394"/>
                  <a:pt x="857464" y="619394"/>
                  <a:pt x="857451" y="619391"/>
                </a:cubicBezTo>
                <a:cubicBezTo>
                  <a:pt x="839825" y="616863"/>
                  <a:pt x="827586" y="600526"/>
                  <a:pt x="830113" y="582900"/>
                </a:cubicBezTo>
                <a:lnTo>
                  <a:pt x="857486" y="391420"/>
                </a:lnTo>
                <a:cubicBezTo>
                  <a:pt x="857489" y="391407"/>
                  <a:pt x="857489" y="391397"/>
                  <a:pt x="857493" y="391384"/>
                </a:cubicBezTo>
                <a:cubicBezTo>
                  <a:pt x="860020" y="373758"/>
                  <a:pt x="876357" y="361519"/>
                  <a:pt x="893983" y="364047"/>
                </a:cubicBezTo>
                <a:lnTo>
                  <a:pt x="1019402" y="381973"/>
                </a:lnTo>
                <a:cubicBezTo>
                  <a:pt x="1032301" y="383843"/>
                  <a:pt x="1045049" y="377711"/>
                  <a:pt x="1051643" y="366465"/>
                </a:cubicBezTo>
                <a:cubicBezTo>
                  <a:pt x="1058491" y="355290"/>
                  <a:pt x="1057720" y="341049"/>
                  <a:pt x="1049708" y="330677"/>
                </a:cubicBezTo>
                <a:lnTo>
                  <a:pt x="973716" y="229343"/>
                </a:lnTo>
                <a:cubicBezTo>
                  <a:pt x="968576" y="222511"/>
                  <a:pt x="966362" y="213917"/>
                  <a:pt x="967558" y="205453"/>
                </a:cubicBezTo>
                <a:cubicBezTo>
                  <a:pt x="967916" y="204260"/>
                  <a:pt x="968335" y="203087"/>
                  <a:pt x="968815" y="201938"/>
                </a:cubicBezTo>
                <a:cubicBezTo>
                  <a:pt x="781561" y="202606"/>
                  <a:pt x="607691" y="299107"/>
                  <a:pt x="508066" y="457656"/>
                </a:cubicBezTo>
                <a:cubicBezTo>
                  <a:pt x="347498" y="713196"/>
                  <a:pt x="424490" y="1050520"/>
                  <a:pt x="680031" y="1211087"/>
                </a:cubicBezTo>
                <a:cubicBezTo>
                  <a:pt x="742982" y="1250277"/>
                  <a:pt x="781555" y="1318908"/>
                  <a:pt x="782300" y="1393057"/>
                </a:cubicBezTo>
                <a:lnTo>
                  <a:pt x="782300" y="1523343"/>
                </a:lnTo>
                <a:cubicBezTo>
                  <a:pt x="782300" y="1558957"/>
                  <a:pt x="811169" y="1587826"/>
                  <a:pt x="846782" y="1587826"/>
                </a:cubicBezTo>
                <a:lnTo>
                  <a:pt x="1104712" y="1587826"/>
                </a:lnTo>
                <a:cubicBezTo>
                  <a:pt x="1140325" y="1587826"/>
                  <a:pt x="1169194" y="1558957"/>
                  <a:pt x="1169194" y="1523343"/>
                </a:cubicBezTo>
                <a:lnTo>
                  <a:pt x="1169194" y="1395733"/>
                </a:lnTo>
                <a:cubicBezTo>
                  <a:pt x="1169997" y="1320153"/>
                  <a:pt x="1209186" y="1250170"/>
                  <a:pt x="1273204" y="1209991"/>
                </a:cubicBezTo>
                <a:cubicBezTo>
                  <a:pt x="1297166" y="1194470"/>
                  <a:pt x="1319876" y="1177105"/>
                  <a:pt x="1341136" y="1158051"/>
                </a:cubicBezTo>
                <a:lnTo>
                  <a:pt x="1384146" y="1206090"/>
                </a:lnTo>
                <a:cubicBezTo>
                  <a:pt x="1360381" y="1227363"/>
                  <a:pt x="1335007" y="1246766"/>
                  <a:pt x="1308250" y="1264124"/>
                </a:cubicBezTo>
                <a:cubicBezTo>
                  <a:pt x="1262639" y="1292467"/>
                  <a:pt x="1234550" y="1342042"/>
                  <a:pt x="1233676" y="1395733"/>
                </a:cubicBezTo>
                <a:lnTo>
                  <a:pt x="1233676" y="1523343"/>
                </a:lnTo>
                <a:cubicBezTo>
                  <a:pt x="1233531" y="1569210"/>
                  <a:pt x="1208960" y="1611523"/>
                  <a:pt x="1169194" y="1634382"/>
                </a:cubicBezTo>
                <a:lnTo>
                  <a:pt x="1169194" y="1813514"/>
                </a:lnTo>
                <a:cubicBezTo>
                  <a:pt x="1169194" y="1884738"/>
                  <a:pt x="1111453" y="1942479"/>
                  <a:pt x="1040229" y="1942479"/>
                </a:cubicBezTo>
                <a:lnTo>
                  <a:pt x="911265" y="1942479"/>
                </a:lnTo>
                <a:cubicBezTo>
                  <a:pt x="840041" y="1942479"/>
                  <a:pt x="782300" y="1884738"/>
                  <a:pt x="782300" y="1813514"/>
                </a:cubicBezTo>
                <a:lnTo>
                  <a:pt x="782300" y="1634382"/>
                </a:lnTo>
                <a:cubicBezTo>
                  <a:pt x="742533" y="1611523"/>
                  <a:pt x="717962" y="1569210"/>
                  <a:pt x="717817" y="1523343"/>
                </a:cubicBezTo>
                <a:lnTo>
                  <a:pt x="717817" y="1431456"/>
                </a:lnTo>
                <a:lnTo>
                  <a:pt x="667747" y="1481688"/>
                </a:lnTo>
                <a:cubicBezTo>
                  <a:pt x="656746" y="1492676"/>
                  <a:pt x="639475" y="1494246"/>
                  <a:pt x="626672" y="1485428"/>
                </a:cubicBezTo>
                <a:lnTo>
                  <a:pt x="537589" y="1424169"/>
                </a:lnTo>
                <a:lnTo>
                  <a:pt x="515311" y="1530146"/>
                </a:lnTo>
                <a:cubicBezTo>
                  <a:pt x="512167" y="1545071"/>
                  <a:pt x="499000" y="1555752"/>
                  <a:pt x="483746" y="1555746"/>
                </a:cubicBezTo>
                <a:lnTo>
                  <a:pt x="354782" y="1555746"/>
                </a:lnTo>
                <a:cubicBezTo>
                  <a:pt x="339483" y="1555720"/>
                  <a:pt x="326309" y="1544942"/>
                  <a:pt x="323250" y="1529953"/>
                </a:cubicBezTo>
                <a:lnTo>
                  <a:pt x="300971" y="1423976"/>
                </a:lnTo>
                <a:lnTo>
                  <a:pt x="211889" y="1485396"/>
                </a:lnTo>
                <a:cubicBezTo>
                  <a:pt x="199079" y="1494233"/>
                  <a:pt x="181785" y="1492659"/>
                  <a:pt x="170781" y="1481656"/>
                </a:cubicBezTo>
                <a:lnTo>
                  <a:pt x="74058" y="1384932"/>
                </a:lnTo>
                <a:cubicBezTo>
                  <a:pt x="63071" y="1373931"/>
                  <a:pt x="61498" y="1356660"/>
                  <a:pt x="70318" y="1343857"/>
                </a:cubicBezTo>
                <a:lnTo>
                  <a:pt x="131576" y="1254774"/>
                </a:lnTo>
                <a:lnTo>
                  <a:pt x="25599" y="1232496"/>
                </a:lnTo>
                <a:cubicBezTo>
                  <a:pt x="10674" y="1229352"/>
                  <a:pt x="-7" y="1216185"/>
                  <a:pt x="0" y="1200931"/>
                </a:cubicBezTo>
                <a:lnTo>
                  <a:pt x="0" y="1071967"/>
                </a:lnTo>
                <a:cubicBezTo>
                  <a:pt x="-33" y="1056794"/>
                  <a:pt x="10519" y="1043649"/>
                  <a:pt x="25341" y="1040403"/>
                </a:cubicBezTo>
                <a:lnTo>
                  <a:pt x="131318" y="1018124"/>
                </a:lnTo>
                <a:lnTo>
                  <a:pt x="70060" y="929042"/>
                </a:lnTo>
                <a:cubicBezTo>
                  <a:pt x="61240" y="916239"/>
                  <a:pt x="62813" y="898967"/>
                  <a:pt x="73800" y="887966"/>
                </a:cubicBezTo>
                <a:lnTo>
                  <a:pt x="170523" y="791243"/>
                </a:lnTo>
                <a:cubicBezTo>
                  <a:pt x="181527" y="780239"/>
                  <a:pt x="198821" y="778665"/>
                  <a:pt x="211631" y="787503"/>
                </a:cubicBezTo>
                <a:lnTo>
                  <a:pt x="300874" y="849051"/>
                </a:lnTo>
                <a:lnTo>
                  <a:pt x="323153" y="743107"/>
                </a:lnTo>
                <a:cubicBezTo>
                  <a:pt x="326213" y="728118"/>
                  <a:pt x="339386" y="717343"/>
                  <a:pt x="354685" y="717314"/>
                </a:cubicBezTo>
                <a:lnTo>
                  <a:pt x="364357" y="717314"/>
                </a:lnTo>
                <a:cubicBezTo>
                  <a:pt x="364809" y="708254"/>
                  <a:pt x="365131" y="699194"/>
                  <a:pt x="366002" y="690070"/>
                </a:cubicBezTo>
                <a:cubicBezTo>
                  <a:pt x="393984" y="402507"/>
                  <a:pt x="619085" y="173587"/>
                  <a:pt x="906138" y="140777"/>
                </a:cubicBezTo>
                <a:cubicBezTo>
                  <a:pt x="949970" y="136118"/>
                  <a:pt x="994173" y="136118"/>
                  <a:pt x="1038005" y="140777"/>
                </a:cubicBezTo>
                <a:lnTo>
                  <a:pt x="1134889" y="68073"/>
                </a:lnTo>
                <a:cubicBezTo>
                  <a:pt x="1149134" y="57389"/>
                  <a:pt x="1169342" y="60276"/>
                  <a:pt x="1180027" y="74521"/>
                </a:cubicBezTo>
                <a:lnTo>
                  <a:pt x="1256020" y="175887"/>
                </a:lnTo>
                <a:cubicBezTo>
                  <a:pt x="1261152" y="182732"/>
                  <a:pt x="1268797" y="187255"/>
                  <a:pt x="1277267" y="188461"/>
                </a:cubicBezTo>
                <a:cubicBezTo>
                  <a:pt x="1294896" y="190972"/>
                  <a:pt x="1311220" y="178717"/>
                  <a:pt x="1313731" y="161089"/>
                </a:cubicBezTo>
                <a:lnTo>
                  <a:pt x="1331657" y="35670"/>
                </a:lnTo>
                <a:cubicBezTo>
                  <a:pt x="1331657" y="35668"/>
                  <a:pt x="1331657" y="35665"/>
                  <a:pt x="1331657" y="35662"/>
                </a:cubicBezTo>
                <a:cubicBezTo>
                  <a:pt x="1334188" y="18036"/>
                  <a:pt x="1350528" y="5799"/>
                  <a:pt x="1368154" y="8330"/>
                </a:cubicBezTo>
                <a:close/>
                <a:moveTo>
                  <a:pt x="425217" y="0"/>
                </a:moveTo>
                <a:lnTo>
                  <a:pt x="491148" y="257923"/>
                </a:lnTo>
                <a:lnTo>
                  <a:pt x="428674" y="273892"/>
                </a:lnTo>
                <a:lnTo>
                  <a:pt x="362744" y="15969"/>
                </a:lnTo>
                <a:close/>
              </a:path>
            </a:pathLst>
          </a:custGeom>
          <a:solidFill>
            <a:schemeClr val="tx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0" name="Freeform: Shape 39">
            <a:extLst>
              <a:ext uri="{FF2B5EF4-FFF2-40B4-BE49-F238E27FC236}">
                <a16:creationId xmlns:a16="http://schemas.microsoft.com/office/drawing/2014/main" id="{88F13DEE-C8F6-20FB-6342-D1C102712B5F}"/>
              </a:ext>
            </a:extLst>
          </p:cNvPr>
          <p:cNvSpPr>
            <a:spLocks noChangeAspect="1"/>
          </p:cNvSpPr>
          <p:nvPr/>
        </p:nvSpPr>
        <p:spPr>
          <a:xfrm>
            <a:off x="8042332" y="1151135"/>
            <a:ext cx="404392" cy="404392"/>
          </a:xfrm>
          <a:custGeom>
            <a:avLst/>
            <a:gdLst>
              <a:gd name="connsiteX0" fmla="*/ 53679 w 590550"/>
              <a:gd name="connsiteY0" fmla="*/ 523399 h 590550"/>
              <a:gd name="connsiteX1" fmla="*/ 67150 w 590550"/>
              <a:gd name="connsiteY1" fmla="*/ 536870 h 590550"/>
              <a:gd name="connsiteX2" fmla="*/ 54359 w 590550"/>
              <a:gd name="connsiteY2" fmla="*/ 549660 h 590550"/>
              <a:gd name="connsiteX3" fmla="*/ 40889 w 590550"/>
              <a:gd name="connsiteY3" fmla="*/ 536190 h 590550"/>
              <a:gd name="connsiteX4" fmla="*/ 80615 w 590550"/>
              <a:gd name="connsiteY4" fmla="*/ 496450 h 590550"/>
              <a:gd name="connsiteX5" fmla="*/ 94086 w 590550"/>
              <a:gd name="connsiteY5" fmla="*/ 509921 h 590550"/>
              <a:gd name="connsiteX6" fmla="*/ 80615 w 590550"/>
              <a:gd name="connsiteY6" fmla="*/ 523391 h 590550"/>
              <a:gd name="connsiteX7" fmla="*/ 67145 w 590550"/>
              <a:gd name="connsiteY7" fmla="*/ 509921 h 590550"/>
              <a:gd name="connsiteX8" fmla="*/ 107561 w 590550"/>
              <a:gd name="connsiteY8" fmla="*/ 469510 h 590550"/>
              <a:gd name="connsiteX9" fmla="*/ 121032 w 590550"/>
              <a:gd name="connsiteY9" fmla="*/ 482981 h 590550"/>
              <a:gd name="connsiteX10" fmla="*/ 107561 w 590550"/>
              <a:gd name="connsiteY10" fmla="*/ 496451 h 590550"/>
              <a:gd name="connsiteX11" fmla="*/ 94091 w 590550"/>
              <a:gd name="connsiteY11" fmla="*/ 482981 h 590550"/>
              <a:gd name="connsiteX12" fmla="*/ 499605 w 590550"/>
              <a:gd name="connsiteY12" fmla="*/ 463886 h 590550"/>
              <a:gd name="connsiteX13" fmla="*/ 482698 w 590550"/>
              <a:gd name="connsiteY13" fmla="*/ 482708 h 590550"/>
              <a:gd name="connsiteX14" fmla="*/ 463838 w 590550"/>
              <a:gd name="connsiteY14" fmla="*/ 499586 h 590550"/>
              <a:gd name="connsiteX15" fmla="*/ 511673 w 590550"/>
              <a:gd name="connsiteY15" fmla="*/ 511673 h 590550"/>
              <a:gd name="connsiteX16" fmla="*/ 499605 w 590550"/>
              <a:gd name="connsiteY16" fmla="*/ 463886 h 590550"/>
              <a:gd name="connsiteX17" fmla="*/ 395734 w 590550"/>
              <a:gd name="connsiteY17" fmla="*/ 463886 h 590550"/>
              <a:gd name="connsiteX18" fmla="*/ 383676 w 590550"/>
              <a:gd name="connsiteY18" fmla="*/ 511673 h 590550"/>
              <a:gd name="connsiteX19" fmla="*/ 431491 w 590550"/>
              <a:gd name="connsiteY19" fmla="*/ 499586 h 590550"/>
              <a:gd name="connsiteX20" fmla="*/ 412641 w 590550"/>
              <a:gd name="connsiteY20" fmla="*/ 482708 h 590550"/>
              <a:gd name="connsiteX21" fmla="*/ 395734 w 590550"/>
              <a:gd name="connsiteY21" fmla="*/ 463886 h 590550"/>
              <a:gd name="connsiteX22" fmla="*/ 104775 w 590550"/>
              <a:gd name="connsiteY22" fmla="*/ 442093 h 590550"/>
              <a:gd name="connsiteX23" fmla="*/ 28099 w 590550"/>
              <a:gd name="connsiteY23" fmla="*/ 518779 h 590550"/>
              <a:gd name="connsiteX24" fmla="*/ 19050 w 590550"/>
              <a:gd name="connsiteY24" fmla="*/ 540620 h 590550"/>
              <a:gd name="connsiteX25" fmla="*/ 49940 w 590550"/>
              <a:gd name="connsiteY25" fmla="*/ 571500 h 590550"/>
              <a:gd name="connsiteX26" fmla="*/ 71780 w 590550"/>
              <a:gd name="connsiteY26" fmla="*/ 562451 h 590550"/>
              <a:gd name="connsiteX27" fmla="*/ 148457 w 590550"/>
              <a:gd name="connsiteY27" fmla="*/ 485775 h 590550"/>
              <a:gd name="connsiteX28" fmla="*/ 447675 w 590550"/>
              <a:gd name="connsiteY28" fmla="*/ 438150 h 590550"/>
              <a:gd name="connsiteX29" fmla="*/ 457200 w 590550"/>
              <a:gd name="connsiteY29" fmla="*/ 447675 h 590550"/>
              <a:gd name="connsiteX30" fmla="*/ 447675 w 590550"/>
              <a:gd name="connsiteY30" fmla="*/ 457200 h 590550"/>
              <a:gd name="connsiteX31" fmla="*/ 438150 w 590550"/>
              <a:gd name="connsiteY31" fmla="*/ 447675 h 590550"/>
              <a:gd name="connsiteX32" fmla="*/ 447675 w 590550"/>
              <a:gd name="connsiteY32" fmla="*/ 438150 h 590550"/>
              <a:gd name="connsiteX33" fmla="*/ 147447 w 590550"/>
              <a:gd name="connsiteY33" fmla="*/ 418471 h 590550"/>
              <a:gd name="connsiteX34" fmla="*/ 127768 w 590550"/>
              <a:gd name="connsiteY34" fmla="*/ 438150 h 590550"/>
              <a:gd name="connsiteX35" fmla="*/ 152400 w 590550"/>
              <a:gd name="connsiteY35" fmla="*/ 462782 h 590550"/>
              <a:gd name="connsiteX36" fmla="*/ 172079 w 590550"/>
              <a:gd name="connsiteY36" fmla="*/ 443103 h 590550"/>
              <a:gd name="connsiteX37" fmla="*/ 147447 w 590550"/>
              <a:gd name="connsiteY37" fmla="*/ 418471 h 590550"/>
              <a:gd name="connsiteX38" fmla="*/ 447674 w 590550"/>
              <a:gd name="connsiteY38" fmla="*/ 407079 h 590550"/>
              <a:gd name="connsiteX39" fmla="*/ 426119 w 590550"/>
              <a:gd name="connsiteY39" fmla="*/ 426110 h 590550"/>
              <a:gd name="connsiteX40" fmla="*/ 407012 w 590550"/>
              <a:gd name="connsiteY40" fmla="*/ 447675 h 590550"/>
              <a:gd name="connsiteX41" fmla="*/ 426119 w 590550"/>
              <a:gd name="connsiteY41" fmla="*/ 469239 h 590550"/>
              <a:gd name="connsiteX42" fmla="*/ 447674 w 590550"/>
              <a:gd name="connsiteY42" fmla="*/ 488337 h 590550"/>
              <a:gd name="connsiteX43" fmla="*/ 469229 w 590550"/>
              <a:gd name="connsiteY43" fmla="*/ 469239 h 590550"/>
              <a:gd name="connsiteX44" fmla="*/ 488337 w 590550"/>
              <a:gd name="connsiteY44" fmla="*/ 447675 h 590550"/>
              <a:gd name="connsiteX45" fmla="*/ 469229 w 590550"/>
              <a:gd name="connsiteY45" fmla="*/ 426110 h 590550"/>
              <a:gd name="connsiteX46" fmla="*/ 447674 w 590550"/>
              <a:gd name="connsiteY46" fmla="*/ 407079 h 590550"/>
              <a:gd name="connsiteX47" fmla="*/ 502929 w 590550"/>
              <a:gd name="connsiteY47" fmla="*/ 380962 h 590550"/>
              <a:gd name="connsiteX48" fmla="*/ 463943 w 590550"/>
              <a:gd name="connsiteY48" fmla="*/ 395783 h 590550"/>
              <a:gd name="connsiteX49" fmla="*/ 482707 w 590550"/>
              <a:gd name="connsiteY49" fmla="*/ 412642 h 590550"/>
              <a:gd name="connsiteX50" fmla="*/ 499614 w 590550"/>
              <a:gd name="connsiteY50" fmla="*/ 431463 h 590550"/>
              <a:gd name="connsiteX51" fmla="*/ 511673 w 590550"/>
              <a:gd name="connsiteY51" fmla="*/ 383676 h 590550"/>
              <a:gd name="connsiteX52" fmla="*/ 502929 w 590550"/>
              <a:gd name="connsiteY52" fmla="*/ 380962 h 590550"/>
              <a:gd name="connsiteX53" fmla="*/ 392420 w 590550"/>
              <a:gd name="connsiteY53" fmla="*/ 380962 h 590550"/>
              <a:gd name="connsiteX54" fmla="*/ 383676 w 590550"/>
              <a:gd name="connsiteY54" fmla="*/ 383676 h 590550"/>
              <a:gd name="connsiteX55" fmla="*/ 395734 w 590550"/>
              <a:gd name="connsiteY55" fmla="*/ 431463 h 590550"/>
              <a:gd name="connsiteX56" fmla="*/ 412641 w 590550"/>
              <a:gd name="connsiteY56" fmla="*/ 412642 h 590550"/>
              <a:gd name="connsiteX57" fmla="*/ 431406 w 590550"/>
              <a:gd name="connsiteY57" fmla="*/ 395783 h 590550"/>
              <a:gd name="connsiteX58" fmla="*/ 392420 w 590550"/>
              <a:gd name="connsiteY58" fmla="*/ 380962 h 590550"/>
              <a:gd name="connsiteX59" fmla="*/ 510436 w 590550"/>
              <a:gd name="connsiteY59" fmla="*/ 362623 h 590550"/>
              <a:gd name="connsiteX60" fmla="*/ 525141 w 590550"/>
              <a:gd name="connsiteY60" fmla="*/ 370208 h 590550"/>
              <a:gd name="connsiteX61" fmla="*/ 511644 w 590550"/>
              <a:gd name="connsiteY61" fmla="*/ 447675 h 590550"/>
              <a:gd name="connsiteX62" fmla="*/ 525141 w 590550"/>
              <a:gd name="connsiteY62" fmla="*/ 525142 h 590550"/>
              <a:gd name="connsiteX63" fmla="*/ 503138 w 590550"/>
              <a:gd name="connsiteY63" fmla="*/ 533390 h 590550"/>
              <a:gd name="connsiteX64" fmla="*/ 447674 w 590550"/>
              <a:gd name="connsiteY64" fmla="*/ 511664 h 590550"/>
              <a:gd name="connsiteX65" fmla="*/ 392210 w 590550"/>
              <a:gd name="connsiteY65" fmla="*/ 533390 h 590550"/>
              <a:gd name="connsiteX66" fmla="*/ 370207 w 590550"/>
              <a:gd name="connsiteY66" fmla="*/ 525142 h 590550"/>
              <a:gd name="connsiteX67" fmla="*/ 383704 w 590550"/>
              <a:gd name="connsiteY67" fmla="*/ 447675 h 590550"/>
              <a:gd name="connsiteX68" fmla="*/ 370207 w 590550"/>
              <a:gd name="connsiteY68" fmla="*/ 370208 h 590550"/>
              <a:gd name="connsiteX69" fmla="*/ 447674 w 590550"/>
              <a:gd name="connsiteY69" fmla="*/ 383705 h 590550"/>
              <a:gd name="connsiteX70" fmla="*/ 510436 w 590550"/>
              <a:gd name="connsiteY70" fmla="*/ 362623 h 590550"/>
              <a:gd name="connsiteX71" fmla="*/ 447675 w 590550"/>
              <a:gd name="connsiteY71" fmla="*/ 323850 h 590550"/>
              <a:gd name="connsiteX72" fmla="*/ 323850 w 590550"/>
              <a:gd name="connsiteY72" fmla="*/ 447675 h 590550"/>
              <a:gd name="connsiteX73" fmla="*/ 447675 w 590550"/>
              <a:gd name="connsiteY73" fmla="*/ 571500 h 590550"/>
              <a:gd name="connsiteX74" fmla="*/ 571500 w 590550"/>
              <a:gd name="connsiteY74" fmla="*/ 447675 h 590550"/>
              <a:gd name="connsiteX75" fmla="*/ 447675 w 590550"/>
              <a:gd name="connsiteY75" fmla="*/ 323850 h 590550"/>
              <a:gd name="connsiteX76" fmla="*/ 304800 w 590550"/>
              <a:gd name="connsiteY76" fmla="*/ 314325 h 590550"/>
              <a:gd name="connsiteX77" fmla="*/ 323850 w 590550"/>
              <a:gd name="connsiteY77" fmla="*/ 314325 h 590550"/>
              <a:gd name="connsiteX78" fmla="*/ 323850 w 590550"/>
              <a:gd name="connsiteY78" fmla="*/ 333375 h 590550"/>
              <a:gd name="connsiteX79" fmla="*/ 304800 w 590550"/>
              <a:gd name="connsiteY79" fmla="*/ 333375 h 590550"/>
              <a:gd name="connsiteX80" fmla="*/ 266700 w 590550"/>
              <a:gd name="connsiteY80" fmla="*/ 314325 h 590550"/>
              <a:gd name="connsiteX81" fmla="*/ 285750 w 590550"/>
              <a:gd name="connsiteY81" fmla="*/ 314325 h 590550"/>
              <a:gd name="connsiteX82" fmla="*/ 285750 w 590550"/>
              <a:gd name="connsiteY82" fmla="*/ 333375 h 590550"/>
              <a:gd name="connsiteX83" fmla="*/ 266700 w 590550"/>
              <a:gd name="connsiteY83" fmla="*/ 333375 h 590550"/>
              <a:gd name="connsiteX84" fmla="*/ 228600 w 590550"/>
              <a:gd name="connsiteY84" fmla="*/ 314325 h 590550"/>
              <a:gd name="connsiteX85" fmla="*/ 247650 w 590550"/>
              <a:gd name="connsiteY85" fmla="*/ 314325 h 590550"/>
              <a:gd name="connsiteX86" fmla="*/ 247650 w 590550"/>
              <a:gd name="connsiteY86" fmla="*/ 333375 h 590550"/>
              <a:gd name="connsiteX87" fmla="*/ 228600 w 590550"/>
              <a:gd name="connsiteY87" fmla="*/ 333375 h 590550"/>
              <a:gd name="connsiteX88" fmla="*/ 190500 w 590550"/>
              <a:gd name="connsiteY88" fmla="*/ 314325 h 590550"/>
              <a:gd name="connsiteX89" fmla="*/ 209550 w 590550"/>
              <a:gd name="connsiteY89" fmla="*/ 314325 h 590550"/>
              <a:gd name="connsiteX90" fmla="*/ 209550 w 590550"/>
              <a:gd name="connsiteY90" fmla="*/ 333375 h 590550"/>
              <a:gd name="connsiteX91" fmla="*/ 190500 w 590550"/>
              <a:gd name="connsiteY91" fmla="*/ 333375 h 590550"/>
              <a:gd name="connsiteX92" fmla="*/ 372513 w 590550"/>
              <a:gd name="connsiteY92" fmla="*/ 280702 h 590550"/>
              <a:gd name="connsiteX93" fmla="*/ 380905 w 590550"/>
              <a:gd name="connsiteY93" fmla="*/ 321450 h 590550"/>
              <a:gd name="connsiteX94" fmla="*/ 399393 w 590550"/>
              <a:gd name="connsiteY94" fmla="*/ 313373 h 590550"/>
              <a:gd name="connsiteX95" fmla="*/ 393897 w 590550"/>
              <a:gd name="connsiteY95" fmla="*/ 284845 h 590550"/>
              <a:gd name="connsiteX96" fmla="*/ 372513 w 590550"/>
              <a:gd name="connsiteY96" fmla="*/ 280702 h 590550"/>
              <a:gd name="connsiteX97" fmla="*/ 266700 w 590550"/>
              <a:gd name="connsiteY97" fmla="*/ 228600 h 590550"/>
              <a:gd name="connsiteX98" fmla="*/ 171450 w 590550"/>
              <a:gd name="connsiteY98" fmla="*/ 323850 h 590550"/>
              <a:gd name="connsiteX99" fmla="*/ 266700 w 590550"/>
              <a:gd name="connsiteY99" fmla="*/ 419100 h 590550"/>
              <a:gd name="connsiteX100" fmla="*/ 310477 w 590550"/>
              <a:gd name="connsiteY100" fmla="*/ 408184 h 590550"/>
              <a:gd name="connsiteX101" fmla="*/ 361226 w 590550"/>
              <a:gd name="connsiteY101" fmla="*/ 334185 h 590550"/>
              <a:gd name="connsiteX102" fmla="*/ 361950 w 590550"/>
              <a:gd name="connsiteY102" fmla="*/ 323850 h 590550"/>
              <a:gd name="connsiteX103" fmla="*/ 345300 w 590550"/>
              <a:gd name="connsiteY103" fmla="*/ 270300 h 590550"/>
              <a:gd name="connsiteX104" fmla="*/ 300457 w 590550"/>
              <a:gd name="connsiteY104" fmla="*/ 234906 h 590550"/>
              <a:gd name="connsiteX105" fmla="*/ 266700 w 590550"/>
              <a:gd name="connsiteY105" fmla="*/ 228600 h 590550"/>
              <a:gd name="connsiteX106" fmla="*/ 266700 w 590550"/>
              <a:gd name="connsiteY106" fmla="*/ 190500 h 590550"/>
              <a:gd name="connsiteX107" fmla="*/ 133350 w 590550"/>
              <a:gd name="connsiteY107" fmla="*/ 323850 h 590550"/>
              <a:gd name="connsiteX108" fmla="*/ 266700 w 590550"/>
              <a:gd name="connsiteY108" fmla="*/ 457200 h 590550"/>
              <a:gd name="connsiteX109" fmla="*/ 304981 w 590550"/>
              <a:gd name="connsiteY109" fmla="*/ 451333 h 590550"/>
              <a:gd name="connsiteX110" fmla="*/ 304800 w 590550"/>
              <a:gd name="connsiteY110" fmla="*/ 447675 h 590550"/>
              <a:gd name="connsiteX111" fmla="*/ 305867 w 590550"/>
              <a:gd name="connsiteY111" fmla="*/ 430968 h 590550"/>
              <a:gd name="connsiteX112" fmla="*/ 266700 w 590550"/>
              <a:gd name="connsiteY112" fmla="*/ 438150 h 590550"/>
              <a:gd name="connsiteX113" fmla="*/ 152400 w 590550"/>
              <a:gd name="connsiteY113" fmla="*/ 323850 h 590550"/>
              <a:gd name="connsiteX114" fmla="*/ 266700 w 590550"/>
              <a:gd name="connsiteY114" fmla="*/ 209550 h 590550"/>
              <a:gd name="connsiteX115" fmla="*/ 284016 w 590550"/>
              <a:gd name="connsiteY115" fmla="*/ 211007 h 590550"/>
              <a:gd name="connsiteX116" fmla="*/ 275206 w 590550"/>
              <a:gd name="connsiteY116" fmla="*/ 190976 h 590550"/>
              <a:gd name="connsiteX117" fmla="*/ 266700 w 590550"/>
              <a:gd name="connsiteY117" fmla="*/ 190500 h 590550"/>
              <a:gd name="connsiteX118" fmla="*/ 381000 w 590550"/>
              <a:gd name="connsiteY118" fmla="*/ 142875 h 590550"/>
              <a:gd name="connsiteX119" fmla="*/ 381000 w 590550"/>
              <a:gd name="connsiteY119" fmla="*/ 200025 h 590550"/>
              <a:gd name="connsiteX120" fmla="*/ 400050 w 590550"/>
              <a:gd name="connsiteY120" fmla="*/ 200025 h 590550"/>
              <a:gd name="connsiteX121" fmla="*/ 400050 w 590550"/>
              <a:gd name="connsiteY121" fmla="*/ 142875 h 590550"/>
              <a:gd name="connsiteX122" fmla="*/ 419100 w 590550"/>
              <a:gd name="connsiteY122" fmla="*/ 123825 h 590550"/>
              <a:gd name="connsiteX123" fmla="*/ 419100 w 590550"/>
              <a:gd name="connsiteY123" fmla="*/ 200025 h 590550"/>
              <a:gd name="connsiteX124" fmla="*/ 438150 w 590550"/>
              <a:gd name="connsiteY124" fmla="*/ 200025 h 590550"/>
              <a:gd name="connsiteX125" fmla="*/ 438150 w 590550"/>
              <a:gd name="connsiteY125" fmla="*/ 123825 h 590550"/>
              <a:gd name="connsiteX126" fmla="*/ 342900 w 590550"/>
              <a:gd name="connsiteY126" fmla="*/ 104775 h 590550"/>
              <a:gd name="connsiteX127" fmla="*/ 342900 w 590550"/>
              <a:gd name="connsiteY127" fmla="*/ 200025 h 590550"/>
              <a:gd name="connsiteX128" fmla="*/ 361950 w 590550"/>
              <a:gd name="connsiteY128" fmla="*/ 200025 h 590550"/>
              <a:gd name="connsiteX129" fmla="*/ 361950 w 590550"/>
              <a:gd name="connsiteY129" fmla="*/ 104775 h 590550"/>
              <a:gd name="connsiteX130" fmla="*/ 457200 w 590550"/>
              <a:gd name="connsiteY130" fmla="*/ 85725 h 590550"/>
              <a:gd name="connsiteX131" fmla="*/ 457200 w 590550"/>
              <a:gd name="connsiteY131" fmla="*/ 200025 h 590550"/>
              <a:gd name="connsiteX132" fmla="*/ 476250 w 590550"/>
              <a:gd name="connsiteY132" fmla="*/ 200025 h 590550"/>
              <a:gd name="connsiteX133" fmla="*/ 476250 w 590550"/>
              <a:gd name="connsiteY133" fmla="*/ 85725 h 590550"/>
              <a:gd name="connsiteX134" fmla="*/ 123825 w 590550"/>
              <a:gd name="connsiteY134" fmla="*/ 76200 h 590550"/>
              <a:gd name="connsiteX135" fmla="*/ 76200 w 590550"/>
              <a:gd name="connsiteY135" fmla="*/ 123825 h 590550"/>
              <a:gd name="connsiteX136" fmla="*/ 123825 w 590550"/>
              <a:gd name="connsiteY136" fmla="*/ 171450 h 590550"/>
              <a:gd name="connsiteX137" fmla="*/ 171450 w 590550"/>
              <a:gd name="connsiteY137" fmla="*/ 123825 h 590550"/>
              <a:gd name="connsiteX138" fmla="*/ 123825 w 590550"/>
              <a:gd name="connsiteY138" fmla="*/ 76200 h 590550"/>
              <a:gd name="connsiteX139" fmla="*/ 438150 w 590550"/>
              <a:gd name="connsiteY139" fmla="*/ 66675 h 590550"/>
              <a:gd name="connsiteX140" fmla="*/ 495300 w 590550"/>
              <a:gd name="connsiteY140" fmla="*/ 66675 h 590550"/>
              <a:gd name="connsiteX141" fmla="*/ 495300 w 590550"/>
              <a:gd name="connsiteY141" fmla="*/ 219075 h 590550"/>
              <a:gd name="connsiteX142" fmla="*/ 323850 w 590550"/>
              <a:gd name="connsiteY142" fmla="*/ 219075 h 590550"/>
              <a:gd name="connsiteX143" fmla="*/ 323850 w 590550"/>
              <a:gd name="connsiteY143" fmla="*/ 85725 h 590550"/>
              <a:gd name="connsiteX144" fmla="*/ 381000 w 590550"/>
              <a:gd name="connsiteY144" fmla="*/ 85725 h 590550"/>
              <a:gd name="connsiteX145" fmla="*/ 381000 w 590550"/>
              <a:gd name="connsiteY145" fmla="*/ 123825 h 590550"/>
              <a:gd name="connsiteX146" fmla="*/ 400050 w 590550"/>
              <a:gd name="connsiteY146" fmla="*/ 123825 h 590550"/>
              <a:gd name="connsiteX147" fmla="*/ 400050 w 590550"/>
              <a:gd name="connsiteY147" fmla="*/ 104775 h 590550"/>
              <a:gd name="connsiteX148" fmla="*/ 438150 w 590550"/>
              <a:gd name="connsiteY148" fmla="*/ 104775 h 590550"/>
              <a:gd name="connsiteX149" fmla="*/ 123825 w 590550"/>
              <a:gd name="connsiteY149" fmla="*/ 57150 h 590550"/>
              <a:gd name="connsiteX150" fmla="*/ 190500 w 590550"/>
              <a:gd name="connsiteY150" fmla="*/ 123825 h 590550"/>
              <a:gd name="connsiteX151" fmla="*/ 123825 w 590550"/>
              <a:gd name="connsiteY151" fmla="*/ 190500 h 590550"/>
              <a:gd name="connsiteX152" fmla="*/ 57150 w 590550"/>
              <a:gd name="connsiteY152" fmla="*/ 123825 h 590550"/>
              <a:gd name="connsiteX153" fmla="*/ 123825 w 590550"/>
              <a:gd name="connsiteY153" fmla="*/ 57150 h 590550"/>
              <a:gd name="connsiteX154" fmla="*/ 409575 w 590550"/>
              <a:gd name="connsiteY154" fmla="*/ 19050 h 590550"/>
              <a:gd name="connsiteX155" fmla="*/ 285750 w 590550"/>
              <a:gd name="connsiteY155" fmla="*/ 142875 h 590550"/>
              <a:gd name="connsiteX156" fmla="*/ 409575 w 590550"/>
              <a:gd name="connsiteY156" fmla="*/ 266700 h 590550"/>
              <a:gd name="connsiteX157" fmla="*/ 533400 w 590550"/>
              <a:gd name="connsiteY157" fmla="*/ 142875 h 590550"/>
              <a:gd name="connsiteX158" fmla="*/ 409575 w 590550"/>
              <a:gd name="connsiteY158" fmla="*/ 19050 h 590550"/>
              <a:gd name="connsiteX159" fmla="*/ 102689 w 590550"/>
              <a:gd name="connsiteY159" fmla="*/ 19050 h 590550"/>
              <a:gd name="connsiteX160" fmla="*/ 96860 w 590550"/>
              <a:gd name="connsiteY160" fmla="*/ 42405 h 590550"/>
              <a:gd name="connsiteX161" fmla="*/ 85239 w 590550"/>
              <a:gd name="connsiteY161" fmla="*/ 47130 h 590550"/>
              <a:gd name="connsiteX162" fmla="*/ 64684 w 590550"/>
              <a:gd name="connsiteY162" fmla="*/ 34785 h 590550"/>
              <a:gd name="connsiteX163" fmla="*/ 34795 w 590550"/>
              <a:gd name="connsiteY163" fmla="*/ 64684 h 590550"/>
              <a:gd name="connsiteX164" fmla="*/ 47139 w 590550"/>
              <a:gd name="connsiteY164" fmla="*/ 85249 h 590550"/>
              <a:gd name="connsiteX165" fmla="*/ 42348 w 590550"/>
              <a:gd name="connsiteY165" fmla="*/ 96869 h 590550"/>
              <a:gd name="connsiteX166" fmla="*/ 19050 w 590550"/>
              <a:gd name="connsiteY166" fmla="*/ 102689 h 590550"/>
              <a:gd name="connsiteX167" fmla="*/ 19050 w 590550"/>
              <a:gd name="connsiteY167" fmla="*/ 144961 h 590550"/>
              <a:gd name="connsiteX168" fmla="*/ 42377 w 590550"/>
              <a:gd name="connsiteY168" fmla="*/ 150781 h 590550"/>
              <a:gd name="connsiteX169" fmla="*/ 47139 w 590550"/>
              <a:gd name="connsiteY169" fmla="*/ 162401 h 590550"/>
              <a:gd name="connsiteX170" fmla="*/ 34795 w 590550"/>
              <a:gd name="connsiteY170" fmla="*/ 182966 h 590550"/>
              <a:gd name="connsiteX171" fmla="*/ 64684 w 590550"/>
              <a:gd name="connsiteY171" fmla="*/ 212865 h 590550"/>
              <a:gd name="connsiteX172" fmla="*/ 85239 w 590550"/>
              <a:gd name="connsiteY172" fmla="*/ 200520 h 590550"/>
              <a:gd name="connsiteX173" fmla="*/ 96117 w 590550"/>
              <a:gd name="connsiteY173" fmla="*/ 204940 h 590550"/>
              <a:gd name="connsiteX174" fmla="*/ 98050 w 590550"/>
              <a:gd name="connsiteY174" fmla="*/ 210036 h 590550"/>
              <a:gd name="connsiteX175" fmla="*/ 102689 w 590550"/>
              <a:gd name="connsiteY175" fmla="*/ 228600 h 590550"/>
              <a:gd name="connsiteX176" fmla="*/ 147923 w 590550"/>
              <a:gd name="connsiteY176" fmla="*/ 228600 h 590550"/>
              <a:gd name="connsiteX177" fmla="*/ 212455 w 590550"/>
              <a:gd name="connsiteY177" fmla="*/ 181594 h 590550"/>
              <a:gd name="connsiteX178" fmla="*/ 200454 w 590550"/>
              <a:gd name="connsiteY178" fmla="*/ 162506 h 590550"/>
              <a:gd name="connsiteX179" fmla="*/ 204949 w 590550"/>
              <a:gd name="connsiteY179" fmla="*/ 151552 h 590550"/>
              <a:gd name="connsiteX180" fmla="*/ 210036 w 590550"/>
              <a:gd name="connsiteY180" fmla="*/ 149600 h 590550"/>
              <a:gd name="connsiteX181" fmla="*/ 228600 w 590550"/>
              <a:gd name="connsiteY181" fmla="*/ 144961 h 590550"/>
              <a:gd name="connsiteX182" fmla="*/ 228600 w 590550"/>
              <a:gd name="connsiteY182" fmla="*/ 102689 h 590550"/>
              <a:gd name="connsiteX183" fmla="*/ 205302 w 590550"/>
              <a:gd name="connsiteY183" fmla="*/ 96869 h 590550"/>
              <a:gd name="connsiteX184" fmla="*/ 200511 w 590550"/>
              <a:gd name="connsiteY184" fmla="*/ 85249 h 590550"/>
              <a:gd name="connsiteX185" fmla="*/ 212855 w 590550"/>
              <a:gd name="connsiteY185" fmla="*/ 64684 h 590550"/>
              <a:gd name="connsiteX186" fmla="*/ 182966 w 590550"/>
              <a:gd name="connsiteY186" fmla="*/ 34785 h 590550"/>
              <a:gd name="connsiteX187" fmla="*/ 162411 w 590550"/>
              <a:gd name="connsiteY187" fmla="*/ 47130 h 590550"/>
              <a:gd name="connsiteX188" fmla="*/ 151533 w 590550"/>
              <a:gd name="connsiteY188" fmla="*/ 42710 h 590550"/>
              <a:gd name="connsiteX189" fmla="*/ 149600 w 590550"/>
              <a:gd name="connsiteY189" fmla="*/ 37614 h 590550"/>
              <a:gd name="connsiteX190" fmla="*/ 144961 w 590550"/>
              <a:gd name="connsiteY190" fmla="*/ 19050 h 590550"/>
              <a:gd name="connsiteX191" fmla="*/ 87811 w 590550"/>
              <a:gd name="connsiteY191" fmla="*/ 0 h 590550"/>
              <a:gd name="connsiteX192" fmla="*/ 159839 w 590550"/>
              <a:gd name="connsiteY192" fmla="*/ 0 h 590550"/>
              <a:gd name="connsiteX193" fmla="*/ 165583 w 590550"/>
              <a:gd name="connsiteY193" fmla="*/ 23003 h 590550"/>
              <a:gd name="connsiteX194" fmla="*/ 185909 w 590550"/>
              <a:gd name="connsiteY194" fmla="*/ 10801 h 590550"/>
              <a:gd name="connsiteX195" fmla="*/ 236839 w 590550"/>
              <a:gd name="connsiteY195" fmla="*/ 61722 h 590550"/>
              <a:gd name="connsiteX196" fmla="*/ 224638 w 590550"/>
              <a:gd name="connsiteY196" fmla="*/ 82067 h 590550"/>
              <a:gd name="connsiteX197" fmla="*/ 247650 w 590550"/>
              <a:gd name="connsiteY197" fmla="*/ 87811 h 590550"/>
              <a:gd name="connsiteX198" fmla="*/ 247650 w 590550"/>
              <a:gd name="connsiteY198" fmla="*/ 159839 h 590550"/>
              <a:gd name="connsiteX199" fmla="*/ 224857 w 590550"/>
              <a:gd name="connsiteY199" fmla="*/ 165535 h 590550"/>
              <a:gd name="connsiteX200" fmla="*/ 231296 w 590550"/>
              <a:gd name="connsiteY200" fmla="*/ 175774 h 590550"/>
              <a:gd name="connsiteX201" fmla="*/ 266700 w 590550"/>
              <a:gd name="connsiteY201" fmla="*/ 171450 h 590550"/>
              <a:gd name="connsiteX202" fmla="*/ 269596 w 590550"/>
              <a:gd name="connsiteY202" fmla="*/ 171536 h 590550"/>
              <a:gd name="connsiteX203" fmla="*/ 266700 w 590550"/>
              <a:gd name="connsiteY203" fmla="*/ 142875 h 590550"/>
              <a:gd name="connsiteX204" fmla="*/ 409575 w 590550"/>
              <a:gd name="connsiteY204" fmla="*/ 0 h 590550"/>
              <a:gd name="connsiteX205" fmla="*/ 552450 w 590550"/>
              <a:gd name="connsiteY205" fmla="*/ 142875 h 590550"/>
              <a:gd name="connsiteX206" fmla="*/ 413957 w 590550"/>
              <a:gd name="connsiteY206" fmla="*/ 285531 h 590550"/>
              <a:gd name="connsiteX207" fmla="*/ 418109 w 590550"/>
              <a:gd name="connsiteY207" fmla="*/ 307915 h 590550"/>
              <a:gd name="connsiteX208" fmla="*/ 447675 w 590550"/>
              <a:gd name="connsiteY208" fmla="*/ 304800 h 590550"/>
              <a:gd name="connsiteX209" fmla="*/ 590550 w 590550"/>
              <a:gd name="connsiteY209" fmla="*/ 447675 h 590550"/>
              <a:gd name="connsiteX210" fmla="*/ 447675 w 590550"/>
              <a:gd name="connsiteY210" fmla="*/ 590550 h 590550"/>
              <a:gd name="connsiteX211" fmla="*/ 306829 w 590550"/>
              <a:gd name="connsiteY211" fmla="*/ 470697 h 590550"/>
              <a:gd name="connsiteX212" fmla="*/ 266700 w 590550"/>
              <a:gd name="connsiteY212" fmla="*/ 476250 h 590550"/>
              <a:gd name="connsiteX213" fmla="*/ 188004 w 590550"/>
              <a:gd name="connsiteY213" fmla="*/ 454114 h 590550"/>
              <a:gd name="connsiteX214" fmla="*/ 165868 w 590550"/>
              <a:gd name="connsiteY214" fmla="*/ 476250 h 590550"/>
              <a:gd name="connsiteX215" fmla="*/ 175393 w 590550"/>
              <a:gd name="connsiteY215" fmla="*/ 485775 h 590550"/>
              <a:gd name="connsiteX216" fmla="*/ 85249 w 590550"/>
              <a:gd name="connsiteY216" fmla="*/ 575929 h 590550"/>
              <a:gd name="connsiteX217" fmla="*/ 49940 w 590550"/>
              <a:gd name="connsiteY217" fmla="*/ 590550 h 590550"/>
              <a:gd name="connsiteX218" fmla="*/ 0 w 590550"/>
              <a:gd name="connsiteY218" fmla="*/ 540620 h 590550"/>
              <a:gd name="connsiteX219" fmla="*/ 14630 w 590550"/>
              <a:gd name="connsiteY219" fmla="*/ 505301 h 590550"/>
              <a:gd name="connsiteX220" fmla="*/ 104775 w 590550"/>
              <a:gd name="connsiteY220" fmla="*/ 415157 h 590550"/>
              <a:gd name="connsiteX221" fmla="*/ 114300 w 590550"/>
              <a:gd name="connsiteY221" fmla="*/ 424682 h 590550"/>
              <a:gd name="connsiteX222" fmla="*/ 136436 w 590550"/>
              <a:gd name="connsiteY222" fmla="*/ 402536 h 590550"/>
              <a:gd name="connsiteX223" fmla="*/ 114300 w 590550"/>
              <a:gd name="connsiteY223" fmla="*/ 323850 h 590550"/>
              <a:gd name="connsiteX224" fmla="*/ 134922 w 590550"/>
              <a:gd name="connsiteY224" fmla="*/ 247650 h 590550"/>
              <a:gd name="connsiteX225" fmla="*/ 87811 w 590550"/>
              <a:gd name="connsiteY225" fmla="*/ 247650 h 590550"/>
              <a:gd name="connsiteX226" fmla="*/ 82058 w 590550"/>
              <a:gd name="connsiteY226" fmla="*/ 224647 h 590550"/>
              <a:gd name="connsiteX227" fmla="*/ 61732 w 590550"/>
              <a:gd name="connsiteY227" fmla="*/ 236849 h 590550"/>
              <a:gd name="connsiteX228" fmla="*/ 10801 w 590550"/>
              <a:gd name="connsiteY228" fmla="*/ 185928 h 590550"/>
              <a:gd name="connsiteX229" fmla="*/ 23012 w 590550"/>
              <a:gd name="connsiteY229" fmla="*/ 165583 h 590550"/>
              <a:gd name="connsiteX230" fmla="*/ 0 w 590550"/>
              <a:gd name="connsiteY230" fmla="*/ 159839 h 590550"/>
              <a:gd name="connsiteX231" fmla="*/ 0 w 590550"/>
              <a:gd name="connsiteY231" fmla="*/ 87811 h 590550"/>
              <a:gd name="connsiteX232" fmla="*/ 23003 w 590550"/>
              <a:gd name="connsiteY232" fmla="*/ 82067 h 590550"/>
              <a:gd name="connsiteX233" fmla="*/ 10801 w 590550"/>
              <a:gd name="connsiteY233" fmla="*/ 61722 h 590550"/>
              <a:gd name="connsiteX234" fmla="*/ 61732 w 590550"/>
              <a:gd name="connsiteY234" fmla="*/ 10811 h 590550"/>
              <a:gd name="connsiteX235" fmla="*/ 82067 w 590550"/>
              <a:gd name="connsiteY235" fmla="*/ 2301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0550" h="590550">
                <a:moveTo>
                  <a:pt x="53679" y="523399"/>
                </a:moveTo>
                <a:lnTo>
                  <a:pt x="67150" y="536870"/>
                </a:lnTo>
                <a:lnTo>
                  <a:pt x="54359" y="549660"/>
                </a:lnTo>
                <a:lnTo>
                  <a:pt x="40889" y="536190"/>
                </a:lnTo>
                <a:close/>
                <a:moveTo>
                  <a:pt x="80615" y="496450"/>
                </a:moveTo>
                <a:lnTo>
                  <a:pt x="94086" y="509921"/>
                </a:lnTo>
                <a:lnTo>
                  <a:pt x="80615" y="523391"/>
                </a:lnTo>
                <a:lnTo>
                  <a:pt x="67145" y="509921"/>
                </a:lnTo>
                <a:close/>
                <a:moveTo>
                  <a:pt x="107561" y="469510"/>
                </a:moveTo>
                <a:lnTo>
                  <a:pt x="121032" y="482981"/>
                </a:lnTo>
                <a:lnTo>
                  <a:pt x="107561" y="496451"/>
                </a:lnTo>
                <a:lnTo>
                  <a:pt x="94091" y="482981"/>
                </a:lnTo>
                <a:close/>
                <a:moveTo>
                  <a:pt x="499605" y="463886"/>
                </a:moveTo>
                <a:cubicBezTo>
                  <a:pt x="494309" y="470401"/>
                  <a:pt x="488651" y="476755"/>
                  <a:pt x="482698" y="482708"/>
                </a:cubicBezTo>
                <a:cubicBezTo>
                  <a:pt x="476735" y="488661"/>
                  <a:pt x="470363" y="494290"/>
                  <a:pt x="463838" y="499586"/>
                </a:cubicBezTo>
                <a:cubicBezTo>
                  <a:pt x="487165" y="514035"/>
                  <a:pt x="505834" y="517541"/>
                  <a:pt x="511673" y="511673"/>
                </a:cubicBezTo>
                <a:cubicBezTo>
                  <a:pt x="517512" y="505825"/>
                  <a:pt x="514025" y="487184"/>
                  <a:pt x="499605" y="463886"/>
                </a:cubicBezTo>
                <a:close/>
                <a:moveTo>
                  <a:pt x="395734" y="463886"/>
                </a:moveTo>
                <a:cubicBezTo>
                  <a:pt x="381314" y="487184"/>
                  <a:pt x="377837" y="505834"/>
                  <a:pt x="383676" y="511673"/>
                </a:cubicBezTo>
                <a:cubicBezTo>
                  <a:pt x="389524" y="517503"/>
                  <a:pt x="408184" y="514016"/>
                  <a:pt x="431491" y="499586"/>
                </a:cubicBezTo>
                <a:cubicBezTo>
                  <a:pt x="424976" y="494290"/>
                  <a:pt x="418604" y="488670"/>
                  <a:pt x="412641" y="482708"/>
                </a:cubicBezTo>
                <a:cubicBezTo>
                  <a:pt x="406688" y="476755"/>
                  <a:pt x="401030" y="470401"/>
                  <a:pt x="395734" y="463886"/>
                </a:cubicBezTo>
                <a:close/>
                <a:moveTo>
                  <a:pt x="104775" y="442093"/>
                </a:moveTo>
                <a:lnTo>
                  <a:pt x="28099" y="518779"/>
                </a:lnTo>
                <a:cubicBezTo>
                  <a:pt x="22260" y="524608"/>
                  <a:pt x="19050" y="532362"/>
                  <a:pt x="19050" y="540620"/>
                </a:cubicBezTo>
                <a:cubicBezTo>
                  <a:pt x="19050" y="557651"/>
                  <a:pt x="32909" y="571500"/>
                  <a:pt x="49940" y="571500"/>
                </a:cubicBezTo>
                <a:cubicBezTo>
                  <a:pt x="58179" y="571500"/>
                  <a:pt x="65942" y="568290"/>
                  <a:pt x="71780" y="562451"/>
                </a:cubicBezTo>
                <a:lnTo>
                  <a:pt x="148457" y="485775"/>
                </a:lnTo>
                <a:close/>
                <a:moveTo>
                  <a:pt x="447675" y="438150"/>
                </a:moveTo>
                <a:cubicBezTo>
                  <a:pt x="452936" y="438150"/>
                  <a:pt x="457200" y="442414"/>
                  <a:pt x="457200" y="447675"/>
                </a:cubicBezTo>
                <a:cubicBezTo>
                  <a:pt x="457200" y="452936"/>
                  <a:pt x="452936" y="457200"/>
                  <a:pt x="447675" y="457200"/>
                </a:cubicBezTo>
                <a:cubicBezTo>
                  <a:pt x="442414" y="457200"/>
                  <a:pt x="438150" y="452936"/>
                  <a:pt x="438150" y="447675"/>
                </a:cubicBezTo>
                <a:cubicBezTo>
                  <a:pt x="438150" y="442414"/>
                  <a:pt x="442414" y="438150"/>
                  <a:pt x="447675" y="438150"/>
                </a:cubicBezTo>
                <a:close/>
                <a:moveTo>
                  <a:pt x="147447" y="418471"/>
                </a:moveTo>
                <a:lnTo>
                  <a:pt x="127768" y="438150"/>
                </a:lnTo>
                <a:lnTo>
                  <a:pt x="152400" y="462782"/>
                </a:lnTo>
                <a:lnTo>
                  <a:pt x="172079" y="443103"/>
                </a:lnTo>
                <a:cubicBezTo>
                  <a:pt x="162954" y="435854"/>
                  <a:pt x="154696" y="427596"/>
                  <a:pt x="147447" y="418471"/>
                </a:cubicBezTo>
                <a:close/>
                <a:moveTo>
                  <a:pt x="447674" y="407079"/>
                </a:moveTo>
                <a:cubicBezTo>
                  <a:pt x="440654" y="412537"/>
                  <a:pt x="433415" y="418814"/>
                  <a:pt x="426119" y="426110"/>
                </a:cubicBezTo>
                <a:cubicBezTo>
                  <a:pt x="418823" y="433406"/>
                  <a:pt x="412470" y="440655"/>
                  <a:pt x="407012" y="447675"/>
                </a:cubicBezTo>
                <a:cubicBezTo>
                  <a:pt x="412470" y="454695"/>
                  <a:pt x="418823" y="461943"/>
                  <a:pt x="426119" y="469239"/>
                </a:cubicBezTo>
                <a:cubicBezTo>
                  <a:pt x="433415" y="476526"/>
                  <a:pt x="440654" y="482879"/>
                  <a:pt x="447674" y="488337"/>
                </a:cubicBezTo>
                <a:cubicBezTo>
                  <a:pt x="454694" y="482879"/>
                  <a:pt x="461933" y="476536"/>
                  <a:pt x="469229" y="469239"/>
                </a:cubicBezTo>
                <a:cubicBezTo>
                  <a:pt x="476525" y="461943"/>
                  <a:pt x="482879" y="454695"/>
                  <a:pt x="488337" y="447675"/>
                </a:cubicBezTo>
                <a:cubicBezTo>
                  <a:pt x="482879" y="440655"/>
                  <a:pt x="476525" y="433406"/>
                  <a:pt x="469229" y="426110"/>
                </a:cubicBezTo>
                <a:cubicBezTo>
                  <a:pt x="461933" y="418814"/>
                  <a:pt x="454694" y="412537"/>
                  <a:pt x="447674" y="407079"/>
                </a:cubicBezTo>
                <a:close/>
                <a:moveTo>
                  <a:pt x="502929" y="380962"/>
                </a:moveTo>
                <a:cubicBezTo>
                  <a:pt x="493994" y="380962"/>
                  <a:pt x="480059" y="385829"/>
                  <a:pt x="463943" y="395783"/>
                </a:cubicBezTo>
                <a:cubicBezTo>
                  <a:pt x="470439" y="401059"/>
                  <a:pt x="476773" y="406708"/>
                  <a:pt x="482707" y="412642"/>
                </a:cubicBezTo>
                <a:cubicBezTo>
                  <a:pt x="488660" y="418595"/>
                  <a:pt x="494318" y="424948"/>
                  <a:pt x="499614" y="431463"/>
                </a:cubicBezTo>
                <a:cubicBezTo>
                  <a:pt x="514025" y="408165"/>
                  <a:pt x="517512" y="389525"/>
                  <a:pt x="511673" y="383676"/>
                </a:cubicBezTo>
                <a:cubicBezTo>
                  <a:pt x="509882" y="381895"/>
                  <a:pt x="506891" y="380962"/>
                  <a:pt x="502929" y="380962"/>
                </a:cubicBezTo>
                <a:close/>
                <a:moveTo>
                  <a:pt x="392420" y="380962"/>
                </a:moveTo>
                <a:cubicBezTo>
                  <a:pt x="388457" y="380962"/>
                  <a:pt x="385467" y="381886"/>
                  <a:pt x="383676" y="383676"/>
                </a:cubicBezTo>
                <a:cubicBezTo>
                  <a:pt x="377837" y="389525"/>
                  <a:pt x="381323" y="408165"/>
                  <a:pt x="395734" y="431463"/>
                </a:cubicBezTo>
                <a:cubicBezTo>
                  <a:pt x="401030" y="424948"/>
                  <a:pt x="406688" y="418595"/>
                  <a:pt x="412641" y="412642"/>
                </a:cubicBezTo>
                <a:cubicBezTo>
                  <a:pt x="418585" y="406708"/>
                  <a:pt x="424910" y="401069"/>
                  <a:pt x="431406" y="395783"/>
                </a:cubicBezTo>
                <a:cubicBezTo>
                  <a:pt x="415299" y="385829"/>
                  <a:pt x="401354" y="380962"/>
                  <a:pt x="392420" y="380962"/>
                </a:cubicBezTo>
                <a:close/>
                <a:moveTo>
                  <a:pt x="510436" y="362623"/>
                </a:moveTo>
                <a:cubicBezTo>
                  <a:pt x="516104" y="363704"/>
                  <a:pt x="521088" y="366155"/>
                  <a:pt x="525141" y="370208"/>
                </a:cubicBezTo>
                <a:cubicBezTo>
                  <a:pt x="541334" y="386410"/>
                  <a:pt x="531932" y="417528"/>
                  <a:pt x="511644" y="447675"/>
                </a:cubicBezTo>
                <a:cubicBezTo>
                  <a:pt x="531932" y="477821"/>
                  <a:pt x="541343" y="508940"/>
                  <a:pt x="525141" y="525142"/>
                </a:cubicBezTo>
                <a:cubicBezTo>
                  <a:pt x="519426" y="530847"/>
                  <a:pt x="511863" y="533390"/>
                  <a:pt x="503138" y="533390"/>
                </a:cubicBezTo>
                <a:cubicBezTo>
                  <a:pt x="487117" y="533390"/>
                  <a:pt x="467191" y="524799"/>
                  <a:pt x="447674" y="511664"/>
                </a:cubicBezTo>
                <a:cubicBezTo>
                  <a:pt x="428158" y="524799"/>
                  <a:pt x="408231" y="533390"/>
                  <a:pt x="392210" y="533390"/>
                </a:cubicBezTo>
                <a:cubicBezTo>
                  <a:pt x="383485" y="533390"/>
                  <a:pt x="375922" y="530857"/>
                  <a:pt x="370207" y="525142"/>
                </a:cubicBezTo>
                <a:cubicBezTo>
                  <a:pt x="354005" y="508940"/>
                  <a:pt x="363416" y="477821"/>
                  <a:pt x="383704" y="447675"/>
                </a:cubicBezTo>
                <a:cubicBezTo>
                  <a:pt x="363416" y="417528"/>
                  <a:pt x="354005" y="386410"/>
                  <a:pt x="370207" y="370208"/>
                </a:cubicBezTo>
                <a:cubicBezTo>
                  <a:pt x="386409" y="354006"/>
                  <a:pt x="417537" y="363417"/>
                  <a:pt x="447674" y="383705"/>
                </a:cubicBezTo>
                <a:cubicBezTo>
                  <a:pt x="470277" y="368482"/>
                  <a:pt x="493432" y="359382"/>
                  <a:pt x="510436" y="362623"/>
                </a:cubicBezTo>
                <a:close/>
                <a:moveTo>
                  <a:pt x="447675" y="323850"/>
                </a:moveTo>
                <a:cubicBezTo>
                  <a:pt x="379400" y="323850"/>
                  <a:pt x="323850" y="379400"/>
                  <a:pt x="323850" y="447675"/>
                </a:cubicBezTo>
                <a:cubicBezTo>
                  <a:pt x="323850" y="515950"/>
                  <a:pt x="379400" y="571500"/>
                  <a:pt x="447675" y="571500"/>
                </a:cubicBezTo>
                <a:cubicBezTo>
                  <a:pt x="515950" y="571500"/>
                  <a:pt x="571500" y="515950"/>
                  <a:pt x="571500" y="447675"/>
                </a:cubicBezTo>
                <a:cubicBezTo>
                  <a:pt x="571500" y="379400"/>
                  <a:pt x="515950" y="323850"/>
                  <a:pt x="447675" y="323850"/>
                </a:cubicBezTo>
                <a:close/>
                <a:moveTo>
                  <a:pt x="304800" y="314325"/>
                </a:moveTo>
                <a:lnTo>
                  <a:pt x="323850" y="314325"/>
                </a:lnTo>
                <a:lnTo>
                  <a:pt x="323850" y="333375"/>
                </a:lnTo>
                <a:lnTo>
                  <a:pt x="304800" y="333375"/>
                </a:lnTo>
                <a:close/>
                <a:moveTo>
                  <a:pt x="266700" y="314325"/>
                </a:moveTo>
                <a:lnTo>
                  <a:pt x="285750" y="314325"/>
                </a:lnTo>
                <a:lnTo>
                  <a:pt x="285750" y="333375"/>
                </a:lnTo>
                <a:lnTo>
                  <a:pt x="266700" y="333375"/>
                </a:lnTo>
                <a:close/>
                <a:moveTo>
                  <a:pt x="228600" y="314325"/>
                </a:moveTo>
                <a:lnTo>
                  <a:pt x="247650" y="314325"/>
                </a:lnTo>
                <a:lnTo>
                  <a:pt x="247650" y="333375"/>
                </a:lnTo>
                <a:lnTo>
                  <a:pt x="228600" y="333375"/>
                </a:lnTo>
                <a:close/>
                <a:moveTo>
                  <a:pt x="190500" y="314325"/>
                </a:moveTo>
                <a:lnTo>
                  <a:pt x="209550" y="314325"/>
                </a:lnTo>
                <a:lnTo>
                  <a:pt x="209550" y="333375"/>
                </a:lnTo>
                <a:lnTo>
                  <a:pt x="190500" y="333375"/>
                </a:lnTo>
                <a:close/>
                <a:moveTo>
                  <a:pt x="372513" y="280702"/>
                </a:moveTo>
                <a:cubicBezTo>
                  <a:pt x="377809" y="293580"/>
                  <a:pt x="380609" y="307343"/>
                  <a:pt x="380905" y="321450"/>
                </a:cubicBezTo>
                <a:cubicBezTo>
                  <a:pt x="386820" y="318306"/>
                  <a:pt x="393030" y="315668"/>
                  <a:pt x="399393" y="313373"/>
                </a:cubicBezTo>
                <a:cubicBezTo>
                  <a:pt x="398621" y="303762"/>
                  <a:pt x="396783" y="294218"/>
                  <a:pt x="393897" y="284845"/>
                </a:cubicBezTo>
                <a:cubicBezTo>
                  <a:pt x="386572" y="284036"/>
                  <a:pt x="379466" y="282569"/>
                  <a:pt x="372513" y="280702"/>
                </a:cubicBezTo>
                <a:close/>
                <a:moveTo>
                  <a:pt x="266700" y="228600"/>
                </a:moveTo>
                <a:cubicBezTo>
                  <a:pt x="214179" y="228600"/>
                  <a:pt x="171450" y="271329"/>
                  <a:pt x="171450" y="323850"/>
                </a:cubicBezTo>
                <a:cubicBezTo>
                  <a:pt x="171450" y="376371"/>
                  <a:pt x="214179" y="419100"/>
                  <a:pt x="266700" y="419100"/>
                </a:cubicBezTo>
                <a:cubicBezTo>
                  <a:pt x="281921" y="419100"/>
                  <a:pt x="296932" y="415233"/>
                  <a:pt x="310477" y="408184"/>
                </a:cubicBezTo>
                <a:cubicBezTo>
                  <a:pt x="319078" y="378343"/>
                  <a:pt x="337147" y="352568"/>
                  <a:pt x="361226" y="334185"/>
                </a:cubicBezTo>
                <a:cubicBezTo>
                  <a:pt x="361664" y="330479"/>
                  <a:pt x="361950" y="327041"/>
                  <a:pt x="361950" y="323850"/>
                </a:cubicBezTo>
                <a:cubicBezTo>
                  <a:pt x="361950" y="304657"/>
                  <a:pt x="356168" y="286207"/>
                  <a:pt x="345300" y="270300"/>
                </a:cubicBezTo>
                <a:cubicBezTo>
                  <a:pt x="328070" y="261576"/>
                  <a:pt x="312811" y="249536"/>
                  <a:pt x="300457" y="234906"/>
                </a:cubicBezTo>
                <a:cubicBezTo>
                  <a:pt x="289598" y="230772"/>
                  <a:pt x="278263" y="228600"/>
                  <a:pt x="266700" y="228600"/>
                </a:cubicBezTo>
                <a:close/>
                <a:moveTo>
                  <a:pt x="266700" y="190500"/>
                </a:moveTo>
                <a:cubicBezTo>
                  <a:pt x="193167" y="190500"/>
                  <a:pt x="133350" y="250317"/>
                  <a:pt x="133350" y="323850"/>
                </a:cubicBezTo>
                <a:cubicBezTo>
                  <a:pt x="133350" y="397383"/>
                  <a:pt x="193167" y="457200"/>
                  <a:pt x="266700" y="457200"/>
                </a:cubicBezTo>
                <a:cubicBezTo>
                  <a:pt x="279559" y="457200"/>
                  <a:pt x="292398" y="455152"/>
                  <a:pt x="304981" y="451333"/>
                </a:cubicBezTo>
                <a:cubicBezTo>
                  <a:pt x="304952" y="450104"/>
                  <a:pt x="304800" y="448913"/>
                  <a:pt x="304800" y="447675"/>
                </a:cubicBezTo>
                <a:cubicBezTo>
                  <a:pt x="304800" y="442017"/>
                  <a:pt x="305219" y="436455"/>
                  <a:pt x="305867" y="430968"/>
                </a:cubicBezTo>
                <a:cubicBezTo>
                  <a:pt x="293322" y="435569"/>
                  <a:pt x="280092" y="438150"/>
                  <a:pt x="266700" y="438150"/>
                </a:cubicBezTo>
                <a:cubicBezTo>
                  <a:pt x="203673" y="438150"/>
                  <a:pt x="152400" y="386877"/>
                  <a:pt x="152400" y="323850"/>
                </a:cubicBezTo>
                <a:cubicBezTo>
                  <a:pt x="152400" y="260823"/>
                  <a:pt x="203673" y="209550"/>
                  <a:pt x="266700" y="209550"/>
                </a:cubicBezTo>
                <a:cubicBezTo>
                  <a:pt x="272539" y="209550"/>
                  <a:pt x="278301" y="210122"/>
                  <a:pt x="284016" y="211007"/>
                </a:cubicBezTo>
                <a:cubicBezTo>
                  <a:pt x="280540" y="204626"/>
                  <a:pt x="277692" y="197891"/>
                  <a:pt x="275206" y="190976"/>
                </a:cubicBezTo>
                <a:cubicBezTo>
                  <a:pt x="272358" y="190786"/>
                  <a:pt x="269424" y="190500"/>
                  <a:pt x="266700" y="190500"/>
                </a:cubicBezTo>
                <a:close/>
                <a:moveTo>
                  <a:pt x="381000" y="142875"/>
                </a:moveTo>
                <a:lnTo>
                  <a:pt x="381000" y="200025"/>
                </a:lnTo>
                <a:lnTo>
                  <a:pt x="400050" y="200025"/>
                </a:lnTo>
                <a:lnTo>
                  <a:pt x="400050" y="142875"/>
                </a:lnTo>
                <a:close/>
                <a:moveTo>
                  <a:pt x="419100" y="123825"/>
                </a:moveTo>
                <a:lnTo>
                  <a:pt x="419100" y="200025"/>
                </a:lnTo>
                <a:lnTo>
                  <a:pt x="438150" y="200025"/>
                </a:lnTo>
                <a:lnTo>
                  <a:pt x="438150" y="123825"/>
                </a:lnTo>
                <a:close/>
                <a:moveTo>
                  <a:pt x="342900" y="104775"/>
                </a:moveTo>
                <a:lnTo>
                  <a:pt x="342900" y="200025"/>
                </a:lnTo>
                <a:lnTo>
                  <a:pt x="361950" y="200025"/>
                </a:lnTo>
                <a:lnTo>
                  <a:pt x="361950" y="104775"/>
                </a:lnTo>
                <a:close/>
                <a:moveTo>
                  <a:pt x="457200" y="85725"/>
                </a:moveTo>
                <a:lnTo>
                  <a:pt x="457200" y="200025"/>
                </a:lnTo>
                <a:lnTo>
                  <a:pt x="476250" y="200025"/>
                </a:lnTo>
                <a:lnTo>
                  <a:pt x="476250" y="85725"/>
                </a:lnTo>
                <a:close/>
                <a:moveTo>
                  <a:pt x="123825" y="76200"/>
                </a:moveTo>
                <a:cubicBezTo>
                  <a:pt x="97565" y="76200"/>
                  <a:pt x="76200" y="97565"/>
                  <a:pt x="76200" y="123825"/>
                </a:cubicBezTo>
                <a:cubicBezTo>
                  <a:pt x="76200" y="150085"/>
                  <a:pt x="97565" y="171450"/>
                  <a:pt x="123825" y="171450"/>
                </a:cubicBezTo>
                <a:cubicBezTo>
                  <a:pt x="150085" y="171450"/>
                  <a:pt x="171450" y="150085"/>
                  <a:pt x="171450" y="123825"/>
                </a:cubicBezTo>
                <a:cubicBezTo>
                  <a:pt x="171450" y="97565"/>
                  <a:pt x="150085" y="76200"/>
                  <a:pt x="123825" y="76200"/>
                </a:cubicBezTo>
                <a:close/>
                <a:moveTo>
                  <a:pt x="438150" y="66675"/>
                </a:moveTo>
                <a:lnTo>
                  <a:pt x="495300" y="66675"/>
                </a:lnTo>
                <a:lnTo>
                  <a:pt x="495300" y="219075"/>
                </a:lnTo>
                <a:lnTo>
                  <a:pt x="323850" y="219075"/>
                </a:lnTo>
                <a:lnTo>
                  <a:pt x="323850" y="85725"/>
                </a:lnTo>
                <a:lnTo>
                  <a:pt x="381000" y="85725"/>
                </a:lnTo>
                <a:lnTo>
                  <a:pt x="381000" y="123825"/>
                </a:lnTo>
                <a:lnTo>
                  <a:pt x="400050" y="123825"/>
                </a:lnTo>
                <a:lnTo>
                  <a:pt x="400050" y="104775"/>
                </a:lnTo>
                <a:lnTo>
                  <a:pt x="438150" y="104775"/>
                </a:lnTo>
                <a:close/>
                <a:moveTo>
                  <a:pt x="123825" y="57150"/>
                </a:moveTo>
                <a:cubicBezTo>
                  <a:pt x="160592" y="57150"/>
                  <a:pt x="190500" y="87068"/>
                  <a:pt x="190500" y="123825"/>
                </a:cubicBezTo>
                <a:cubicBezTo>
                  <a:pt x="190500" y="160582"/>
                  <a:pt x="160592" y="190500"/>
                  <a:pt x="123825" y="190500"/>
                </a:cubicBezTo>
                <a:cubicBezTo>
                  <a:pt x="87059" y="190500"/>
                  <a:pt x="57150" y="160582"/>
                  <a:pt x="57150" y="123825"/>
                </a:cubicBezTo>
                <a:cubicBezTo>
                  <a:pt x="57150" y="87068"/>
                  <a:pt x="87059" y="57150"/>
                  <a:pt x="123825" y="57150"/>
                </a:cubicBezTo>
                <a:close/>
                <a:moveTo>
                  <a:pt x="409575" y="19050"/>
                </a:moveTo>
                <a:cubicBezTo>
                  <a:pt x="341300" y="19050"/>
                  <a:pt x="285750" y="74600"/>
                  <a:pt x="285750" y="142875"/>
                </a:cubicBezTo>
                <a:cubicBezTo>
                  <a:pt x="285750" y="211150"/>
                  <a:pt x="341300" y="266700"/>
                  <a:pt x="409575" y="266700"/>
                </a:cubicBezTo>
                <a:cubicBezTo>
                  <a:pt x="477850" y="266700"/>
                  <a:pt x="533400" y="211150"/>
                  <a:pt x="533400" y="142875"/>
                </a:cubicBezTo>
                <a:cubicBezTo>
                  <a:pt x="533400" y="74600"/>
                  <a:pt x="477850" y="19050"/>
                  <a:pt x="409575" y="19050"/>
                </a:cubicBezTo>
                <a:close/>
                <a:moveTo>
                  <a:pt x="102689" y="19050"/>
                </a:moveTo>
                <a:lnTo>
                  <a:pt x="96860" y="42405"/>
                </a:lnTo>
                <a:lnTo>
                  <a:pt x="85239" y="47130"/>
                </a:lnTo>
                <a:lnTo>
                  <a:pt x="64684" y="34785"/>
                </a:lnTo>
                <a:lnTo>
                  <a:pt x="34795" y="64684"/>
                </a:lnTo>
                <a:lnTo>
                  <a:pt x="47139" y="85249"/>
                </a:lnTo>
                <a:lnTo>
                  <a:pt x="42348" y="96869"/>
                </a:lnTo>
                <a:lnTo>
                  <a:pt x="19050" y="102689"/>
                </a:lnTo>
                <a:lnTo>
                  <a:pt x="19050" y="144961"/>
                </a:lnTo>
                <a:lnTo>
                  <a:pt x="42377" y="150781"/>
                </a:lnTo>
                <a:lnTo>
                  <a:pt x="47139" y="162401"/>
                </a:lnTo>
                <a:lnTo>
                  <a:pt x="34795" y="182966"/>
                </a:lnTo>
                <a:lnTo>
                  <a:pt x="64684" y="212865"/>
                </a:lnTo>
                <a:lnTo>
                  <a:pt x="85239" y="200520"/>
                </a:lnTo>
                <a:lnTo>
                  <a:pt x="96117" y="204940"/>
                </a:lnTo>
                <a:lnTo>
                  <a:pt x="98050" y="210036"/>
                </a:lnTo>
                <a:lnTo>
                  <a:pt x="102689" y="228600"/>
                </a:lnTo>
                <a:lnTo>
                  <a:pt x="147923" y="228600"/>
                </a:lnTo>
                <a:cubicBezTo>
                  <a:pt x="164744" y="207674"/>
                  <a:pt x="186976" y="191357"/>
                  <a:pt x="212455" y="181594"/>
                </a:cubicBezTo>
                <a:lnTo>
                  <a:pt x="200454" y="162506"/>
                </a:lnTo>
                <a:lnTo>
                  <a:pt x="204949" y="151552"/>
                </a:lnTo>
                <a:lnTo>
                  <a:pt x="210036" y="149600"/>
                </a:lnTo>
                <a:lnTo>
                  <a:pt x="228600" y="144961"/>
                </a:lnTo>
                <a:lnTo>
                  <a:pt x="228600" y="102689"/>
                </a:lnTo>
                <a:lnTo>
                  <a:pt x="205302" y="96869"/>
                </a:lnTo>
                <a:lnTo>
                  <a:pt x="200511" y="85249"/>
                </a:lnTo>
                <a:lnTo>
                  <a:pt x="212855" y="64684"/>
                </a:lnTo>
                <a:lnTo>
                  <a:pt x="182966" y="34785"/>
                </a:lnTo>
                <a:lnTo>
                  <a:pt x="162411" y="47130"/>
                </a:lnTo>
                <a:lnTo>
                  <a:pt x="151533" y="42710"/>
                </a:lnTo>
                <a:lnTo>
                  <a:pt x="149600" y="37614"/>
                </a:lnTo>
                <a:lnTo>
                  <a:pt x="144961" y="19050"/>
                </a:lnTo>
                <a:close/>
                <a:moveTo>
                  <a:pt x="87811" y="0"/>
                </a:moveTo>
                <a:lnTo>
                  <a:pt x="159839" y="0"/>
                </a:lnTo>
                <a:lnTo>
                  <a:pt x="165583" y="23003"/>
                </a:lnTo>
                <a:lnTo>
                  <a:pt x="185909" y="10801"/>
                </a:lnTo>
                <a:lnTo>
                  <a:pt x="236839" y="61722"/>
                </a:lnTo>
                <a:lnTo>
                  <a:pt x="224638" y="82067"/>
                </a:lnTo>
                <a:lnTo>
                  <a:pt x="247650" y="87811"/>
                </a:lnTo>
                <a:lnTo>
                  <a:pt x="247650" y="159839"/>
                </a:lnTo>
                <a:lnTo>
                  <a:pt x="224857" y="165535"/>
                </a:lnTo>
                <a:lnTo>
                  <a:pt x="231296" y="175774"/>
                </a:lnTo>
                <a:cubicBezTo>
                  <a:pt x="242678" y="173050"/>
                  <a:pt x="254498" y="171450"/>
                  <a:pt x="266700" y="171450"/>
                </a:cubicBezTo>
                <a:cubicBezTo>
                  <a:pt x="267653" y="171450"/>
                  <a:pt x="268634" y="171517"/>
                  <a:pt x="269596" y="171536"/>
                </a:cubicBezTo>
                <a:cubicBezTo>
                  <a:pt x="267700" y="162268"/>
                  <a:pt x="266700" y="152686"/>
                  <a:pt x="266700" y="142875"/>
                </a:cubicBezTo>
                <a:cubicBezTo>
                  <a:pt x="266700" y="64094"/>
                  <a:pt x="330794" y="0"/>
                  <a:pt x="409575" y="0"/>
                </a:cubicBezTo>
                <a:cubicBezTo>
                  <a:pt x="488356" y="0"/>
                  <a:pt x="552450" y="64094"/>
                  <a:pt x="552450" y="142875"/>
                </a:cubicBezTo>
                <a:cubicBezTo>
                  <a:pt x="552450" y="220180"/>
                  <a:pt x="490699" y="283188"/>
                  <a:pt x="413957" y="285531"/>
                </a:cubicBezTo>
                <a:cubicBezTo>
                  <a:pt x="415890" y="292922"/>
                  <a:pt x="417309" y="300390"/>
                  <a:pt x="418109" y="307915"/>
                </a:cubicBezTo>
                <a:cubicBezTo>
                  <a:pt x="427653" y="305895"/>
                  <a:pt x="437540" y="304800"/>
                  <a:pt x="447675" y="304800"/>
                </a:cubicBezTo>
                <a:cubicBezTo>
                  <a:pt x="526456" y="304800"/>
                  <a:pt x="590550" y="368894"/>
                  <a:pt x="590550" y="447675"/>
                </a:cubicBezTo>
                <a:cubicBezTo>
                  <a:pt x="590550" y="526456"/>
                  <a:pt x="526456" y="590550"/>
                  <a:pt x="447675" y="590550"/>
                </a:cubicBezTo>
                <a:cubicBezTo>
                  <a:pt x="376752" y="590550"/>
                  <a:pt x="317897" y="538544"/>
                  <a:pt x="306829" y="470697"/>
                </a:cubicBezTo>
                <a:cubicBezTo>
                  <a:pt x="293627" y="474345"/>
                  <a:pt x="280178" y="476250"/>
                  <a:pt x="266700" y="476250"/>
                </a:cubicBezTo>
                <a:cubicBezTo>
                  <a:pt x="237887" y="476250"/>
                  <a:pt x="211007" y="468068"/>
                  <a:pt x="188004" y="454114"/>
                </a:cubicBezTo>
                <a:lnTo>
                  <a:pt x="165868" y="476250"/>
                </a:lnTo>
                <a:lnTo>
                  <a:pt x="175393" y="485775"/>
                </a:lnTo>
                <a:lnTo>
                  <a:pt x="85249" y="575929"/>
                </a:lnTo>
                <a:cubicBezTo>
                  <a:pt x="75809" y="585359"/>
                  <a:pt x="63265" y="590550"/>
                  <a:pt x="49940" y="590550"/>
                </a:cubicBezTo>
                <a:cubicBezTo>
                  <a:pt x="22403" y="590550"/>
                  <a:pt x="0" y="568147"/>
                  <a:pt x="0" y="540620"/>
                </a:cubicBezTo>
                <a:cubicBezTo>
                  <a:pt x="0" y="527266"/>
                  <a:pt x="5191" y="514731"/>
                  <a:pt x="14630" y="505301"/>
                </a:cubicBezTo>
                <a:lnTo>
                  <a:pt x="104775" y="415157"/>
                </a:lnTo>
                <a:lnTo>
                  <a:pt x="114300" y="424682"/>
                </a:lnTo>
                <a:lnTo>
                  <a:pt x="136436" y="402536"/>
                </a:lnTo>
                <a:cubicBezTo>
                  <a:pt x="122482" y="379533"/>
                  <a:pt x="114300" y="352663"/>
                  <a:pt x="114300" y="323850"/>
                </a:cubicBezTo>
                <a:cubicBezTo>
                  <a:pt x="114300" y="296075"/>
                  <a:pt x="121891" y="270100"/>
                  <a:pt x="134922" y="247650"/>
                </a:cubicBezTo>
                <a:lnTo>
                  <a:pt x="87811" y="247650"/>
                </a:lnTo>
                <a:lnTo>
                  <a:pt x="82058" y="224647"/>
                </a:lnTo>
                <a:lnTo>
                  <a:pt x="61732" y="236849"/>
                </a:lnTo>
                <a:lnTo>
                  <a:pt x="10801" y="185928"/>
                </a:lnTo>
                <a:lnTo>
                  <a:pt x="23012" y="165583"/>
                </a:lnTo>
                <a:lnTo>
                  <a:pt x="0" y="159839"/>
                </a:lnTo>
                <a:lnTo>
                  <a:pt x="0" y="87811"/>
                </a:lnTo>
                <a:lnTo>
                  <a:pt x="23003" y="82067"/>
                </a:lnTo>
                <a:lnTo>
                  <a:pt x="10801" y="61722"/>
                </a:lnTo>
                <a:lnTo>
                  <a:pt x="61732" y="10811"/>
                </a:lnTo>
                <a:lnTo>
                  <a:pt x="82067" y="23012"/>
                </a:lnTo>
                <a:close/>
              </a:path>
            </a:pathLst>
          </a:custGeom>
          <a:solidFill>
            <a:schemeClr val="tx2"/>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8B5BF4D3-E067-B00A-5BC3-96B18B148CFB}"/>
              </a:ext>
            </a:extLst>
          </p:cNvPr>
          <p:cNvSpPr>
            <a:spLocks noChangeAspect="1"/>
          </p:cNvSpPr>
          <p:nvPr/>
        </p:nvSpPr>
        <p:spPr>
          <a:xfrm>
            <a:off x="8019204" y="3056133"/>
            <a:ext cx="450648" cy="450572"/>
          </a:xfrm>
          <a:custGeom>
            <a:avLst/>
            <a:gdLst>
              <a:gd name="connsiteX0" fmla="*/ 2470080 w 3708628"/>
              <a:gd name="connsiteY0" fmla="*/ 3075137 h 3707999"/>
              <a:gd name="connsiteX1" fmla="*/ 2531869 w 3708628"/>
              <a:gd name="connsiteY1" fmla="*/ 3322294 h 3707999"/>
              <a:gd name="connsiteX2" fmla="*/ 2412037 w 3708628"/>
              <a:gd name="connsiteY2" fmla="*/ 3352253 h 3707999"/>
              <a:gd name="connsiteX3" fmla="*/ 2350248 w 3708628"/>
              <a:gd name="connsiteY3" fmla="*/ 3105095 h 3707999"/>
              <a:gd name="connsiteX4" fmla="*/ 2561464 w 3708628"/>
              <a:gd name="connsiteY4" fmla="*/ 2911221 h 3707999"/>
              <a:gd name="connsiteX5" fmla="*/ 2808620 w 3708628"/>
              <a:gd name="connsiteY5" fmla="*/ 3034798 h 3707999"/>
              <a:gd name="connsiteX6" fmla="*/ 2753354 w 3708628"/>
              <a:gd name="connsiteY6" fmla="*/ 3145333 h 3707999"/>
              <a:gd name="connsiteX7" fmla="*/ 2506196 w 3708628"/>
              <a:gd name="connsiteY7" fmla="*/ 3021755 h 3707999"/>
              <a:gd name="connsiteX8" fmla="*/ 500884 w 3708628"/>
              <a:gd name="connsiteY8" fmla="*/ 2904721 h 3707999"/>
              <a:gd name="connsiteX9" fmla="*/ 566382 w 3708628"/>
              <a:gd name="connsiteY9" fmla="*/ 3578239 h 3707999"/>
              <a:gd name="connsiteX10" fmla="*/ 927240 w 3708628"/>
              <a:gd name="connsiteY10" fmla="*/ 3584419 h 3707999"/>
              <a:gd name="connsiteX11" fmla="*/ 755400 w 3708628"/>
              <a:gd name="connsiteY11" fmla="*/ 2904721 h 3707999"/>
              <a:gd name="connsiteX12" fmla="*/ 865450 w 3708628"/>
              <a:gd name="connsiteY12" fmla="*/ 2533976 h 3707999"/>
              <a:gd name="connsiteX13" fmla="*/ 1112614 w 3708628"/>
              <a:gd name="connsiteY13" fmla="*/ 2533976 h 3707999"/>
              <a:gd name="connsiteX14" fmla="*/ 1112614 w 3708628"/>
              <a:gd name="connsiteY14" fmla="*/ 2657556 h 3707999"/>
              <a:gd name="connsiteX15" fmla="*/ 865450 w 3708628"/>
              <a:gd name="connsiteY15" fmla="*/ 2657556 h 3707999"/>
              <a:gd name="connsiteX16" fmla="*/ 3255061 w 3708628"/>
              <a:gd name="connsiteY16" fmla="*/ 2287112 h 3707999"/>
              <a:gd name="connsiteX17" fmla="*/ 3214734 w 3708628"/>
              <a:gd name="connsiteY17" fmla="*/ 2297193 h 3707999"/>
              <a:gd name="connsiteX18" fmla="*/ 3113644 w 3708628"/>
              <a:gd name="connsiteY18" fmla="*/ 2364548 h 3707999"/>
              <a:gd name="connsiteX19" fmla="*/ 3045056 w 3708628"/>
              <a:gd name="connsiteY19" fmla="*/ 2364548 h 3707999"/>
              <a:gd name="connsiteX20" fmla="*/ 2944029 w 3708628"/>
              <a:gd name="connsiteY20" fmla="*/ 2297193 h 3707999"/>
              <a:gd name="connsiteX21" fmla="*/ 2866049 w 3708628"/>
              <a:gd name="connsiteY21" fmla="*/ 2304918 h 3707999"/>
              <a:gd name="connsiteX22" fmla="*/ 2839663 w 3708628"/>
              <a:gd name="connsiteY22" fmla="*/ 2331302 h 3707999"/>
              <a:gd name="connsiteX23" fmla="*/ 2839663 w 3708628"/>
              <a:gd name="connsiteY23" fmla="*/ 2418676 h 3707999"/>
              <a:gd name="connsiteX24" fmla="*/ 3079289 w 3708628"/>
              <a:gd name="connsiteY24" fmla="*/ 2658053 h 3707999"/>
              <a:gd name="connsiteX25" fmla="*/ 3318975 w 3708628"/>
              <a:gd name="connsiteY25" fmla="*/ 2418429 h 3707999"/>
              <a:gd name="connsiteX26" fmla="*/ 3319024 w 3708628"/>
              <a:gd name="connsiteY26" fmla="*/ 2418380 h 3707999"/>
              <a:gd name="connsiteX27" fmla="*/ 3318975 w 3708628"/>
              <a:gd name="connsiteY27" fmla="*/ 2330993 h 3707999"/>
              <a:gd name="connsiteX28" fmla="*/ 3292651 w 3708628"/>
              <a:gd name="connsiteY28" fmla="*/ 2304609 h 3707999"/>
              <a:gd name="connsiteX29" fmla="*/ 3292651 w 3708628"/>
              <a:gd name="connsiteY29" fmla="*/ 2304856 h 3707999"/>
              <a:gd name="connsiteX30" fmla="*/ 3255061 w 3708628"/>
              <a:gd name="connsiteY30" fmla="*/ 2287112 h 3707999"/>
              <a:gd name="connsiteX31" fmla="*/ 865450 w 3708628"/>
              <a:gd name="connsiteY31" fmla="*/ 2286813 h 3707999"/>
              <a:gd name="connsiteX32" fmla="*/ 1112614 w 3708628"/>
              <a:gd name="connsiteY32" fmla="*/ 2286813 h 3707999"/>
              <a:gd name="connsiteX33" fmla="*/ 1112614 w 3708628"/>
              <a:gd name="connsiteY33" fmla="*/ 2410394 h 3707999"/>
              <a:gd name="connsiteX34" fmla="*/ 865450 w 3708628"/>
              <a:gd name="connsiteY34" fmla="*/ 2410394 h 3707999"/>
              <a:gd name="connsiteX35" fmla="*/ 2163055 w 3708628"/>
              <a:gd name="connsiteY35" fmla="*/ 2225021 h 3707999"/>
              <a:gd name="connsiteX36" fmla="*/ 2163055 w 3708628"/>
              <a:gd name="connsiteY36" fmla="*/ 2719348 h 3707999"/>
              <a:gd name="connsiteX37" fmla="*/ 2286637 w 3708628"/>
              <a:gd name="connsiteY37" fmla="*/ 2595766 h 3707999"/>
              <a:gd name="connsiteX38" fmla="*/ 2286637 w 3708628"/>
              <a:gd name="connsiteY38" fmla="*/ 2348603 h 3707999"/>
              <a:gd name="connsiteX39" fmla="*/ 2163055 w 3708628"/>
              <a:gd name="connsiteY39" fmla="*/ 2225021 h 3707999"/>
              <a:gd name="connsiteX40" fmla="*/ 371124 w 3708628"/>
              <a:gd name="connsiteY40" fmla="*/ 2169410 h 3707999"/>
              <a:gd name="connsiteX41" fmla="*/ 129830 w 3708628"/>
              <a:gd name="connsiteY41" fmla="*/ 2410703 h 3707999"/>
              <a:gd name="connsiteX42" fmla="*/ 371124 w 3708628"/>
              <a:gd name="connsiteY42" fmla="*/ 2774959 h 3707999"/>
              <a:gd name="connsiteX43" fmla="*/ 2891438 w 3708628"/>
              <a:gd name="connsiteY43" fmla="*/ 2164045 h 3707999"/>
              <a:gd name="connsiteX44" fmla="*/ 3012493 w 3708628"/>
              <a:gd name="connsiteY44" fmla="*/ 2194127 h 3707999"/>
              <a:gd name="connsiteX45" fmla="*/ 3079289 w 3708628"/>
              <a:gd name="connsiteY45" fmla="*/ 2238678 h 3707999"/>
              <a:gd name="connsiteX46" fmla="*/ 3146084 w 3708628"/>
              <a:gd name="connsiteY46" fmla="*/ 2194127 h 3707999"/>
              <a:gd name="connsiteX47" fmla="*/ 3379963 w 3708628"/>
              <a:gd name="connsiteY47" fmla="*/ 2217237 h 3707999"/>
              <a:gd name="connsiteX48" fmla="*/ 3406286 w 3708628"/>
              <a:gd name="connsiteY48" fmla="*/ 2243684 h 3707999"/>
              <a:gd name="connsiteX49" fmla="*/ 3406286 w 3708628"/>
              <a:gd name="connsiteY49" fmla="*/ 2505801 h 3707999"/>
              <a:gd name="connsiteX50" fmla="*/ 3122913 w 3708628"/>
              <a:gd name="connsiteY50" fmla="*/ 2789112 h 3707999"/>
              <a:gd name="connsiteX51" fmla="*/ 3035541 w 3708628"/>
              <a:gd name="connsiteY51" fmla="*/ 2789112 h 3707999"/>
              <a:gd name="connsiteX52" fmla="*/ 2752168 w 3708628"/>
              <a:gd name="connsiteY52" fmla="*/ 2505801 h 3707999"/>
              <a:gd name="connsiteX53" fmla="*/ 2752168 w 3708628"/>
              <a:gd name="connsiteY53" fmla="*/ 2243684 h 3707999"/>
              <a:gd name="connsiteX54" fmla="*/ 2778614 w 3708628"/>
              <a:gd name="connsiteY54" fmla="*/ 2217237 h 3707999"/>
              <a:gd name="connsiteX55" fmla="*/ 2891438 w 3708628"/>
              <a:gd name="connsiteY55" fmla="*/ 2164045 h 3707999"/>
              <a:gd name="connsiteX56" fmla="*/ 494705 w 3708628"/>
              <a:gd name="connsiteY56" fmla="*/ 2163231 h 3707999"/>
              <a:gd name="connsiteX57" fmla="*/ 494705 w 3708628"/>
              <a:gd name="connsiteY57" fmla="*/ 2781138 h 3707999"/>
              <a:gd name="connsiteX58" fmla="*/ 618287 w 3708628"/>
              <a:gd name="connsiteY58" fmla="*/ 2781138 h 3707999"/>
              <a:gd name="connsiteX59" fmla="*/ 618287 w 3708628"/>
              <a:gd name="connsiteY59" fmla="*/ 2163231 h 3707999"/>
              <a:gd name="connsiteX60" fmla="*/ 1730520 w 3708628"/>
              <a:gd name="connsiteY60" fmla="*/ 1981195 h 3707999"/>
              <a:gd name="connsiteX61" fmla="*/ 1441278 w 3708628"/>
              <a:gd name="connsiteY61" fmla="*/ 2077589 h 3707999"/>
              <a:gd name="connsiteX62" fmla="*/ 913709 w 3708628"/>
              <a:gd name="connsiteY62" fmla="*/ 2163231 h 3707999"/>
              <a:gd name="connsiteX63" fmla="*/ 741869 w 3708628"/>
              <a:gd name="connsiteY63" fmla="*/ 2163231 h 3707999"/>
              <a:gd name="connsiteX64" fmla="*/ 741869 w 3708628"/>
              <a:gd name="connsiteY64" fmla="*/ 2781138 h 3707999"/>
              <a:gd name="connsiteX65" fmla="*/ 913709 w 3708628"/>
              <a:gd name="connsiteY65" fmla="*/ 2781138 h 3707999"/>
              <a:gd name="connsiteX66" fmla="*/ 1441278 w 3708628"/>
              <a:gd name="connsiteY66" fmla="*/ 2866781 h 3707999"/>
              <a:gd name="connsiteX67" fmla="*/ 1730520 w 3708628"/>
              <a:gd name="connsiteY67" fmla="*/ 2963175 h 3707999"/>
              <a:gd name="connsiteX68" fmla="*/ 2039474 w 3708628"/>
              <a:gd name="connsiteY68" fmla="*/ 1878191 h 3707999"/>
              <a:gd name="connsiteX69" fmla="*/ 1854102 w 3708628"/>
              <a:gd name="connsiteY69" fmla="*/ 1939981 h 3707999"/>
              <a:gd name="connsiteX70" fmla="*/ 1854102 w 3708628"/>
              <a:gd name="connsiteY70" fmla="*/ 3004389 h 3707999"/>
              <a:gd name="connsiteX71" fmla="*/ 2039474 w 3708628"/>
              <a:gd name="connsiteY71" fmla="*/ 3066179 h 3707999"/>
              <a:gd name="connsiteX72" fmla="*/ 2753359 w 3708628"/>
              <a:gd name="connsiteY72" fmla="*/ 1860802 h 3707999"/>
              <a:gd name="connsiteX73" fmla="*/ 2808625 w 3708628"/>
              <a:gd name="connsiteY73" fmla="*/ 1971336 h 3707999"/>
              <a:gd name="connsiteX74" fmla="*/ 2561469 w 3708628"/>
              <a:gd name="connsiteY74" fmla="*/ 2094913 h 3707999"/>
              <a:gd name="connsiteX75" fmla="*/ 2506201 w 3708628"/>
              <a:gd name="connsiteY75" fmla="*/ 1984379 h 3707999"/>
              <a:gd name="connsiteX76" fmla="*/ 2412123 w 3708628"/>
              <a:gd name="connsiteY76" fmla="*/ 1653966 h 3707999"/>
              <a:gd name="connsiteX77" fmla="*/ 2531947 w 3708628"/>
              <a:gd name="connsiteY77" fmla="*/ 1683953 h 3707999"/>
              <a:gd name="connsiteX78" fmla="*/ 2470097 w 3708628"/>
              <a:gd name="connsiteY78" fmla="*/ 1931094 h 3707999"/>
              <a:gd name="connsiteX79" fmla="*/ 2350274 w 3708628"/>
              <a:gd name="connsiteY79" fmla="*/ 1901108 h 3707999"/>
              <a:gd name="connsiteX80" fmla="*/ 803658 w 3708628"/>
              <a:gd name="connsiteY80" fmla="*/ 1174578 h 3707999"/>
              <a:gd name="connsiteX81" fmla="*/ 803658 w 3708628"/>
              <a:gd name="connsiteY81" fmla="*/ 1730696 h 3707999"/>
              <a:gd name="connsiteX82" fmla="*/ 927240 w 3708628"/>
              <a:gd name="connsiteY82" fmla="*/ 1730696 h 3707999"/>
              <a:gd name="connsiteX83" fmla="*/ 927240 w 3708628"/>
              <a:gd name="connsiteY83" fmla="*/ 1174578 h 3707999"/>
              <a:gd name="connsiteX84" fmla="*/ 1297986 w 3708628"/>
              <a:gd name="connsiteY84" fmla="*/ 803833 h 3707999"/>
              <a:gd name="connsiteX85" fmla="*/ 1236194 w 3708628"/>
              <a:gd name="connsiteY85" fmla="*/ 865624 h 3707999"/>
              <a:gd name="connsiteX86" fmla="*/ 1236194 w 3708628"/>
              <a:gd name="connsiteY86" fmla="*/ 1050996 h 3707999"/>
              <a:gd name="connsiteX87" fmla="*/ 1050822 w 3708628"/>
              <a:gd name="connsiteY87" fmla="*/ 1236369 h 3707999"/>
              <a:gd name="connsiteX88" fmla="*/ 1050822 w 3708628"/>
              <a:gd name="connsiteY88" fmla="*/ 1668904 h 3707999"/>
              <a:gd name="connsiteX89" fmla="*/ 1606939 w 3708628"/>
              <a:gd name="connsiteY89" fmla="*/ 1668904 h 3707999"/>
              <a:gd name="connsiteX90" fmla="*/ 1668730 w 3708628"/>
              <a:gd name="connsiteY90" fmla="*/ 1607113 h 3707999"/>
              <a:gd name="connsiteX91" fmla="*/ 1668730 w 3708628"/>
              <a:gd name="connsiteY91" fmla="*/ 1298161 h 3707999"/>
              <a:gd name="connsiteX92" fmla="*/ 1606939 w 3708628"/>
              <a:gd name="connsiteY92" fmla="*/ 1236369 h 3707999"/>
              <a:gd name="connsiteX93" fmla="*/ 1545149 w 3708628"/>
              <a:gd name="connsiteY93" fmla="*/ 1236369 h 3707999"/>
              <a:gd name="connsiteX94" fmla="*/ 1359777 w 3708628"/>
              <a:gd name="connsiteY94" fmla="*/ 1050996 h 3707999"/>
              <a:gd name="connsiteX95" fmla="*/ 1359777 w 3708628"/>
              <a:gd name="connsiteY95" fmla="*/ 865624 h 3707999"/>
              <a:gd name="connsiteX96" fmla="*/ 1297986 w 3708628"/>
              <a:gd name="connsiteY96" fmla="*/ 803833 h 3707999"/>
              <a:gd name="connsiteX97" fmla="*/ 2780964 w 3708628"/>
              <a:gd name="connsiteY97" fmla="*/ 733948 h 3707999"/>
              <a:gd name="connsiteX98" fmla="*/ 2780964 w 3708628"/>
              <a:gd name="connsiteY98" fmla="*/ 997301 h 3707999"/>
              <a:gd name="connsiteX99" fmla="*/ 2978695 w 3708628"/>
              <a:gd name="connsiteY99" fmla="*/ 865624 h 3707999"/>
              <a:gd name="connsiteX100" fmla="*/ 1297986 w 3708628"/>
              <a:gd name="connsiteY100" fmla="*/ 680253 h 3707999"/>
              <a:gd name="connsiteX101" fmla="*/ 1483357 w 3708628"/>
              <a:gd name="connsiteY101" fmla="*/ 865624 h 3707999"/>
              <a:gd name="connsiteX102" fmla="*/ 1483357 w 3708628"/>
              <a:gd name="connsiteY102" fmla="*/ 1050996 h 3707999"/>
              <a:gd name="connsiteX103" fmla="*/ 1545149 w 3708628"/>
              <a:gd name="connsiteY103" fmla="*/ 1112788 h 3707999"/>
              <a:gd name="connsiteX104" fmla="*/ 1606939 w 3708628"/>
              <a:gd name="connsiteY104" fmla="*/ 1112788 h 3707999"/>
              <a:gd name="connsiteX105" fmla="*/ 1792312 w 3708628"/>
              <a:gd name="connsiteY105" fmla="*/ 1298161 h 3707999"/>
              <a:gd name="connsiteX106" fmla="*/ 1792312 w 3708628"/>
              <a:gd name="connsiteY106" fmla="*/ 1607113 h 3707999"/>
              <a:gd name="connsiteX107" fmla="*/ 1606939 w 3708628"/>
              <a:gd name="connsiteY107" fmla="*/ 1792486 h 3707999"/>
              <a:gd name="connsiteX108" fmla="*/ 1050822 w 3708628"/>
              <a:gd name="connsiteY108" fmla="*/ 1792486 h 3707999"/>
              <a:gd name="connsiteX109" fmla="*/ 989030 w 3708628"/>
              <a:gd name="connsiteY109" fmla="*/ 1854276 h 3707999"/>
              <a:gd name="connsiteX110" fmla="*/ 741867 w 3708628"/>
              <a:gd name="connsiteY110" fmla="*/ 1854276 h 3707999"/>
              <a:gd name="connsiteX111" fmla="*/ 680077 w 3708628"/>
              <a:gd name="connsiteY111" fmla="*/ 1792486 h 3707999"/>
              <a:gd name="connsiteX112" fmla="*/ 680077 w 3708628"/>
              <a:gd name="connsiteY112" fmla="*/ 1112788 h 3707999"/>
              <a:gd name="connsiteX113" fmla="*/ 741867 w 3708628"/>
              <a:gd name="connsiteY113" fmla="*/ 1050996 h 3707999"/>
              <a:gd name="connsiteX114" fmla="*/ 989030 w 3708628"/>
              <a:gd name="connsiteY114" fmla="*/ 1050996 h 3707999"/>
              <a:gd name="connsiteX115" fmla="*/ 1050822 w 3708628"/>
              <a:gd name="connsiteY115" fmla="*/ 1112788 h 3707999"/>
              <a:gd name="connsiteX116" fmla="*/ 1112614 w 3708628"/>
              <a:gd name="connsiteY116" fmla="*/ 1050996 h 3707999"/>
              <a:gd name="connsiteX117" fmla="*/ 1112614 w 3708628"/>
              <a:gd name="connsiteY117" fmla="*/ 865624 h 3707999"/>
              <a:gd name="connsiteX118" fmla="*/ 1297986 w 3708628"/>
              <a:gd name="connsiteY118" fmla="*/ 680253 h 3707999"/>
              <a:gd name="connsiteX119" fmla="*/ 2730764 w 3708628"/>
              <a:gd name="connsiteY119" fmla="*/ 557743 h 3707999"/>
              <a:gd name="connsiteX120" fmla="*/ 2753465 w 3708628"/>
              <a:gd name="connsiteY120" fmla="*/ 567051 h 3707999"/>
              <a:gd name="connsiteX121" fmla="*/ 3124212 w 3708628"/>
              <a:gd name="connsiteY121" fmla="*/ 814214 h 3707999"/>
              <a:gd name="connsiteX122" fmla="*/ 3141341 w 3708628"/>
              <a:gd name="connsiteY122" fmla="*/ 831342 h 3707999"/>
              <a:gd name="connsiteX123" fmla="*/ 3124212 w 3708628"/>
              <a:gd name="connsiteY123" fmla="*/ 917034 h 3707999"/>
              <a:gd name="connsiteX124" fmla="*/ 2753465 w 3708628"/>
              <a:gd name="connsiteY124" fmla="*/ 1164198 h 3707999"/>
              <a:gd name="connsiteX125" fmla="*/ 2690006 w 3708628"/>
              <a:gd name="connsiteY125" fmla="*/ 1167286 h 3707999"/>
              <a:gd name="connsiteX126" fmla="*/ 2657382 w 3708628"/>
              <a:gd name="connsiteY126" fmla="*/ 1112788 h 3707999"/>
              <a:gd name="connsiteX127" fmla="*/ 2657382 w 3708628"/>
              <a:gd name="connsiteY127" fmla="*/ 618461 h 3707999"/>
              <a:gd name="connsiteX128" fmla="*/ 2667774 w 3708628"/>
              <a:gd name="connsiteY128" fmla="*/ 584161 h 3707999"/>
              <a:gd name="connsiteX129" fmla="*/ 2707077 w 3708628"/>
              <a:gd name="connsiteY129" fmla="*/ 557856 h 3707999"/>
              <a:gd name="connsiteX130" fmla="*/ 2730764 w 3708628"/>
              <a:gd name="connsiteY130" fmla="*/ 557743 h 3707999"/>
              <a:gd name="connsiteX131" fmla="*/ 2842754 w 3708628"/>
              <a:gd name="connsiteY131" fmla="*/ 433088 h 3707999"/>
              <a:gd name="connsiteX132" fmla="*/ 2410218 w 3708628"/>
              <a:gd name="connsiteY132" fmla="*/ 865625 h 3707999"/>
              <a:gd name="connsiteX133" fmla="*/ 2842754 w 3708628"/>
              <a:gd name="connsiteY133" fmla="*/ 1298161 h 3707999"/>
              <a:gd name="connsiteX134" fmla="*/ 3275290 w 3708628"/>
              <a:gd name="connsiteY134" fmla="*/ 865625 h 3707999"/>
              <a:gd name="connsiteX135" fmla="*/ 2842754 w 3708628"/>
              <a:gd name="connsiteY135" fmla="*/ 433088 h 3707999"/>
              <a:gd name="connsiteX136" fmla="*/ 2842754 w 3708628"/>
              <a:gd name="connsiteY136" fmla="*/ 309508 h 3707999"/>
              <a:gd name="connsiteX137" fmla="*/ 3398872 w 3708628"/>
              <a:gd name="connsiteY137" fmla="*/ 865625 h 3707999"/>
              <a:gd name="connsiteX138" fmla="*/ 2842754 w 3708628"/>
              <a:gd name="connsiteY138" fmla="*/ 1421743 h 3707999"/>
              <a:gd name="connsiteX139" fmla="*/ 2286637 w 3708628"/>
              <a:gd name="connsiteY139" fmla="*/ 865625 h 3707999"/>
              <a:gd name="connsiteX140" fmla="*/ 2842754 w 3708628"/>
              <a:gd name="connsiteY140" fmla="*/ 309508 h 3707999"/>
              <a:gd name="connsiteX141" fmla="*/ 2822473 w 3708628"/>
              <a:gd name="connsiteY141" fmla="*/ 122776 h 3707999"/>
              <a:gd name="connsiteX142" fmla="*/ 2269829 w 3708628"/>
              <a:gd name="connsiteY142" fmla="*/ 395150 h 3707999"/>
              <a:gd name="connsiteX143" fmla="*/ 1684796 w 3708628"/>
              <a:gd name="connsiteY143" fmla="*/ 592509 h 3707999"/>
              <a:gd name="connsiteX144" fmla="*/ 1555881 w 3708628"/>
              <a:gd name="connsiteY144" fmla="*/ 565847 h 3707999"/>
              <a:gd name="connsiteX145" fmla="*/ 441937 w 3708628"/>
              <a:gd name="connsiteY145" fmla="*/ 1409384 h 3707999"/>
              <a:gd name="connsiteX146" fmla="*/ 566691 w 3708628"/>
              <a:gd name="connsiteY146" fmla="*/ 2039649 h 3707999"/>
              <a:gd name="connsiteX147" fmla="*/ 913709 w 3708628"/>
              <a:gd name="connsiteY147" fmla="*/ 2039649 h 3707999"/>
              <a:gd name="connsiteX148" fmla="*/ 1402041 w 3708628"/>
              <a:gd name="connsiteY148" fmla="*/ 1960372 h 3707999"/>
              <a:gd name="connsiteX149" fmla="*/ 2081739 w 3708628"/>
              <a:gd name="connsiteY149" fmla="*/ 1733846 h 3707999"/>
              <a:gd name="connsiteX150" fmla="*/ 2101276 w 3708628"/>
              <a:gd name="connsiteY150" fmla="*/ 1730684 h 3707999"/>
              <a:gd name="connsiteX151" fmla="*/ 2163055 w 3708628"/>
              <a:gd name="connsiteY151" fmla="*/ 1792486 h 3707999"/>
              <a:gd name="connsiteX152" fmla="*/ 2163055 w 3708628"/>
              <a:gd name="connsiteY152" fmla="*/ 2101441 h 3707999"/>
              <a:gd name="connsiteX153" fmla="*/ 2410219 w 3708628"/>
              <a:gd name="connsiteY153" fmla="*/ 2348603 h 3707999"/>
              <a:gd name="connsiteX154" fmla="*/ 2410219 w 3708628"/>
              <a:gd name="connsiteY154" fmla="*/ 2595766 h 3707999"/>
              <a:gd name="connsiteX155" fmla="*/ 2163055 w 3708628"/>
              <a:gd name="connsiteY155" fmla="*/ 2842929 h 3707999"/>
              <a:gd name="connsiteX156" fmla="*/ 2163055 w 3708628"/>
              <a:gd name="connsiteY156" fmla="*/ 3151883 h 3707999"/>
              <a:gd name="connsiteX157" fmla="*/ 2101265 w 3708628"/>
              <a:gd name="connsiteY157" fmla="*/ 3213674 h 3707999"/>
              <a:gd name="connsiteX158" fmla="*/ 2081925 w 3708628"/>
              <a:gd name="connsiteY158" fmla="*/ 3210461 h 3707999"/>
              <a:gd name="connsiteX159" fmla="*/ 1402225 w 3708628"/>
              <a:gd name="connsiteY159" fmla="*/ 2983935 h 3707999"/>
              <a:gd name="connsiteX160" fmla="*/ 1270178 w 3708628"/>
              <a:gd name="connsiteY160" fmla="*/ 2946862 h 3707999"/>
              <a:gd name="connsiteX161" fmla="*/ 2251528 w 3708628"/>
              <a:gd name="connsiteY161" fmla="*/ 3580427 h 3707999"/>
              <a:gd name="connsiteX162" fmla="*/ 3580227 w 3708628"/>
              <a:gd name="connsiteY162" fmla="*/ 2449384 h 3707999"/>
              <a:gd name="connsiteX163" fmla="*/ 3396461 w 3708628"/>
              <a:gd name="connsiteY163" fmla="*/ 1695043 h 3707999"/>
              <a:gd name="connsiteX164" fmla="*/ 3418398 w 3708628"/>
              <a:gd name="connsiteY164" fmla="*/ 1331960 h 3707999"/>
              <a:gd name="connsiteX165" fmla="*/ 3312518 w 3708628"/>
              <a:gd name="connsiteY165" fmla="*/ 289271 h 3707999"/>
              <a:gd name="connsiteX166" fmla="*/ 2911437 w 3708628"/>
              <a:gd name="connsiteY166" fmla="*/ 125460 h 3707999"/>
              <a:gd name="connsiteX167" fmla="*/ 2822473 w 3708628"/>
              <a:gd name="connsiteY167" fmla="*/ 122776 h 3707999"/>
              <a:gd name="connsiteX168" fmla="*/ 2806042 w 3708628"/>
              <a:gd name="connsiteY168" fmla="*/ 851 h 3707999"/>
              <a:gd name="connsiteX169" fmla="*/ 2892928 w 3708628"/>
              <a:gd name="connsiteY169" fmla="*/ 1367 h 3707999"/>
              <a:gd name="connsiteX170" fmla="*/ 3699235 w 3708628"/>
              <a:gd name="connsiteY170" fmla="*/ 739758 h 3707999"/>
              <a:gd name="connsiteX171" fmla="*/ 3514604 w 3708628"/>
              <a:gd name="connsiteY171" fmla="*/ 1410124 h 3707999"/>
              <a:gd name="connsiteX172" fmla="*/ 3501567 w 3708628"/>
              <a:gd name="connsiteY172" fmla="*/ 1629545 h 3707999"/>
              <a:gd name="connsiteX173" fmla="*/ 3703808 w 3708628"/>
              <a:gd name="connsiteY173" fmla="*/ 2459332 h 3707999"/>
              <a:gd name="connsiteX174" fmla="*/ 2474172 w 3708628"/>
              <a:gd name="connsiteY174" fmla="*/ 3702501 h 3707999"/>
              <a:gd name="connsiteX175" fmla="*/ 2350591 w 3708628"/>
              <a:gd name="connsiteY175" fmla="*/ 3707999 h 3707999"/>
              <a:gd name="connsiteX176" fmla="*/ 1118173 w 3708628"/>
              <a:gd name="connsiteY176" fmla="*/ 2919425 h 3707999"/>
              <a:gd name="connsiteX177" fmla="*/ 913893 w 3708628"/>
              <a:gd name="connsiteY177" fmla="*/ 2904721 h 3707999"/>
              <a:gd name="connsiteX178" fmla="*/ 882999 w 3708628"/>
              <a:gd name="connsiteY178" fmla="*/ 2904721 h 3707999"/>
              <a:gd name="connsiteX179" fmla="*/ 1048227 w 3708628"/>
              <a:gd name="connsiteY179" fmla="*/ 3559702 h 3707999"/>
              <a:gd name="connsiteX180" fmla="*/ 1021039 w 3708628"/>
              <a:gd name="connsiteY180" fmla="*/ 3664746 h 3707999"/>
              <a:gd name="connsiteX181" fmla="*/ 927240 w 3708628"/>
              <a:gd name="connsiteY181" fmla="*/ 3707999 h 3707999"/>
              <a:gd name="connsiteX182" fmla="*/ 566691 w 3708628"/>
              <a:gd name="connsiteY182" fmla="*/ 3707999 h 3707999"/>
              <a:gd name="connsiteX183" fmla="*/ 443111 w 3708628"/>
              <a:gd name="connsiteY183" fmla="*/ 3584419 h 3707999"/>
              <a:gd name="connsiteX184" fmla="*/ 376438 w 3708628"/>
              <a:gd name="connsiteY184" fmla="*/ 2900580 h 3707999"/>
              <a:gd name="connsiteX185" fmla="*/ 46 w 3708628"/>
              <a:gd name="connsiteY185" fmla="*/ 2478314 h 3707999"/>
              <a:gd name="connsiteX186" fmla="*/ 425870 w 3708628"/>
              <a:gd name="connsiteY186" fmla="*/ 2040020 h 3707999"/>
              <a:gd name="connsiteX187" fmla="*/ 319466 w 3708628"/>
              <a:gd name="connsiteY187" fmla="*/ 1393256 h 3707999"/>
              <a:gd name="connsiteX188" fmla="*/ 1279447 w 3708628"/>
              <a:gd name="connsiteY188" fmla="*/ 442050 h 3707999"/>
              <a:gd name="connsiteX189" fmla="*/ 1718161 w 3708628"/>
              <a:gd name="connsiteY189" fmla="*/ 473439 h 3707999"/>
              <a:gd name="connsiteX190" fmla="*/ 2174363 w 3708628"/>
              <a:gd name="connsiteY190" fmla="*/ 316675 h 3707999"/>
              <a:gd name="connsiteX191" fmla="*/ 2717882 w 3708628"/>
              <a:gd name="connsiteY191" fmla="*/ 9256 h 3707999"/>
              <a:gd name="connsiteX192" fmla="*/ 2806042 w 3708628"/>
              <a:gd name="connsiteY192" fmla="*/ 851 h 37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3708628" h="3707999">
                <a:moveTo>
                  <a:pt x="2470080" y="3075137"/>
                </a:moveTo>
                <a:lnTo>
                  <a:pt x="2531869" y="3322294"/>
                </a:lnTo>
                <a:lnTo>
                  <a:pt x="2412037" y="3352253"/>
                </a:lnTo>
                <a:lnTo>
                  <a:pt x="2350248" y="3105095"/>
                </a:lnTo>
                <a:close/>
                <a:moveTo>
                  <a:pt x="2561464" y="2911221"/>
                </a:moveTo>
                <a:lnTo>
                  <a:pt x="2808620" y="3034798"/>
                </a:lnTo>
                <a:lnTo>
                  <a:pt x="2753354" y="3145333"/>
                </a:lnTo>
                <a:lnTo>
                  <a:pt x="2506196" y="3021755"/>
                </a:lnTo>
                <a:close/>
                <a:moveTo>
                  <a:pt x="500884" y="2904721"/>
                </a:moveTo>
                <a:lnTo>
                  <a:pt x="566382" y="3578239"/>
                </a:lnTo>
                <a:lnTo>
                  <a:pt x="927240" y="3584419"/>
                </a:lnTo>
                <a:lnTo>
                  <a:pt x="755400" y="2904721"/>
                </a:lnTo>
                <a:close/>
                <a:moveTo>
                  <a:pt x="865450" y="2533976"/>
                </a:moveTo>
                <a:lnTo>
                  <a:pt x="1112614" y="2533976"/>
                </a:lnTo>
                <a:lnTo>
                  <a:pt x="1112614" y="2657556"/>
                </a:lnTo>
                <a:lnTo>
                  <a:pt x="865450" y="2657556"/>
                </a:lnTo>
                <a:close/>
                <a:moveTo>
                  <a:pt x="3255061" y="2287112"/>
                </a:moveTo>
                <a:cubicBezTo>
                  <a:pt x="3241245" y="2285752"/>
                  <a:pt x="3226974" y="2289031"/>
                  <a:pt x="3214734" y="2297193"/>
                </a:cubicBezTo>
                <a:lnTo>
                  <a:pt x="3113644" y="2364548"/>
                </a:lnTo>
                <a:cubicBezTo>
                  <a:pt x="3092882" y="2378401"/>
                  <a:pt x="3065819" y="2378401"/>
                  <a:pt x="3045056" y="2364548"/>
                </a:cubicBezTo>
                <a:lnTo>
                  <a:pt x="2944029" y="2297193"/>
                </a:lnTo>
                <a:cubicBezTo>
                  <a:pt x="2919516" y="2280850"/>
                  <a:pt x="2886879" y="2284082"/>
                  <a:pt x="2866049" y="2304918"/>
                </a:cubicBezTo>
                <a:lnTo>
                  <a:pt x="2839663" y="2331302"/>
                </a:lnTo>
                <a:cubicBezTo>
                  <a:pt x="2815541" y="2355433"/>
                  <a:pt x="2815541" y="2394547"/>
                  <a:pt x="2839663" y="2418676"/>
                </a:cubicBezTo>
                <a:lnTo>
                  <a:pt x="3079289" y="2658053"/>
                </a:lnTo>
                <a:lnTo>
                  <a:pt x="3318975" y="2418429"/>
                </a:lnTo>
                <a:cubicBezTo>
                  <a:pt x="3318993" y="2418411"/>
                  <a:pt x="3319005" y="2418399"/>
                  <a:pt x="3319024" y="2418380"/>
                </a:cubicBezTo>
                <a:cubicBezTo>
                  <a:pt x="3343141" y="2394238"/>
                  <a:pt x="3343115" y="2355112"/>
                  <a:pt x="3318975" y="2330993"/>
                </a:cubicBezTo>
                <a:lnTo>
                  <a:pt x="3292651" y="2304609"/>
                </a:lnTo>
                <a:lnTo>
                  <a:pt x="3292651" y="2304856"/>
                </a:lnTo>
                <a:cubicBezTo>
                  <a:pt x="3282234" y="2294467"/>
                  <a:pt x="3268876" y="2288470"/>
                  <a:pt x="3255061" y="2287112"/>
                </a:cubicBezTo>
                <a:close/>
                <a:moveTo>
                  <a:pt x="865450" y="2286813"/>
                </a:moveTo>
                <a:lnTo>
                  <a:pt x="1112614" y="2286813"/>
                </a:lnTo>
                <a:lnTo>
                  <a:pt x="1112614" y="2410394"/>
                </a:lnTo>
                <a:lnTo>
                  <a:pt x="865450" y="2410394"/>
                </a:lnTo>
                <a:close/>
                <a:moveTo>
                  <a:pt x="2163055" y="2225021"/>
                </a:moveTo>
                <a:lnTo>
                  <a:pt x="2163055" y="2719348"/>
                </a:lnTo>
                <a:cubicBezTo>
                  <a:pt x="2231310" y="2719348"/>
                  <a:pt x="2286637" y="2664021"/>
                  <a:pt x="2286637" y="2595766"/>
                </a:cubicBezTo>
                <a:lnTo>
                  <a:pt x="2286637" y="2348603"/>
                </a:lnTo>
                <a:cubicBezTo>
                  <a:pt x="2286637" y="2280348"/>
                  <a:pt x="2231310" y="2225021"/>
                  <a:pt x="2163055" y="2225021"/>
                </a:cubicBezTo>
                <a:close/>
                <a:moveTo>
                  <a:pt x="371124" y="2169410"/>
                </a:moveTo>
                <a:cubicBezTo>
                  <a:pt x="249540" y="2194095"/>
                  <a:pt x="154518" y="2289124"/>
                  <a:pt x="129830" y="2410703"/>
                </a:cubicBezTo>
                <a:cubicBezTo>
                  <a:pt x="95875" y="2577921"/>
                  <a:pt x="203906" y="2741006"/>
                  <a:pt x="371124" y="2774959"/>
                </a:cubicBezTo>
                <a:close/>
                <a:moveTo>
                  <a:pt x="2891438" y="2164045"/>
                </a:moveTo>
                <a:cubicBezTo>
                  <a:pt x="2932890" y="2159949"/>
                  <a:pt x="2975712" y="2169733"/>
                  <a:pt x="3012493" y="2194127"/>
                </a:cubicBezTo>
                <a:lnTo>
                  <a:pt x="3079289" y="2238678"/>
                </a:lnTo>
                <a:lnTo>
                  <a:pt x="3146084" y="2194127"/>
                </a:lnTo>
                <a:cubicBezTo>
                  <a:pt x="3219658" y="2145386"/>
                  <a:pt x="3317350" y="2155038"/>
                  <a:pt x="3379963" y="2217237"/>
                </a:cubicBezTo>
                <a:lnTo>
                  <a:pt x="3406286" y="2243684"/>
                </a:lnTo>
                <a:cubicBezTo>
                  <a:pt x="3478649" y="2316070"/>
                  <a:pt x="3478649" y="2433413"/>
                  <a:pt x="3406286" y="2505801"/>
                </a:cubicBezTo>
                <a:lnTo>
                  <a:pt x="3122913" y="2789112"/>
                </a:lnTo>
                <a:cubicBezTo>
                  <a:pt x="3098784" y="2813236"/>
                  <a:pt x="3059670" y="2813236"/>
                  <a:pt x="3035541" y="2789112"/>
                </a:cubicBezTo>
                <a:lnTo>
                  <a:pt x="2752168" y="2505801"/>
                </a:lnTo>
                <a:cubicBezTo>
                  <a:pt x="2679805" y="2433413"/>
                  <a:pt x="2679805" y="2316070"/>
                  <a:pt x="2752168" y="2243684"/>
                </a:cubicBezTo>
                <a:lnTo>
                  <a:pt x="2778614" y="2217237"/>
                </a:lnTo>
                <a:cubicBezTo>
                  <a:pt x="2809909" y="2186116"/>
                  <a:pt x="2849988" y="2168141"/>
                  <a:pt x="2891438" y="2164045"/>
                </a:cubicBezTo>
                <a:close/>
                <a:moveTo>
                  <a:pt x="494705" y="2163231"/>
                </a:moveTo>
                <a:lnTo>
                  <a:pt x="494705" y="2781138"/>
                </a:lnTo>
                <a:lnTo>
                  <a:pt x="618287" y="2781138"/>
                </a:lnTo>
                <a:lnTo>
                  <a:pt x="618287" y="2163231"/>
                </a:lnTo>
                <a:close/>
                <a:moveTo>
                  <a:pt x="1730520" y="1981195"/>
                </a:moveTo>
                <a:lnTo>
                  <a:pt x="1441278" y="2077589"/>
                </a:lnTo>
                <a:cubicBezTo>
                  <a:pt x="1271187" y="2134374"/>
                  <a:pt x="1093031" y="2163293"/>
                  <a:pt x="913709" y="2163231"/>
                </a:cubicBezTo>
                <a:lnTo>
                  <a:pt x="741869" y="2163231"/>
                </a:lnTo>
                <a:lnTo>
                  <a:pt x="741869" y="2781138"/>
                </a:lnTo>
                <a:lnTo>
                  <a:pt x="913709" y="2781138"/>
                </a:lnTo>
                <a:cubicBezTo>
                  <a:pt x="1093031" y="2781076"/>
                  <a:pt x="1271187" y="2809994"/>
                  <a:pt x="1441278" y="2866781"/>
                </a:cubicBezTo>
                <a:lnTo>
                  <a:pt x="1730520" y="2963175"/>
                </a:lnTo>
                <a:close/>
                <a:moveTo>
                  <a:pt x="2039474" y="1878191"/>
                </a:moveTo>
                <a:lnTo>
                  <a:pt x="1854102" y="1939981"/>
                </a:lnTo>
                <a:lnTo>
                  <a:pt x="1854102" y="3004389"/>
                </a:lnTo>
                <a:lnTo>
                  <a:pt x="2039474" y="3066179"/>
                </a:lnTo>
                <a:close/>
                <a:moveTo>
                  <a:pt x="2753359" y="1860802"/>
                </a:moveTo>
                <a:lnTo>
                  <a:pt x="2808625" y="1971336"/>
                </a:lnTo>
                <a:lnTo>
                  <a:pt x="2561469" y="2094913"/>
                </a:lnTo>
                <a:lnTo>
                  <a:pt x="2506201" y="1984379"/>
                </a:lnTo>
                <a:close/>
                <a:moveTo>
                  <a:pt x="2412123" y="1653966"/>
                </a:moveTo>
                <a:lnTo>
                  <a:pt x="2531947" y="1683953"/>
                </a:lnTo>
                <a:lnTo>
                  <a:pt x="2470097" y="1931094"/>
                </a:lnTo>
                <a:lnTo>
                  <a:pt x="2350274" y="1901108"/>
                </a:lnTo>
                <a:close/>
                <a:moveTo>
                  <a:pt x="803658" y="1174578"/>
                </a:moveTo>
                <a:lnTo>
                  <a:pt x="803658" y="1730696"/>
                </a:lnTo>
                <a:lnTo>
                  <a:pt x="927240" y="1730696"/>
                </a:lnTo>
                <a:lnTo>
                  <a:pt x="927240" y="1174578"/>
                </a:lnTo>
                <a:close/>
                <a:moveTo>
                  <a:pt x="1297986" y="803833"/>
                </a:moveTo>
                <a:cubicBezTo>
                  <a:pt x="1263859" y="803833"/>
                  <a:pt x="1236194" y="831498"/>
                  <a:pt x="1236194" y="865624"/>
                </a:cubicBezTo>
                <a:lnTo>
                  <a:pt x="1236194" y="1050996"/>
                </a:lnTo>
                <a:cubicBezTo>
                  <a:pt x="1236194" y="1153378"/>
                  <a:pt x="1153204" y="1236369"/>
                  <a:pt x="1050822" y="1236369"/>
                </a:cubicBezTo>
                <a:lnTo>
                  <a:pt x="1050822" y="1668904"/>
                </a:lnTo>
                <a:lnTo>
                  <a:pt x="1606939" y="1668904"/>
                </a:lnTo>
                <a:cubicBezTo>
                  <a:pt x="1641067" y="1668904"/>
                  <a:pt x="1668730" y="1641241"/>
                  <a:pt x="1668730" y="1607113"/>
                </a:cubicBezTo>
                <a:lnTo>
                  <a:pt x="1668730" y="1298161"/>
                </a:lnTo>
                <a:cubicBezTo>
                  <a:pt x="1668730" y="1264033"/>
                  <a:pt x="1641067" y="1236369"/>
                  <a:pt x="1606939" y="1236369"/>
                </a:cubicBezTo>
                <a:lnTo>
                  <a:pt x="1545149" y="1236369"/>
                </a:lnTo>
                <a:cubicBezTo>
                  <a:pt x="1442768" y="1236369"/>
                  <a:pt x="1359777" y="1153378"/>
                  <a:pt x="1359777" y="1050996"/>
                </a:cubicBezTo>
                <a:lnTo>
                  <a:pt x="1359777" y="865624"/>
                </a:lnTo>
                <a:cubicBezTo>
                  <a:pt x="1359777" y="831498"/>
                  <a:pt x="1332112" y="803833"/>
                  <a:pt x="1297986" y="803833"/>
                </a:cubicBezTo>
                <a:close/>
                <a:moveTo>
                  <a:pt x="2780964" y="733948"/>
                </a:moveTo>
                <a:lnTo>
                  <a:pt x="2780964" y="997301"/>
                </a:lnTo>
                <a:lnTo>
                  <a:pt x="2978695" y="865624"/>
                </a:lnTo>
                <a:close/>
                <a:moveTo>
                  <a:pt x="1297986" y="680253"/>
                </a:moveTo>
                <a:cubicBezTo>
                  <a:pt x="1400367" y="680253"/>
                  <a:pt x="1483357" y="763243"/>
                  <a:pt x="1483357" y="865624"/>
                </a:cubicBezTo>
                <a:lnTo>
                  <a:pt x="1483357" y="1050996"/>
                </a:lnTo>
                <a:cubicBezTo>
                  <a:pt x="1483357" y="1085124"/>
                  <a:pt x="1511022" y="1112788"/>
                  <a:pt x="1545149" y="1112788"/>
                </a:cubicBezTo>
                <a:lnTo>
                  <a:pt x="1606939" y="1112788"/>
                </a:lnTo>
                <a:cubicBezTo>
                  <a:pt x="1709320" y="1112788"/>
                  <a:pt x="1792312" y="1195778"/>
                  <a:pt x="1792312" y="1298161"/>
                </a:cubicBezTo>
                <a:lnTo>
                  <a:pt x="1792312" y="1607113"/>
                </a:lnTo>
                <a:cubicBezTo>
                  <a:pt x="1792312" y="1709494"/>
                  <a:pt x="1709320" y="1792486"/>
                  <a:pt x="1606939" y="1792486"/>
                </a:cubicBezTo>
                <a:lnTo>
                  <a:pt x="1050822" y="1792486"/>
                </a:lnTo>
                <a:cubicBezTo>
                  <a:pt x="1050822" y="1826613"/>
                  <a:pt x="1023159" y="1854276"/>
                  <a:pt x="989030" y="1854276"/>
                </a:cubicBezTo>
                <a:lnTo>
                  <a:pt x="741867" y="1854276"/>
                </a:lnTo>
                <a:cubicBezTo>
                  <a:pt x="707740" y="1854276"/>
                  <a:pt x="680077" y="1826613"/>
                  <a:pt x="680077" y="1792486"/>
                </a:cubicBezTo>
                <a:lnTo>
                  <a:pt x="680077" y="1112788"/>
                </a:lnTo>
                <a:cubicBezTo>
                  <a:pt x="680077" y="1078661"/>
                  <a:pt x="707740" y="1050996"/>
                  <a:pt x="741867" y="1050996"/>
                </a:cubicBezTo>
                <a:lnTo>
                  <a:pt x="989030" y="1050996"/>
                </a:lnTo>
                <a:cubicBezTo>
                  <a:pt x="1023159" y="1050996"/>
                  <a:pt x="1050822" y="1078661"/>
                  <a:pt x="1050822" y="1112788"/>
                </a:cubicBezTo>
                <a:cubicBezTo>
                  <a:pt x="1084949" y="1112788"/>
                  <a:pt x="1112614" y="1085124"/>
                  <a:pt x="1112614" y="1050996"/>
                </a:cubicBezTo>
                <a:lnTo>
                  <a:pt x="1112614" y="865624"/>
                </a:lnTo>
                <a:cubicBezTo>
                  <a:pt x="1112614" y="763243"/>
                  <a:pt x="1195604" y="680253"/>
                  <a:pt x="1297986" y="680253"/>
                </a:cubicBezTo>
                <a:close/>
                <a:moveTo>
                  <a:pt x="2730764" y="557743"/>
                </a:moveTo>
                <a:cubicBezTo>
                  <a:pt x="2738648" y="559245"/>
                  <a:pt x="2746369" y="562317"/>
                  <a:pt x="2753465" y="567051"/>
                </a:cubicBezTo>
                <a:lnTo>
                  <a:pt x="3124212" y="814214"/>
                </a:lnTo>
                <a:cubicBezTo>
                  <a:pt x="3130997" y="818737"/>
                  <a:pt x="3136817" y="824558"/>
                  <a:pt x="3141341" y="831342"/>
                </a:cubicBezTo>
                <a:cubicBezTo>
                  <a:pt x="3160273" y="859735"/>
                  <a:pt x="3152604" y="898101"/>
                  <a:pt x="3124212" y="917034"/>
                </a:cubicBezTo>
                <a:lnTo>
                  <a:pt x="2753465" y="1164198"/>
                </a:lnTo>
                <a:cubicBezTo>
                  <a:pt x="2734502" y="1176859"/>
                  <a:pt x="2710108" y="1178045"/>
                  <a:pt x="2690006" y="1167286"/>
                </a:cubicBezTo>
                <a:cubicBezTo>
                  <a:pt x="2669913" y="1156529"/>
                  <a:pt x="2657375" y="1135582"/>
                  <a:pt x="2657382" y="1112788"/>
                </a:cubicBezTo>
                <a:lnTo>
                  <a:pt x="2657382" y="618461"/>
                </a:lnTo>
                <a:cubicBezTo>
                  <a:pt x="2657382" y="606251"/>
                  <a:pt x="2660995" y="594313"/>
                  <a:pt x="2667774" y="584161"/>
                </a:cubicBezTo>
                <a:cubicBezTo>
                  <a:pt x="2677244" y="569965"/>
                  <a:pt x="2691570" y="560953"/>
                  <a:pt x="2707077" y="557856"/>
                </a:cubicBezTo>
                <a:cubicBezTo>
                  <a:pt x="2714831" y="556309"/>
                  <a:pt x="2722880" y="556241"/>
                  <a:pt x="2730764" y="557743"/>
                </a:cubicBezTo>
                <a:close/>
                <a:moveTo>
                  <a:pt x="2842754" y="433088"/>
                </a:moveTo>
                <a:cubicBezTo>
                  <a:pt x="2603982" y="433360"/>
                  <a:pt x="2410490" y="626853"/>
                  <a:pt x="2410218" y="865625"/>
                </a:cubicBezTo>
                <a:cubicBezTo>
                  <a:pt x="2410218" y="1104509"/>
                  <a:pt x="2603871" y="1298161"/>
                  <a:pt x="2842754" y="1298161"/>
                </a:cubicBezTo>
                <a:cubicBezTo>
                  <a:pt x="3081638" y="1298161"/>
                  <a:pt x="3275290" y="1104509"/>
                  <a:pt x="3275290" y="865625"/>
                </a:cubicBezTo>
                <a:cubicBezTo>
                  <a:pt x="3275290" y="626741"/>
                  <a:pt x="3081638" y="433088"/>
                  <a:pt x="2842754" y="433088"/>
                </a:cubicBezTo>
                <a:close/>
                <a:moveTo>
                  <a:pt x="2842754" y="309508"/>
                </a:moveTo>
                <a:cubicBezTo>
                  <a:pt x="3149891" y="309508"/>
                  <a:pt x="3398872" y="558487"/>
                  <a:pt x="3398872" y="865625"/>
                </a:cubicBezTo>
                <a:cubicBezTo>
                  <a:pt x="3398872" y="1172762"/>
                  <a:pt x="3149891" y="1421743"/>
                  <a:pt x="2842754" y="1421743"/>
                </a:cubicBezTo>
                <a:cubicBezTo>
                  <a:pt x="2535758" y="1421403"/>
                  <a:pt x="2286977" y="1172620"/>
                  <a:pt x="2286637" y="865625"/>
                </a:cubicBezTo>
                <a:cubicBezTo>
                  <a:pt x="2286637" y="558487"/>
                  <a:pt x="2535616" y="309508"/>
                  <a:pt x="2842754" y="309508"/>
                </a:cubicBezTo>
                <a:close/>
                <a:moveTo>
                  <a:pt x="2822473" y="122776"/>
                </a:moveTo>
                <a:cubicBezTo>
                  <a:pt x="2615023" y="128927"/>
                  <a:pt x="2411303" y="221700"/>
                  <a:pt x="2269829" y="395150"/>
                </a:cubicBezTo>
                <a:cubicBezTo>
                  <a:pt x="2130961" y="570777"/>
                  <a:pt x="1901674" y="648127"/>
                  <a:pt x="1684796" y="592509"/>
                </a:cubicBezTo>
                <a:cubicBezTo>
                  <a:pt x="1642462" y="580762"/>
                  <a:pt x="1599394" y="571858"/>
                  <a:pt x="1555881" y="565847"/>
                </a:cubicBezTo>
                <a:cubicBezTo>
                  <a:pt x="1015335" y="491176"/>
                  <a:pt x="516611" y="868838"/>
                  <a:pt x="441937" y="1409384"/>
                </a:cubicBezTo>
                <a:cubicBezTo>
                  <a:pt x="411662" y="1627518"/>
                  <a:pt x="455601" y="1849494"/>
                  <a:pt x="566691" y="2039649"/>
                </a:cubicBezTo>
                <a:lnTo>
                  <a:pt x="913709" y="2039649"/>
                </a:lnTo>
                <a:cubicBezTo>
                  <a:pt x="1079691" y="2039667"/>
                  <a:pt x="1244585" y="2012900"/>
                  <a:pt x="1402041" y="1960372"/>
                </a:cubicBezTo>
                <a:lnTo>
                  <a:pt x="2081739" y="1733846"/>
                </a:lnTo>
                <a:cubicBezTo>
                  <a:pt x="2088041" y="1731746"/>
                  <a:pt x="2094641" y="1730677"/>
                  <a:pt x="2101276" y="1730684"/>
                </a:cubicBezTo>
                <a:cubicBezTo>
                  <a:pt x="2135404" y="1730689"/>
                  <a:pt x="2163062" y="1758358"/>
                  <a:pt x="2163055" y="1792486"/>
                </a:cubicBezTo>
                <a:lnTo>
                  <a:pt x="2163055" y="2101441"/>
                </a:lnTo>
                <a:cubicBezTo>
                  <a:pt x="2299558" y="2101441"/>
                  <a:pt x="2410219" y="2212102"/>
                  <a:pt x="2410219" y="2348603"/>
                </a:cubicBezTo>
                <a:lnTo>
                  <a:pt x="2410219" y="2595766"/>
                </a:lnTo>
                <a:cubicBezTo>
                  <a:pt x="2410219" y="2732267"/>
                  <a:pt x="2299558" y="2842929"/>
                  <a:pt x="2163055" y="2842929"/>
                </a:cubicBezTo>
                <a:lnTo>
                  <a:pt x="2163055" y="3151883"/>
                </a:lnTo>
                <a:cubicBezTo>
                  <a:pt x="2163055" y="3186009"/>
                  <a:pt x="2135392" y="3213674"/>
                  <a:pt x="2101265" y="3213674"/>
                </a:cubicBezTo>
                <a:cubicBezTo>
                  <a:pt x="2094690" y="3213630"/>
                  <a:pt x="2088160" y="3212544"/>
                  <a:pt x="2081925" y="3210461"/>
                </a:cubicBezTo>
                <a:lnTo>
                  <a:pt x="1402225" y="2983935"/>
                </a:lnTo>
                <a:cubicBezTo>
                  <a:pt x="1358663" y="2969477"/>
                  <a:pt x="1314544" y="2957428"/>
                  <a:pt x="1270178" y="2946862"/>
                </a:cubicBezTo>
                <a:cubicBezTo>
                  <a:pt x="1470276" y="3309326"/>
                  <a:pt x="1838826" y="3547269"/>
                  <a:pt x="2251528" y="3580427"/>
                </a:cubicBezTo>
                <a:cubicBezTo>
                  <a:pt x="2930768" y="3635013"/>
                  <a:pt x="3525647" y="3128624"/>
                  <a:pt x="3580227" y="2449384"/>
                </a:cubicBezTo>
                <a:cubicBezTo>
                  <a:pt x="3602262" y="2184672"/>
                  <a:pt x="3537777" y="1919960"/>
                  <a:pt x="3396461" y="1695043"/>
                </a:cubicBezTo>
                <a:cubicBezTo>
                  <a:pt x="3325240" y="1581811"/>
                  <a:pt x="3334065" y="1435794"/>
                  <a:pt x="3418398" y="1331960"/>
                </a:cubicBezTo>
                <a:cubicBezTo>
                  <a:pt x="3677089" y="1014794"/>
                  <a:pt x="3629684" y="547964"/>
                  <a:pt x="3312518" y="289271"/>
                </a:cubicBezTo>
                <a:cubicBezTo>
                  <a:pt x="3193582" y="192260"/>
                  <a:pt x="3053599" y="138296"/>
                  <a:pt x="2911437" y="125460"/>
                </a:cubicBezTo>
                <a:cubicBezTo>
                  <a:pt x="2881820" y="122786"/>
                  <a:pt x="2852108" y="121897"/>
                  <a:pt x="2822473" y="122776"/>
                </a:cubicBezTo>
                <a:close/>
                <a:moveTo>
                  <a:pt x="2806042" y="851"/>
                </a:moveTo>
                <a:cubicBezTo>
                  <a:pt x="2835244" y="-444"/>
                  <a:pt x="2864233" y="-251"/>
                  <a:pt x="2892928" y="1367"/>
                </a:cubicBezTo>
                <a:cubicBezTo>
                  <a:pt x="3294652" y="24025"/>
                  <a:pt x="3638620" y="326130"/>
                  <a:pt x="3699235" y="739758"/>
                </a:cubicBezTo>
                <a:cubicBezTo>
                  <a:pt x="3734939" y="979246"/>
                  <a:pt x="3667890" y="1222682"/>
                  <a:pt x="3514604" y="1410124"/>
                </a:cubicBezTo>
                <a:cubicBezTo>
                  <a:pt x="3463659" y="1472904"/>
                  <a:pt x="3458412" y="1561173"/>
                  <a:pt x="3501567" y="1629545"/>
                </a:cubicBezTo>
                <a:cubicBezTo>
                  <a:pt x="3657063" y="1876942"/>
                  <a:pt x="3728036" y="2168131"/>
                  <a:pt x="3703808" y="2459332"/>
                </a:cubicBezTo>
                <a:cubicBezTo>
                  <a:pt x="3646269" y="3115531"/>
                  <a:pt x="3129698" y="3637786"/>
                  <a:pt x="2474172" y="3702501"/>
                </a:cubicBezTo>
                <a:cubicBezTo>
                  <a:pt x="2432568" y="3706165"/>
                  <a:pt x="2391373" y="3707999"/>
                  <a:pt x="2350591" y="3707999"/>
                </a:cubicBezTo>
                <a:cubicBezTo>
                  <a:pt x="1821118" y="3708099"/>
                  <a:pt x="1339947" y="3400213"/>
                  <a:pt x="1118173" y="2919425"/>
                </a:cubicBezTo>
                <a:cubicBezTo>
                  <a:pt x="1050482" y="2910010"/>
                  <a:pt x="982241" y="2905091"/>
                  <a:pt x="913893" y="2904721"/>
                </a:cubicBezTo>
                <a:lnTo>
                  <a:pt x="882999" y="2904721"/>
                </a:lnTo>
                <a:lnTo>
                  <a:pt x="1048227" y="3559702"/>
                </a:lnTo>
                <a:cubicBezTo>
                  <a:pt x="1055432" y="3597024"/>
                  <a:pt x="1045447" y="3635606"/>
                  <a:pt x="1021039" y="3664746"/>
                </a:cubicBezTo>
                <a:cubicBezTo>
                  <a:pt x="997583" y="3692163"/>
                  <a:pt x="963320" y="3707969"/>
                  <a:pt x="927240" y="3707999"/>
                </a:cubicBezTo>
                <a:lnTo>
                  <a:pt x="566691" y="3707999"/>
                </a:lnTo>
                <a:cubicBezTo>
                  <a:pt x="498438" y="3707999"/>
                  <a:pt x="443111" y="3652672"/>
                  <a:pt x="443111" y="3584419"/>
                </a:cubicBezTo>
                <a:lnTo>
                  <a:pt x="376438" y="2900580"/>
                </a:lnTo>
                <a:cubicBezTo>
                  <a:pt x="163472" y="2872916"/>
                  <a:pt x="3144" y="2693044"/>
                  <a:pt x="46" y="2478314"/>
                </a:cubicBezTo>
                <a:cubicBezTo>
                  <a:pt x="-3396" y="2239690"/>
                  <a:pt x="187252" y="2043461"/>
                  <a:pt x="425870" y="2040020"/>
                </a:cubicBezTo>
                <a:cubicBezTo>
                  <a:pt x="325829" y="1840146"/>
                  <a:pt x="288729" y="1614646"/>
                  <a:pt x="319466" y="1393256"/>
                </a:cubicBezTo>
                <a:cubicBezTo>
                  <a:pt x="391065" y="897347"/>
                  <a:pt x="782904" y="509092"/>
                  <a:pt x="1279447" y="442050"/>
                </a:cubicBezTo>
                <a:cubicBezTo>
                  <a:pt x="1426319" y="423125"/>
                  <a:pt x="1575488" y="433800"/>
                  <a:pt x="1718161" y="473439"/>
                </a:cubicBezTo>
                <a:cubicBezTo>
                  <a:pt x="1887839" y="515790"/>
                  <a:pt x="2066558" y="454378"/>
                  <a:pt x="2174363" y="316675"/>
                </a:cubicBezTo>
                <a:cubicBezTo>
                  <a:pt x="2310945" y="150109"/>
                  <a:pt x="2504752" y="40487"/>
                  <a:pt x="2717882" y="9256"/>
                </a:cubicBezTo>
                <a:cubicBezTo>
                  <a:pt x="2747427" y="4927"/>
                  <a:pt x="2776841" y="2145"/>
                  <a:pt x="2806042" y="851"/>
                </a:cubicBezTo>
                <a:close/>
              </a:path>
            </a:pathLst>
          </a:custGeom>
          <a:solidFill>
            <a:schemeClr val="tx2"/>
          </a:solidFill>
          <a:ln>
            <a:noFill/>
          </a:ln>
        </p:spPr>
        <p:txBody>
          <a:bodyPr rtlCol="0" anchor="ctr"/>
          <a:lstStyle/>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028ECA-44E9-4167-8620-C75C1D960470}"/>
              </a:ext>
            </a:extLst>
          </p:cNvPr>
          <p:cNvGraphicFramePr>
            <a:graphicFrameLocks noChangeAspect="1"/>
          </p:cNvGraphicFramePr>
          <p:nvPr>
            <p:custDataLst>
              <p:tags r:id="rId1"/>
            </p:custDataLst>
            <p:extLst>
              <p:ext uri="{D42A27DB-BD31-4B8C-83A1-F6EECF244321}">
                <p14:modId xmlns:p14="http://schemas.microsoft.com/office/powerpoint/2010/main" val="157612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2028ECA-44E9-4167-8620-C75C1D9604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Google Shape;1453;p10">
            <a:extLst>
              <a:ext uri="{FF2B5EF4-FFF2-40B4-BE49-F238E27FC236}">
                <a16:creationId xmlns:a16="http://schemas.microsoft.com/office/drawing/2014/main" id="{8BDC7337-2AC0-EAE9-0EE3-3AD6384C3A86}"/>
              </a:ext>
            </a:extLst>
          </p:cNvPr>
          <p:cNvSpPr/>
          <p:nvPr/>
        </p:nvSpPr>
        <p:spPr>
          <a:xfrm>
            <a:off x="1369403" y="1285912"/>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chemeClr val="tx2">
                  <a:alpha val="42000"/>
                </a:scheme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7" name="Google Shape;1453;p10">
            <a:extLst>
              <a:ext uri="{FF2B5EF4-FFF2-40B4-BE49-F238E27FC236}">
                <a16:creationId xmlns:a16="http://schemas.microsoft.com/office/drawing/2014/main" id="{399ADBEF-104D-F107-3300-9F3EEE5FFD58}"/>
              </a:ext>
            </a:extLst>
          </p:cNvPr>
          <p:cNvSpPr/>
          <p:nvPr/>
        </p:nvSpPr>
        <p:spPr>
          <a:xfrm>
            <a:off x="5097338" y="1285912"/>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chemeClr val="tx2">
                  <a:alpha val="42000"/>
                </a:scheme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8" name="Google Shape;1453;p10">
            <a:extLst>
              <a:ext uri="{FF2B5EF4-FFF2-40B4-BE49-F238E27FC236}">
                <a16:creationId xmlns:a16="http://schemas.microsoft.com/office/drawing/2014/main" id="{309ADF91-F011-5BF0-7C8B-1CE3428FB367}"/>
              </a:ext>
            </a:extLst>
          </p:cNvPr>
          <p:cNvSpPr/>
          <p:nvPr/>
        </p:nvSpPr>
        <p:spPr>
          <a:xfrm>
            <a:off x="8825273" y="1285912"/>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chemeClr val="tx2">
                  <a:alpha val="42000"/>
                </a:scheme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1407" name="Google Shape;1407;p9"/>
          <p:cNvSpPr>
            <a:spLocks/>
          </p:cNvSpPr>
          <p:nvPr/>
        </p:nvSpPr>
        <p:spPr>
          <a:xfrm>
            <a:off x="550863" y="1861468"/>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b="1" dirty="0">
                <a:solidFill>
                  <a:schemeClr val="bg1"/>
                </a:solidFill>
                <a:latin typeface="Calibri" panose="020F0502020204030204" pitchFamily="34" charset="0"/>
                <a:cs typeface="Calibri" panose="020F0502020204030204" pitchFamily="34" charset="0"/>
                <a:sym typeface="Franklin Gothic"/>
              </a:rPr>
              <a:t>Four Levels of Research</a:t>
            </a:r>
            <a:endParaRPr lang="en-US" b="1" dirty="0">
              <a:solidFill>
                <a:schemeClr val="bg1"/>
              </a:solidFill>
              <a:latin typeface="Calibri" panose="020F0502020204030204" pitchFamily="34" charset="0"/>
              <a:cs typeface="Calibri" panose="020F0502020204030204" pitchFamily="34" charset="0"/>
              <a:sym typeface="Arial"/>
            </a:endParaRPr>
          </a:p>
        </p:txBody>
      </p:sp>
      <p:sp>
        <p:nvSpPr>
          <p:cNvPr id="1408" name="Google Shape;1408;p9"/>
          <p:cNvSpPr>
            <a:spLocks/>
          </p:cNvSpPr>
          <p:nvPr/>
        </p:nvSpPr>
        <p:spPr>
          <a:xfrm>
            <a:off x="4278798" y="1861468"/>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b="1" dirty="0">
                <a:solidFill>
                  <a:schemeClr val="bg1"/>
                </a:solidFill>
                <a:latin typeface="Calibri" panose="020F0502020204030204" pitchFamily="34" charset="0"/>
                <a:cs typeface="Calibri" panose="020F0502020204030204" pitchFamily="34" charset="0"/>
                <a:sym typeface="Franklin Gothic"/>
              </a:rPr>
              <a:t>Combination of Approaches</a:t>
            </a:r>
            <a:endParaRPr lang="en-US" b="1" dirty="0">
              <a:solidFill>
                <a:schemeClr val="bg1"/>
              </a:solidFill>
              <a:latin typeface="Calibri" panose="020F0502020204030204" pitchFamily="34" charset="0"/>
              <a:cs typeface="Calibri" panose="020F0502020204030204" pitchFamily="34" charset="0"/>
              <a:sym typeface="Arial"/>
            </a:endParaRPr>
          </a:p>
        </p:txBody>
      </p:sp>
      <p:sp>
        <p:nvSpPr>
          <p:cNvPr id="1409" name="Google Shape;1409;p9"/>
          <p:cNvSpPr>
            <a:spLocks/>
          </p:cNvSpPr>
          <p:nvPr/>
        </p:nvSpPr>
        <p:spPr>
          <a:xfrm>
            <a:off x="8006733" y="1861468"/>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b="1" dirty="0">
                <a:solidFill>
                  <a:schemeClr val="bg1"/>
                </a:solidFill>
                <a:latin typeface="Calibri" panose="020F0502020204030204" pitchFamily="34" charset="0"/>
                <a:cs typeface="Calibri" panose="020F0502020204030204" pitchFamily="34" charset="0"/>
                <a:sym typeface="Franklin Gothic"/>
              </a:rPr>
              <a:t>Three Types of Support</a:t>
            </a:r>
            <a:endParaRPr lang="en-US" b="1" dirty="0">
              <a:solidFill>
                <a:schemeClr val="bg1"/>
              </a:solidFill>
              <a:latin typeface="Calibri" panose="020F0502020204030204" pitchFamily="34" charset="0"/>
              <a:cs typeface="Calibri" panose="020F0502020204030204" pitchFamily="34" charset="0"/>
              <a:sym typeface="Arial"/>
            </a:endParaRPr>
          </a:p>
        </p:txBody>
      </p:sp>
      <p:sp>
        <p:nvSpPr>
          <p:cNvPr id="1410" name="Google Shape;1410;p9"/>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sz="2800" dirty="0"/>
              <a:t>Our Research service combines different approaches and depth levels </a:t>
            </a:r>
            <a:endParaRPr sz="2800" dirty="0"/>
          </a:p>
        </p:txBody>
      </p:sp>
      <p:sp>
        <p:nvSpPr>
          <p:cNvPr id="1411" name="Google Shape;1411;p9"/>
          <p:cNvSpPr txBox="1">
            <a:spLocks/>
          </p:cNvSpPr>
          <p:nvPr/>
        </p:nvSpPr>
        <p:spPr>
          <a:xfrm>
            <a:off x="1729742" y="2454669"/>
            <a:ext cx="2455224"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Demographics, economic analysis, regulatory frameworks, Doing Business, customized country profiles </a:t>
            </a:r>
            <a:endParaRPr sz="1400" b="0" i="0" u="none" strike="noStrike" cap="none" dirty="0">
              <a:solidFill>
                <a:srgbClr val="000000"/>
              </a:solidFill>
              <a:latin typeface="Arial"/>
              <a:ea typeface="Arial"/>
              <a:cs typeface="Arial"/>
              <a:sym typeface="Arial"/>
            </a:endParaRPr>
          </a:p>
        </p:txBody>
      </p:sp>
      <p:sp>
        <p:nvSpPr>
          <p:cNvPr id="1415" name="Google Shape;1415;p9"/>
          <p:cNvSpPr/>
          <p:nvPr/>
        </p:nvSpPr>
        <p:spPr>
          <a:xfrm rot="5400000">
            <a:off x="549662" y="2424041"/>
            <a:ext cx="1032297" cy="1029893"/>
          </a:xfrm>
          <a:prstGeom prst="homePlate">
            <a:avLst>
              <a:gd name="adj" fmla="val 18367"/>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lang="en-US" sz="1800" b="0" i="0" u="none" strike="noStrike" cap="none">
              <a:solidFill>
                <a:schemeClr val="lt1"/>
              </a:solidFill>
              <a:latin typeface="Calibri"/>
              <a:ea typeface="Calibri"/>
              <a:cs typeface="Calibri"/>
              <a:sym typeface="Calibri"/>
            </a:endParaRPr>
          </a:p>
        </p:txBody>
      </p:sp>
      <p:sp>
        <p:nvSpPr>
          <p:cNvPr id="1416" name="Google Shape;1416;p9"/>
          <p:cNvSpPr/>
          <p:nvPr/>
        </p:nvSpPr>
        <p:spPr>
          <a:xfrm rot="5400000">
            <a:off x="552875" y="3375237"/>
            <a:ext cx="1032297" cy="1029893"/>
          </a:xfrm>
          <a:prstGeom prst="chevron">
            <a:avLst>
              <a:gd name="adj" fmla="val 17686"/>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7" name="Google Shape;1417;p9"/>
          <p:cNvSpPr/>
          <p:nvPr/>
        </p:nvSpPr>
        <p:spPr>
          <a:xfrm rot="5400000">
            <a:off x="552875" y="4326433"/>
            <a:ext cx="1032297" cy="1029893"/>
          </a:xfrm>
          <a:prstGeom prst="chevron">
            <a:avLst>
              <a:gd name="adj" fmla="val 17686"/>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8" name="Google Shape;1418;p9"/>
          <p:cNvSpPr/>
          <p:nvPr/>
        </p:nvSpPr>
        <p:spPr>
          <a:xfrm rot="5400000">
            <a:off x="552875" y="5277630"/>
            <a:ext cx="1032297" cy="1029893"/>
          </a:xfrm>
          <a:prstGeom prst="chevron">
            <a:avLst>
              <a:gd name="adj" fmla="val 17686"/>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9" name="Google Shape;1419;p9"/>
          <p:cNvSpPr txBox="1"/>
          <p:nvPr/>
        </p:nvSpPr>
        <p:spPr>
          <a:xfrm>
            <a:off x="593370" y="2842671"/>
            <a:ext cx="944880" cy="19263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chemeClr val="tx2">
                    <a:lumMod val="50000"/>
                  </a:schemeClr>
                </a:solidFill>
                <a:latin typeface="Calibri"/>
                <a:ea typeface="Calibri"/>
                <a:cs typeface="Calibri"/>
                <a:sym typeface="Calibri"/>
              </a:rPr>
              <a:t>Country</a:t>
            </a:r>
            <a:endParaRPr sz="1200" b="0" i="0" u="none" strike="noStrike" cap="none" dirty="0">
              <a:solidFill>
                <a:schemeClr val="tx2">
                  <a:lumMod val="50000"/>
                </a:schemeClr>
              </a:solidFill>
              <a:latin typeface="Calibri"/>
              <a:ea typeface="Calibri"/>
              <a:cs typeface="Calibri"/>
              <a:sym typeface="Calibri"/>
            </a:endParaRPr>
          </a:p>
        </p:txBody>
      </p:sp>
      <p:sp>
        <p:nvSpPr>
          <p:cNvPr id="1420" name="Google Shape;1420;p9"/>
          <p:cNvSpPr txBox="1"/>
          <p:nvPr/>
        </p:nvSpPr>
        <p:spPr>
          <a:xfrm>
            <a:off x="593370" y="3793867"/>
            <a:ext cx="944880" cy="19263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chemeClr val="tx2">
                    <a:lumMod val="50000"/>
                  </a:schemeClr>
                </a:solidFill>
                <a:latin typeface="Calibri"/>
                <a:ea typeface="Calibri"/>
                <a:cs typeface="Calibri"/>
                <a:sym typeface="Calibri"/>
              </a:rPr>
              <a:t>Market</a:t>
            </a:r>
            <a:endParaRPr sz="1200" b="0" i="0" u="none" strike="noStrike" cap="none" dirty="0">
              <a:solidFill>
                <a:schemeClr val="tx2">
                  <a:lumMod val="50000"/>
                </a:schemeClr>
              </a:solidFill>
              <a:latin typeface="Calibri"/>
              <a:ea typeface="Calibri"/>
              <a:cs typeface="Calibri"/>
              <a:sym typeface="Calibri"/>
            </a:endParaRPr>
          </a:p>
        </p:txBody>
      </p:sp>
      <p:sp>
        <p:nvSpPr>
          <p:cNvPr id="1421" name="Google Shape;1421;p9"/>
          <p:cNvSpPr txBox="1"/>
          <p:nvPr/>
        </p:nvSpPr>
        <p:spPr>
          <a:xfrm>
            <a:off x="593370" y="4745063"/>
            <a:ext cx="944880" cy="19263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chemeClr val="tx2">
                    <a:lumMod val="50000"/>
                  </a:schemeClr>
                </a:solidFill>
                <a:latin typeface="Calibri"/>
                <a:ea typeface="Calibri"/>
                <a:cs typeface="Calibri"/>
                <a:sym typeface="Calibri"/>
              </a:rPr>
              <a:t>Company</a:t>
            </a:r>
            <a:endParaRPr sz="1200" b="0" i="0" u="none" strike="noStrike" cap="none" dirty="0">
              <a:solidFill>
                <a:schemeClr val="tx2">
                  <a:lumMod val="50000"/>
                </a:schemeClr>
              </a:solidFill>
              <a:latin typeface="Calibri"/>
              <a:ea typeface="Calibri"/>
              <a:cs typeface="Calibri"/>
              <a:sym typeface="Calibri"/>
            </a:endParaRPr>
          </a:p>
        </p:txBody>
      </p:sp>
      <p:sp>
        <p:nvSpPr>
          <p:cNvPr id="1422" name="Google Shape;1422;p9"/>
          <p:cNvSpPr txBox="1"/>
          <p:nvPr/>
        </p:nvSpPr>
        <p:spPr>
          <a:xfrm>
            <a:off x="593370" y="5599943"/>
            <a:ext cx="944880" cy="385266"/>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chemeClr val="tx2">
                    <a:lumMod val="50000"/>
                  </a:schemeClr>
                </a:solidFill>
                <a:latin typeface="Calibri"/>
                <a:ea typeface="Calibri"/>
                <a:cs typeface="Calibri"/>
                <a:sym typeface="Calibri"/>
              </a:rPr>
              <a:t>Consumer/ Expert</a:t>
            </a:r>
            <a:endParaRPr sz="1200" b="0" i="0" u="none" strike="noStrike" cap="none" dirty="0">
              <a:solidFill>
                <a:schemeClr val="tx2">
                  <a:lumMod val="50000"/>
                </a:schemeClr>
              </a:solidFill>
              <a:latin typeface="Calibri"/>
              <a:ea typeface="Calibri"/>
              <a:cs typeface="Calibri"/>
              <a:sym typeface="Calibri"/>
            </a:endParaRPr>
          </a:p>
        </p:txBody>
      </p:sp>
      <p:sp>
        <p:nvSpPr>
          <p:cNvPr id="1423" name="Google Shape;1423;p9"/>
          <p:cNvSpPr txBox="1">
            <a:spLocks/>
          </p:cNvSpPr>
          <p:nvPr/>
        </p:nvSpPr>
        <p:spPr>
          <a:xfrm>
            <a:off x="1729742" y="3410945"/>
            <a:ext cx="2455224"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Market sizing, competitive landscaping, sectoral analysis, value chain analysis, market regulations analysis</a:t>
            </a:r>
            <a:endParaRPr sz="1400" b="0" i="0" u="none" strike="noStrike" cap="none" dirty="0">
              <a:solidFill>
                <a:srgbClr val="000000"/>
              </a:solidFill>
              <a:latin typeface="Arial"/>
              <a:ea typeface="Arial"/>
              <a:cs typeface="Arial"/>
              <a:sym typeface="Arial"/>
            </a:endParaRPr>
          </a:p>
        </p:txBody>
      </p:sp>
      <p:sp>
        <p:nvSpPr>
          <p:cNvPr id="1424" name="Google Shape;1424;p9"/>
          <p:cNvSpPr txBox="1">
            <a:spLocks/>
          </p:cNvSpPr>
          <p:nvPr/>
        </p:nvSpPr>
        <p:spPr>
          <a:xfrm>
            <a:off x="1729742" y="4357061"/>
            <a:ext cx="2455224"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Company financials analysis, company profiling, product /service offering analysis, supplier / client identification</a:t>
            </a:r>
            <a:endParaRPr sz="1400" b="0" i="0" u="none" strike="noStrike" cap="none" dirty="0">
              <a:solidFill>
                <a:srgbClr val="000000"/>
              </a:solidFill>
              <a:latin typeface="Arial"/>
              <a:ea typeface="Arial"/>
              <a:cs typeface="Arial"/>
              <a:sym typeface="Arial"/>
            </a:endParaRPr>
          </a:p>
        </p:txBody>
      </p:sp>
      <p:sp>
        <p:nvSpPr>
          <p:cNvPr id="1425" name="Google Shape;1425;p9"/>
          <p:cNvSpPr txBox="1">
            <a:spLocks/>
          </p:cNvSpPr>
          <p:nvPr/>
        </p:nvSpPr>
        <p:spPr>
          <a:xfrm>
            <a:off x="1729742" y="5384887"/>
            <a:ext cx="2455224" cy="581698"/>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Consumption trends and customer reviews analysis for specific products / services </a:t>
            </a:r>
            <a:endParaRPr sz="1400" b="0" i="0" u="none" strike="noStrike" cap="none" dirty="0">
              <a:solidFill>
                <a:srgbClr val="000000"/>
              </a:solidFill>
              <a:latin typeface="Arial"/>
              <a:ea typeface="Arial"/>
              <a:cs typeface="Arial"/>
              <a:sym typeface="Arial"/>
            </a:endParaRPr>
          </a:p>
        </p:txBody>
      </p:sp>
      <p:sp>
        <p:nvSpPr>
          <p:cNvPr id="1427" name="Google Shape;1427;p9"/>
          <p:cNvSpPr/>
          <p:nvPr/>
        </p:nvSpPr>
        <p:spPr>
          <a:xfrm>
            <a:off x="4972362" y="3638739"/>
            <a:ext cx="1254110" cy="1254111"/>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8" name="Google Shape;1428;p9"/>
          <p:cNvSpPr/>
          <p:nvPr/>
        </p:nvSpPr>
        <p:spPr>
          <a:xfrm>
            <a:off x="5984890" y="3638739"/>
            <a:ext cx="1254110" cy="1254111"/>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9" name="Google Shape;1429;p9"/>
          <p:cNvSpPr/>
          <p:nvPr/>
        </p:nvSpPr>
        <p:spPr>
          <a:xfrm>
            <a:off x="5478626" y="4458928"/>
            <a:ext cx="1254110" cy="1254111"/>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0" name="Google Shape;1430;p9"/>
          <p:cNvSpPr txBox="1"/>
          <p:nvPr/>
        </p:nvSpPr>
        <p:spPr>
          <a:xfrm>
            <a:off x="5281894" y="4063493"/>
            <a:ext cx="635046"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chemeClr val="tx2">
                    <a:lumMod val="50000"/>
                  </a:schemeClr>
                </a:solidFill>
                <a:latin typeface="Calibri"/>
                <a:ea typeface="Calibri"/>
                <a:cs typeface="Calibri"/>
                <a:sym typeface="Calibri"/>
              </a:rPr>
              <a:t>Desk</a:t>
            </a:r>
            <a:br>
              <a:rPr lang="en-US" sz="1400" b="1" i="0" u="none" strike="noStrike" cap="none" dirty="0">
                <a:solidFill>
                  <a:schemeClr val="tx2">
                    <a:lumMod val="50000"/>
                  </a:schemeClr>
                </a:solidFill>
                <a:latin typeface="Calibri"/>
                <a:ea typeface="Calibri"/>
                <a:cs typeface="Calibri"/>
                <a:sym typeface="Calibri"/>
              </a:rPr>
            </a:br>
            <a:r>
              <a:rPr lang="en-US" sz="1400" b="1" i="0" u="none" strike="noStrike" cap="none" dirty="0">
                <a:solidFill>
                  <a:schemeClr val="tx2">
                    <a:lumMod val="50000"/>
                  </a:schemeClr>
                </a:solidFill>
                <a:latin typeface="Calibri"/>
                <a:ea typeface="Calibri"/>
                <a:cs typeface="Calibri"/>
                <a:sym typeface="Calibri"/>
              </a:rPr>
              <a:t>research</a:t>
            </a:r>
            <a:endParaRPr sz="1200" b="0" i="0" u="none" strike="noStrike" cap="none" dirty="0">
              <a:solidFill>
                <a:schemeClr val="tx2">
                  <a:lumMod val="50000"/>
                </a:schemeClr>
              </a:solidFill>
              <a:latin typeface="Calibri"/>
              <a:ea typeface="Calibri"/>
              <a:cs typeface="Calibri"/>
              <a:sym typeface="Calibri"/>
            </a:endParaRPr>
          </a:p>
        </p:txBody>
      </p:sp>
      <p:sp>
        <p:nvSpPr>
          <p:cNvPr id="1431" name="Google Shape;1431;p9"/>
          <p:cNvSpPr txBox="1"/>
          <p:nvPr/>
        </p:nvSpPr>
        <p:spPr>
          <a:xfrm>
            <a:off x="6294422" y="4063493"/>
            <a:ext cx="635046"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chemeClr val="tx2">
                    <a:lumMod val="50000"/>
                  </a:schemeClr>
                </a:solidFill>
                <a:latin typeface="Calibri"/>
                <a:ea typeface="Calibri"/>
                <a:cs typeface="Calibri"/>
                <a:sym typeface="Calibri"/>
              </a:rPr>
              <a:t>Primary</a:t>
            </a:r>
            <a:br>
              <a:rPr lang="en-US" sz="1400" b="1" i="0" u="none" strike="noStrike" cap="none" dirty="0">
                <a:solidFill>
                  <a:schemeClr val="tx2">
                    <a:lumMod val="50000"/>
                  </a:schemeClr>
                </a:solidFill>
                <a:latin typeface="Calibri"/>
                <a:ea typeface="Calibri"/>
                <a:cs typeface="Calibri"/>
                <a:sym typeface="Calibri"/>
              </a:rPr>
            </a:br>
            <a:r>
              <a:rPr lang="en-US" sz="1400" b="1" i="0" u="none" strike="noStrike" cap="none" dirty="0">
                <a:solidFill>
                  <a:schemeClr val="tx2">
                    <a:lumMod val="50000"/>
                  </a:schemeClr>
                </a:solidFill>
                <a:latin typeface="Calibri"/>
                <a:ea typeface="Calibri"/>
                <a:cs typeface="Calibri"/>
                <a:sym typeface="Calibri"/>
              </a:rPr>
              <a:t>research</a:t>
            </a:r>
            <a:endParaRPr sz="1200" b="0" i="0" u="none" strike="noStrike" cap="none" dirty="0">
              <a:solidFill>
                <a:schemeClr val="tx2">
                  <a:lumMod val="50000"/>
                </a:schemeClr>
              </a:solidFill>
              <a:latin typeface="Calibri"/>
              <a:ea typeface="Calibri"/>
              <a:cs typeface="Calibri"/>
              <a:sym typeface="Calibri"/>
            </a:endParaRPr>
          </a:p>
        </p:txBody>
      </p:sp>
      <p:sp>
        <p:nvSpPr>
          <p:cNvPr id="1432" name="Google Shape;1432;p9"/>
          <p:cNvSpPr txBox="1"/>
          <p:nvPr/>
        </p:nvSpPr>
        <p:spPr>
          <a:xfrm>
            <a:off x="5618112" y="5038029"/>
            <a:ext cx="975139" cy="387798"/>
          </a:xfrm>
          <a:prstGeom prst="rect">
            <a:avLst/>
          </a:prstGeom>
          <a:solidFill>
            <a:schemeClr val="lt1"/>
          </a:solid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chemeClr val="tx2">
                    <a:lumMod val="50000"/>
                  </a:schemeClr>
                </a:solidFill>
                <a:latin typeface="Calibri"/>
                <a:ea typeface="Calibri"/>
                <a:cs typeface="Calibri"/>
                <a:sym typeface="Calibri"/>
              </a:rPr>
              <a:t>Tech enabled</a:t>
            </a:r>
            <a:br>
              <a:rPr lang="en-US" sz="1400" b="1" i="0" u="none" strike="noStrike" cap="none" dirty="0">
                <a:solidFill>
                  <a:schemeClr val="tx2">
                    <a:lumMod val="50000"/>
                  </a:schemeClr>
                </a:solidFill>
                <a:latin typeface="Calibri"/>
                <a:ea typeface="Calibri"/>
                <a:cs typeface="Calibri"/>
                <a:sym typeface="Calibri"/>
              </a:rPr>
            </a:br>
            <a:r>
              <a:rPr lang="en-US" sz="1400" b="1" i="0" u="none" strike="noStrike" cap="none" dirty="0">
                <a:solidFill>
                  <a:schemeClr val="tx2">
                    <a:lumMod val="50000"/>
                  </a:schemeClr>
                </a:solidFill>
                <a:latin typeface="Calibri"/>
                <a:ea typeface="Calibri"/>
                <a:cs typeface="Calibri"/>
                <a:sym typeface="Calibri"/>
              </a:rPr>
              <a:t>research</a:t>
            </a:r>
            <a:endParaRPr sz="1200" b="0" i="0" u="none" strike="noStrike" cap="none" dirty="0">
              <a:solidFill>
                <a:schemeClr val="tx2">
                  <a:lumMod val="50000"/>
                </a:schemeClr>
              </a:solidFill>
              <a:latin typeface="Calibri"/>
              <a:ea typeface="Calibri"/>
              <a:cs typeface="Calibri"/>
              <a:sym typeface="Calibri"/>
            </a:endParaRPr>
          </a:p>
        </p:txBody>
      </p:sp>
      <p:sp>
        <p:nvSpPr>
          <p:cNvPr id="1433" name="Google Shape;1433;p9"/>
          <p:cNvSpPr txBox="1">
            <a:spLocks/>
          </p:cNvSpPr>
          <p:nvPr/>
        </p:nvSpPr>
        <p:spPr>
          <a:xfrm>
            <a:off x="4278798" y="2454669"/>
            <a:ext cx="1672740"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Open sources and paid sources such as </a:t>
            </a:r>
            <a:r>
              <a:rPr lang="en-US" sz="1400" b="1" i="0" u="none" strike="noStrike" cap="none" dirty="0">
                <a:solidFill>
                  <a:srgbClr val="3D3D3D"/>
                </a:solidFill>
                <a:latin typeface="Calibri"/>
                <a:ea typeface="Calibri"/>
                <a:cs typeface="Calibri"/>
                <a:sym typeface="Calibri"/>
              </a:rPr>
              <a:t>Orbis</a:t>
            </a:r>
            <a:r>
              <a:rPr lang="en-US" sz="1400" b="0" i="0" u="none" strike="noStrike" cap="none" dirty="0">
                <a:solidFill>
                  <a:srgbClr val="3D3D3D"/>
                </a:solidFill>
                <a:latin typeface="Calibri"/>
                <a:ea typeface="Calibri"/>
                <a:cs typeface="Calibri"/>
                <a:sym typeface="Calibri"/>
              </a:rPr>
              <a:t>, </a:t>
            </a:r>
            <a:r>
              <a:rPr lang="en-US" sz="1400" b="1" i="0" u="none" strike="noStrike" cap="none" dirty="0">
                <a:solidFill>
                  <a:srgbClr val="3D3D3D"/>
                </a:solidFill>
                <a:latin typeface="Calibri"/>
                <a:ea typeface="Calibri"/>
                <a:cs typeface="Calibri"/>
                <a:sym typeface="Calibri"/>
              </a:rPr>
              <a:t>Capital IQ </a:t>
            </a:r>
            <a:r>
              <a:rPr lang="en-US" sz="1400" b="0" i="0" u="none" strike="noStrike" cap="none" dirty="0">
                <a:solidFill>
                  <a:srgbClr val="3D3D3D"/>
                </a:solidFill>
                <a:latin typeface="Calibri"/>
                <a:ea typeface="Calibri"/>
                <a:cs typeface="Calibri"/>
                <a:sym typeface="Calibri"/>
              </a:rPr>
              <a:t>and </a:t>
            </a:r>
            <a:r>
              <a:rPr lang="en-US" sz="1400" b="1" i="0" u="none" strike="noStrike" cap="none" dirty="0">
                <a:solidFill>
                  <a:srgbClr val="3D3D3D"/>
                </a:solidFill>
                <a:latin typeface="Calibri"/>
                <a:ea typeface="Calibri"/>
                <a:cs typeface="Calibri"/>
                <a:sym typeface="Calibri"/>
              </a:rPr>
              <a:t>Factiva, </a:t>
            </a:r>
            <a:r>
              <a:rPr lang="en-US" sz="1400" b="1" i="0" u="none" strike="noStrike" cap="none" dirty="0" err="1">
                <a:solidFill>
                  <a:srgbClr val="3D3D3D"/>
                </a:solidFill>
                <a:latin typeface="Calibri"/>
                <a:ea typeface="Calibri"/>
                <a:cs typeface="Calibri"/>
                <a:sym typeface="Calibri"/>
              </a:rPr>
              <a:t>MagniTT</a:t>
            </a:r>
            <a:r>
              <a:rPr lang="en-US" sz="1400" b="1" i="0" u="none" strike="noStrike" cap="none" dirty="0">
                <a:solidFill>
                  <a:srgbClr val="3D3D3D"/>
                </a:solidFill>
                <a:latin typeface="Calibri"/>
                <a:ea typeface="Calibri"/>
                <a:cs typeface="Calibri"/>
                <a:sym typeface="Calibri"/>
              </a:rPr>
              <a:t>, etc.</a:t>
            </a:r>
            <a:endParaRPr sz="1400" b="1" i="0" u="none" strike="noStrike" cap="none" dirty="0">
              <a:solidFill>
                <a:srgbClr val="000000"/>
              </a:solidFill>
              <a:latin typeface="Arial"/>
              <a:ea typeface="Arial"/>
              <a:cs typeface="Arial"/>
              <a:sym typeface="Arial"/>
            </a:endParaRPr>
          </a:p>
        </p:txBody>
      </p:sp>
      <p:sp>
        <p:nvSpPr>
          <p:cNvPr id="1434" name="Google Shape;1434;p9"/>
          <p:cNvSpPr txBox="1">
            <a:spLocks/>
          </p:cNvSpPr>
          <p:nvPr/>
        </p:nvSpPr>
        <p:spPr>
          <a:xfrm>
            <a:off x="6240160" y="2454669"/>
            <a:ext cx="1672740" cy="775597"/>
          </a:xfrm>
          <a:prstGeom prst="rect">
            <a:avLst/>
          </a:prstGeom>
          <a:noFill/>
          <a:ln>
            <a:noFill/>
          </a:ln>
        </p:spPr>
        <p:txBody>
          <a:bodyPr spcFirstLastPara="1" wrap="square" lIns="0" tIns="0" rIns="0" bIns="0" anchor="t" anchorCtr="0">
            <a:spAutoFit/>
          </a:bodyPr>
          <a:lstStyle/>
          <a:p>
            <a:pPr marL="0" marR="0" lvl="1" indent="0" algn="r"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Via </a:t>
            </a:r>
            <a:r>
              <a:rPr lang="en-US" sz="1400" b="1" i="0" u="none" strike="noStrike" cap="none" dirty="0">
                <a:solidFill>
                  <a:srgbClr val="3D3D3D"/>
                </a:solidFill>
                <a:latin typeface="Calibri"/>
                <a:ea typeface="Calibri"/>
                <a:cs typeface="Calibri"/>
                <a:sym typeface="Calibri"/>
              </a:rPr>
              <a:t>phone-based conversations with public and private organizations</a:t>
            </a:r>
            <a:endParaRPr sz="1400" b="0" i="0" u="none" strike="noStrike" cap="none" dirty="0">
              <a:solidFill>
                <a:srgbClr val="000000"/>
              </a:solidFill>
              <a:latin typeface="Arial"/>
              <a:ea typeface="Arial"/>
              <a:cs typeface="Arial"/>
              <a:sym typeface="Arial"/>
            </a:endParaRPr>
          </a:p>
        </p:txBody>
      </p:sp>
      <p:sp>
        <p:nvSpPr>
          <p:cNvPr id="1435" name="Google Shape;1435;p9"/>
          <p:cNvSpPr txBox="1"/>
          <p:nvPr/>
        </p:nvSpPr>
        <p:spPr>
          <a:xfrm>
            <a:off x="5021452" y="6024992"/>
            <a:ext cx="2148794" cy="193899"/>
          </a:xfrm>
          <a:prstGeom prst="rect">
            <a:avLst/>
          </a:prstGeom>
          <a:noFill/>
          <a:ln>
            <a:noFill/>
          </a:ln>
        </p:spPr>
        <p:txBody>
          <a:bodyPr spcFirstLastPara="1" wrap="square" lIns="0" tIns="0" rIns="0" bIns="0" anchor="t" anchorCtr="0">
            <a:spAutoFit/>
          </a:bodyPr>
          <a:lstStyle/>
          <a:p>
            <a:pPr marL="0" marR="0" lvl="1" indent="0" algn="ctr"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Social listening, </a:t>
            </a:r>
            <a:r>
              <a:rPr lang="en-US" sz="1400" b="1" i="0" u="none" strike="noStrike" cap="none" dirty="0">
                <a:solidFill>
                  <a:srgbClr val="3D3D3D"/>
                </a:solidFill>
                <a:latin typeface="Calibri"/>
                <a:ea typeface="Calibri"/>
                <a:cs typeface="Calibri"/>
                <a:sym typeface="Calibri"/>
              </a:rPr>
              <a:t>web scraping</a:t>
            </a:r>
            <a:endParaRPr sz="1400" b="1" i="0" u="none" strike="noStrike" cap="none" dirty="0">
              <a:solidFill>
                <a:srgbClr val="000000"/>
              </a:solidFill>
              <a:latin typeface="Arial"/>
              <a:ea typeface="Arial"/>
              <a:cs typeface="Arial"/>
              <a:sym typeface="Arial"/>
            </a:endParaRPr>
          </a:p>
        </p:txBody>
      </p:sp>
      <p:sp>
        <p:nvSpPr>
          <p:cNvPr id="1446" name="Google Shape;1446;p9"/>
          <p:cNvSpPr txBox="1"/>
          <p:nvPr/>
        </p:nvSpPr>
        <p:spPr>
          <a:xfrm>
            <a:off x="10528915" y="270785"/>
            <a:ext cx="634113"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chemeClr val="dk2"/>
                </a:solidFill>
                <a:latin typeface="Franklin Gothic"/>
                <a:ea typeface="Franklin Gothic"/>
                <a:cs typeface="Franklin Gothic"/>
                <a:sym typeface="Franklin Gothic"/>
              </a:rPr>
              <a:t>Research</a:t>
            </a:r>
            <a:endParaRPr sz="1400" b="0" i="0" u="none" strike="noStrike" cap="none" dirty="0">
              <a:solidFill>
                <a:srgbClr val="000000"/>
              </a:solidFill>
              <a:latin typeface="Arial"/>
              <a:ea typeface="Arial"/>
              <a:cs typeface="Arial"/>
              <a:sym typeface="Arial"/>
            </a:endParaRPr>
          </a:p>
        </p:txBody>
      </p:sp>
      <p:grpSp>
        <p:nvGrpSpPr>
          <p:cNvPr id="3" name="Group 2">
            <a:extLst>
              <a:ext uri="{FF2B5EF4-FFF2-40B4-BE49-F238E27FC236}">
                <a16:creationId xmlns:a16="http://schemas.microsoft.com/office/drawing/2014/main" id="{95BA9F0C-0846-6C46-3DA8-BBDC37C9ED3D}"/>
              </a:ext>
            </a:extLst>
          </p:cNvPr>
          <p:cNvGrpSpPr/>
          <p:nvPr/>
        </p:nvGrpSpPr>
        <p:grpSpPr>
          <a:xfrm>
            <a:off x="11195685" y="146183"/>
            <a:ext cx="401030" cy="403092"/>
            <a:chOff x="11466366" y="135255"/>
            <a:chExt cx="466344" cy="468742"/>
          </a:xfrm>
        </p:grpSpPr>
        <p:sp>
          <p:nvSpPr>
            <p:cNvPr id="1447" name="Google Shape;1447;p9"/>
            <p:cNvSpPr/>
            <p:nvPr/>
          </p:nvSpPr>
          <p:spPr>
            <a:xfrm>
              <a:off x="11466366" y="135255"/>
              <a:ext cx="4663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1448" name="Google Shape;1448;p9"/>
            <p:cNvPicPr preferRelativeResize="0"/>
            <p:nvPr/>
          </p:nvPicPr>
          <p:blipFill rotWithShape="1">
            <a:blip r:embed="rId6">
              <a:alphaModFix/>
            </a:blip>
            <a:srcRect/>
            <a:stretch/>
          </p:blipFill>
          <p:spPr>
            <a:xfrm>
              <a:off x="11539184" y="234639"/>
              <a:ext cx="320708" cy="269974"/>
            </a:xfrm>
            <a:prstGeom prst="rect">
              <a:avLst/>
            </a:prstGeom>
            <a:noFill/>
            <a:ln>
              <a:noFill/>
            </a:ln>
          </p:spPr>
        </p:pic>
      </p:grpSp>
      <p:sp>
        <p:nvSpPr>
          <p:cNvPr id="27" name="Rectangle 26">
            <a:extLst>
              <a:ext uri="{FF2B5EF4-FFF2-40B4-BE49-F238E27FC236}">
                <a16:creationId xmlns:a16="http://schemas.microsoft.com/office/drawing/2014/main" id="{ECA17E7F-7741-16BD-2A63-4A8E829E3A41}"/>
              </a:ext>
            </a:extLst>
          </p:cNvPr>
          <p:cNvSpPr>
            <a:spLocks/>
          </p:cNvSpPr>
          <p:nvPr/>
        </p:nvSpPr>
        <p:spPr>
          <a:xfrm rot="5400000">
            <a:off x="9373501" y="3991046"/>
            <a:ext cx="1032294"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42" name="Google Shape;1442;p9"/>
          <p:cNvSpPr txBox="1">
            <a:spLocks/>
          </p:cNvSpPr>
          <p:nvPr/>
        </p:nvSpPr>
        <p:spPr>
          <a:xfrm>
            <a:off x="8244841" y="5380898"/>
            <a:ext cx="2673095" cy="723275"/>
          </a:xfrm>
          <a:prstGeom prst="rect">
            <a:avLst/>
          </a:prstGeom>
          <a:noFill/>
          <a:ln>
            <a:noFill/>
          </a:ln>
        </p:spPr>
        <p:txBody>
          <a:bodyPr spcFirstLastPara="1" wrap="square" lIns="0" tIns="0" rIns="0" bIns="0" anchor="t" anchorCtr="0">
            <a:spAutoFit/>
          </a:bodyPr>
          <a:lstStyle/>
          <a:p>
            <a:pPr marL="0" lvl="1">
              <a:spcAft>
                <a:spcPts val="300"/>
              </a:spcAft>
              <a:buClr>
                <a:schemeClr val="accent4"/>
              </a:buClr>
              <a:buSzPts val="1400"/>
            </a:pPr>
            <a:r>
              <a:rPr lang="en-US" sz="1400" b="1" i="0" u="none" strike="noStrike" cap="none" dirty="0">
                <a:solidFill>
                  <a:schemeClr val="tx2"/>
                </a:solidFill>
                <a:latin typeface="Calibri"/>
                <a:ea typeface="Calibri"/>
                <a:cs typeface="Calibri"/>
                <a:sym typeface="Calibri"/>
              </a:rPr>
              <a:t>Content development</a:t>
            </a:r>
            <a:endParaRPr lang="en-US" sz="1200" b="0" i="0" u="none" strike="noStrike" cap="none" dirty="0">
              <a:solidFill>
                <a:schemeClr val="tx2"/>
              </a:solidFill>
              <a:latin typeface="Calibri"/>
              <a:ea typeface="Calibri"/>
              <a:cs typeface="Calibri"/>
              <a:sym typeface="Calibri"/>
            </a:endParaRPr>
          </a:p>
          <a:p>
            <a:pPr marL="0" marR="0" lvl="1" indent="0" algn="l" rtl="0">
              <a:spcBef>
                <a:spcPts val="0"/>
              </a:spcBef>
              <a:spcAft>
                <a:spcPts val="300"/>
              </a:spcAft>
              <a:buClr>
                <a:schemeClr val="accent4"/>
              </a:buClr>
              <a:buSzPts val="1400"/>
              <a:buFont typeface="Noto Sans Symbols"/>
              <a:buNone/>
            </a:pPr>
            <a:r>
              <a:rPr lang="en-US" sz="1400" b="1" i="0" u="none" strike="noStrike" cap="none" dirty="0">
                <a:solidFill>
                  <a:srgbClr val="3D3D3D"/>
                </a:solidFill>
                <a:latin typeface="Calibri"/>
                <a:ea typeface="Calibri"/>
                <a:cs typeface="Calibri"/>
                <a:sym typeface="Calibri"/>
              </a:rPr>
              <a:t>Databases’ creation</a:t>
            </a:r>
            <a:r>
              <a:rPr lang="en-US" sz="1400" b="0" i="0" u="none" strike="noStrike" cap="none" dirty="0">
                <a:solidFill>
                  <a:srgbClr val="3D3D3D"/>
                </a:solidFill>
                <a:latin typeface="Calibri"/>
                <a:ea typeface="Calibri"/>
                <a:cs typeface="Calibri"/>
                <a:sym typeface="Calibri"/>
              </a:rPr>
              <a:t>, participating</a:t>
            </a:r>
            <a:br>
              <a:rPr lang="en-US" sz="1400" b="0" i="0" u="none" strike="noStrike" cap="none" dirty="0">
                <a:solidFill>
                  <a:srgbClr val="3D3D3D"/>
                </a:solidFill>
                <a:latin typeface="Calibri"/>
                <a:ea typeface="Calibri"/>
                <a:cs typeface="Calibri"/>
                <a:sym typeface="Calibri"/>
              </a:rPr>
            </a:br>
            <a:r>
              <a:rPr lang="en-US" sz="1400" b="0" i="0" u="none" strike="noStrike" cap="none" dirty="0">
                <a:solidFill>
                  <a:srgbClr val="3D3D3D"/>
                </a:solidFill>
                <a:latin typeface="Calibri"/>
                <a:ea typeface="Calibri"/>
                <a:cs typeface="Calibri"/>
                <a:sym typeface="Calibri"/>
              </a:rPr>
              <a:t>in </a:t>
            </a:r>
            <a:r>
              <a:rPr lang="en-US" sz="1400" b="1" i="0" u="none" strike="noStrike" cap="none" dirty="0">
                <a:solidFill>
                  <a:srgbClr val="3D3D3D"/>
                </a:solidFill>
                <a:latin typeface="Calibri"/>
                <a:ea typeface="Calibri"/>
                <a:cs typeface="Calibri"/>
                <a:sym typeface="Calibri"/>
              </a:rPr>
              <a:t>thought leadership</a:t>
            </a:r>
            <a:endParaRPr sz="1400" b="1" i="0" u="none" strike="noStrike" cap="none" dirty="0">
              <a:solidFill>
                <a:srgbClr val="000000"/>
              </a:solidFill>
              <a:latin typeface="Arial"/>
              <a:ea typeface="Arial"/>
              <a:cs typeface="Arial"/>
              <a:sym typeface="Arial"/>
            </a:endParaRPr>
          </a:p>
        </p:txBody>
      </p:sp>
      <p:sp>
        <p:nvSpPr>
          <p:cNvPr id="33" name="Freeform: Shape 32">
            <a:extLst>
              <a:ext uri="{FF2B5EF4-FFF2-40B4-BE49-F238E27FC236}">
                <a16:creationId xmlns:a16="http://schemas.microsoft.com/office/drawing/2014/main" id="{CC4B539F-044F-5CEA-F5BB-B710DB9962F0}"/>
              </a:ext>
            </a:extLst>
          </p:cNvPr>
          <p:cNvSpPr>
            <a:spLocks noChangeAspect="1"/>
          </p:cNvSpPr>
          <p:nvPr/>
        </p:nvSpPr>
        <p:spPr>
          <a:xfrm>
            <a:off x="10993501" y="5475867"/>
            <a:ext cx="533336" cy="533336"/>
          </a:xfrm>
          <a:custGeom>
            <a:avLst/>
            <a:gdLst>
              <a:gd name="connsiteX0" fmla="*/ 535781 w 922734"/>
              <a:gd name="connsiteY0" fmla="*/ 744141 h 922734"/>
              <a:gd name="connsiteX1" fmla="*/ 535781 w 922734"/>
              <a:gd name="connsiteY1" fmla="*/ 812393 h 922734"/>
              <a:gd name="connsiteX2" fmla="*/ 604034 w 922734"/>
              <a:gd name="connsiteY2" fmla="*/ 744141 h 922734"/>
              <a:gd name="connsiteX3" fmla="*/ 148829 w 922734"/>
              <a:gd name="connsiteY3" fmla="*/ 684610 h 922734"/>
              <a:gd name="connsiteX4" fmla="*/ 148829 w 922734"/>
              <a:gd name="connsiteY4" fmla="*/ 714375 h 922734"/>
              <a:gd name="connsiteX5" fmla="*/ 178594 w 922734"/>
              <a:gd name="connsiteY5" fmla="*/ 714375 h 922734"/>
              <a:gd name="connsiteX6" fmla="*/ 178594 w 922734"/>
              <a:gd name="connsiteY6" fmla="*/ 684610 h 922734"/>
              <a:gd name="connsiteX7" fmla="*/ 119063 w 922734"/>
              <a:gd name="connsiteY7" fmla="*/ 654844 h 922734"/>
              <a:gd name="connsiteX8" fmla="*/ 208360 w 922734"/>
              <a:gd name="connsiteY8" fmla="*/ 654844 h 922734"/>
              <a:gd name="connsiteX9" fmla="*/ 208360 w 922734"/>
              <a:gd name="connsiteY9" fmla="*/ 744141 h 922734"/>
              <a:gd name="connsiteX10" fmla="*/ 119063 w 922734"/>
              <a:gd name="connsiteY10" fmla="*/ 744141 h 922734"/>
              <a:gd name="connsiteX11" fmla="*/ 304160 w 922734"/>
              <a:gd name="connsiteY11" fmla="*/ 652626 h 922734"/>
              <a:gd name="connsiteX12" fmla="*/ 268426 w 922734"/>
              <a:gd name="connsiteY12" fmla="*/ 759782 h 922734"/>
              <a:gd name="connsiteX13" fmla="*/ 267891 w 922734"/>
              <a:gd name="connsiteY13" fmla="*/ 763176 h 922734"/>
              <a:gd name="connsiteX14" fmla="*/ 282044 w 922734"/>
              <a:gd name="connsiteY14" fmla="*/ 773341 h 922734"/>
              <a:gd name="connsiteX15" fmla="*/ 389171 w 922734"/>
              <a:gd name="connsiteY15" fmla="*/ 737637 h 922734"/>
              <a:gd name="connsiteX16" fmla="*/ 148829 w 922734"/>
              <a:gd name="connsiteY16" fmla="*/ 565548 h 922734"/>
              <a:gd name="connsiteX17" fmla="*/ 148829 w 922734"/>
              <a:gd name="connsiteY17" fmla="*/ 595313 h 922734"/>
              <a:gd name="connsiteX18" fmla="*/ 178594 w 922734"/>
              <a:gd name="connsiteY18" fmla="*/ 595313 h 922734"/>
              <a:gd name="connsiteX19" fmla="*/ 178594 w 922734"/>
              <a:gd name="connsiteY19" fmla="*/ 565548 h 922734"/>
              <a:gd name="connsiteX20" fmla="*/ 119063 w 922734"/>
              <a:gd name="connsiteY20" fmla="*/ 535782 h 922734"/>
              <a:gd name="connsiteX21" fmla="*/ 208360 w 922734"/>
              <a:gd name="connsiteY21" fmla="*/ 535782 h 922734"/>
              <a:gd name="connsiteX22" fmla="*/ 208360 w 922734"/>
              <a:gd name="connsiteY22" fmla="*/ 625079 h 922734"/>
              <a:gd name="connsiteX23" fmla="*/ 119063 w 922734"/>
              <a:gd name="connsiteY23" fmla="*/ 625079 h 922734"/>
              <a:gd name="connsiteX24" fmla="*/ 238125 w 922734"/>
              <a:gd name="connsiteY24" fmla="*/ 476250 h 922734"/>
              <a:gd name="connsiteX25" fmla="*/ 386953 w 922734"/>
              <a:gd name="connsiteY25" fmla="*/ 476250 h 922734"/>
              <a:gd name="connsiteX26" fmla="*/ 386953 w 922734"/>
              <a:gd name="connsiteY26" fmla="*/ 506016 h 922734"/>
              <a:gd name="connsiteX27" fmla="*/ 238125 w 922734"/>
              <a:gd name="connsiteY27" fmla="*/ 506016 h 922734"/>
              <a:gd name="connsiteX28" fmla="*/ 148829 w 922734"/>
              <a:gd name="connsiteY28" fmla="*/ 446485 h 922734"/>
              <a:gd name="connsiteX29" fmla="*/ 148829 w 922734"/>
              <a:gd name="connsiteY29" fmla="*/ 476250 h 922734"/>
              <a:gd name="connsiteX30" fmla="*/ 178594 w 922734"/>
              <a:gd name="connsiteY30" fmla="*/ 476250 h 922734"/>
              <a:gd name="connsiteX31" fmla="*/ 178594 w 922734"/>
              <a:gd name="connsiteY31" fmla="*/ 446485 h 922734"/>
              <a:gd name="connsiteX32" fmla="*/ 238125 w 922734"/>
              <a:gd name="connsiteY32" fmla="*/ 416719 h 922734"/>
              <a:gd name="connsiteX33" fmla="*/ 386953 w 922734"/>
              <a:gd name="connsiteY33" fmla="*/ 416719 h 922734"/>
              <a:gd name="connsiteX34" fmla="*/ 386953 w 922734"/>
              <a:gd name="connsiteY34" fmla="*/ 446485 h 922734"/>
              <a:gd name="connsiteX35" fmla="*/ 238125 w 922734"/>
              <a:gd name="connsiteY35" fmla="*/ 446485 h 922734"/>
              <a:gd name="connsiteX36" fmla="*/ 119063 w 922734"/>
              <a:gd name="connsiteY36" fmla="*/ 416719 h 922734"/>
              <a:gd name="connsiteX37" fmla="*/ 208360 w 922734"/>
              <a:gd name="connsiteY37" fmla="*/ 416719 h 922734"/>
              <a:gd name="connsiteX38" fmla="*/ 208360 w 922734"/>
              <a:gd name="connsiteY38" fmla="*/ 506016 h 922734"/>
              <a:gd name="connsiteX39" fmla="*/ 119063 w 922734"/>
              <a:gd name="connsiteY39" fmla="*/ 506016 h 922734"/>
              <a:gd name="connsiteX40" fmla="*/ 679772 w 922734"/>
              <a:gd name="connsiteY40" fmla="*/ 383054 h 922734"/>
              <a:gd name="connsiteX41" fmla="*/ 378232 w 922734"/>
              <a:gd name="connsiteY41" fmla="*/ 684609 h 922734"/>
              <a:gd name="connsiteX42" fmla="*/ 416719 w 922734"/>
              <a:gd name="connsiteY42" fmla="*/ 723096 h 922734"/>
              <a:gd name="connsiteX43" fmla="*/ 729764 w 922734"/>
              <a:gd name="connsiteY43" fmla="*/ 410036 h 922734"/>
              <a:gd name="connsiteX44" fmla="*/ 679772 w 922734"/>
              <a:gd name="connsiteY44" fmla="*/ 383054 h 922734"/>
              <a:gd name="connsiteX45" fmla="*/ 238125 w 922734"/>
              <a:gd name="connsiteY45" fmla="*/ 357188 h 922734"/>
              <a:gd name="connsiteX46" fmla="*/ 416719 w 922734"/>
              <a:gd name="connsiteY46" fmla="*/ 357188 h 922734"/>
              <a:gd name="connsiteX47" fmla="*/ 416719 w 922734"/>
              <a:gd name="connsiteY47" fmla="*/ 386954 h 922734"/>
              <a:gd name="connsiteX48" fmla="*/ 238125 w 922734"/>
              <a:gd name="connsiteY48" fmla="*/ 386954 h 922734"/>
              <a:gd name="connsiteX49" fmla="*/ 148829 w 922734"/>
              <a:gd name="connsiteY49" fmla="*/ 327423 h 922734"/>
              <a:gd name="connsiteX50" fmla="*/ 148829 w 922734"/>
              <a:gd name="connsiteY50" fmla="*/ 357188 h 922734"/>
              <a:gd name="connsiteX51" fmla="*/ 178594 w 922734"/>
              <a:gd name="connsiteY51" fmla="*/ 357188 h 922734"/>
              <a:gd name="connsiteX52" fmla="*/ 178594 w 922734"/>
              <a:gd name="connsiteY52" fmla="*/ 327423 h 922734"/>
              <a:gd name="connsiteX53" fmla="*/ 631761 w 922734"/>
              <a:gd name="connsiteY53" fmla="*/ 312018 h 922734"/>
              <a:gd name="connsiteX54" fmla="*/ 318701 w 922734"/>
              <a:gd name="connsiteY54" fmla="*/ 625078 h 922734"/>
              <a:gd name="connsiteX55" fmla="*/ 357188 w 922734"/>
              <a:gd name="connsiteY55" fmla="*/ 663565 h 922734"/>
              <a:gd name="connsiteX56" fmla="*/ 658743 w 922734"/>
              <a:gd name="connsiteY56" fmla="*/ 362010 h 922734"/>
              <a:gd name="connsiteX57" fmla="*/ 631761 w 922734"/>
              <a:gd name="connsiteY57" fmla="*/ 312018 h 922734"/>
              <a:gd name="connsiteX58" fmla="*/ 238125 w 922734"/>
              <a:gd name="connsiteY58" fmla="*/ 297657 h 922734"/>
              <a:gd name="connsiteX59" fmla="*/ 416719 w 922734"/>
              <a:gd name="connsiteY59" fmla="*/ 297657 h 922734"/>
              <a:gd name="connsiteX60" fmla="*/ 416719 w 922734"/>
              <a:gd name="connsiteY60" fmla="*/ 327423 h 922734"/>
              <a:gd name="connsiteX61" fmla="*/ 238125 w 922734"/>
              <a:gd name="connsiteY61" fmla="*/ 327423 h 922734"/>
              <a:gd name="connsiteX62" fmla="*/ 119063 w 922734"/>
              <a:gd name="connsiteY62" fmla="*/ 297657 h 922734"/>
              <a:gd name="connsiteX63" fmla="*/ 208360 w 922734"/>
              <a:gd name="connsiteY63" fmla="*/ 297657 h 922734"/>
              <a:gd name="connsiteX64" fmla="*/ 208360 w 922734"/>
              <a:gd name="connsiteY64" fmla="*/ 386954 h 922734"/>
              <a:gd name="connsiteX65" fmla="*/ 119063 w 922734"/>
              <a:gd name="connsiteY65" fmla="*/ 386954 h 922734"/>
              <a:gd name="connsiteX66" fmla="*/ 238125 w 922734"/>
              <a:gd name="connsiteY66" fmla="*/ 238125 h 922734"/>
              <a:gd name="connsiteX67" fmla="*/ 595313 w 922734"/>
              <a:gd name="connsiteY67" fmla="*/ 238125 h 922734"/>
              <a:gd name="connsiteX68" fmla="*/ 595313 w 922734"/>
              <a:gd name="connsiteY68" fmla="*/ 267891 h 922734"/>
              <a:gd name="connsiteX69" fmla="*/ 238125 w 922734"/>
              <a:gd name="connsiteY69" fmla="*/ 267891 h 922734"/>
              <a:gd name="connsiteX70" fmla="*/ 837798 w 922734"/>
              <a:gd name="connsiteY70" fmla="*/ 212720 h 922734"/>
              <a:gd name="connsiteX71" fmla="*/ 858843 w 922734"/>
              <a:gd name="connsiteY71" fmla="*/ 233764 h 922734"/>
              <a:gd name="connsiteX72" fmla="*/ 744141 w 922734"/>
              <a:gd name="connsiteY72" fmla="*/ 348466 h 922734"/>
              <a:gd name="connsiteX73" fmla="*/ 703853 w 922734"/>
              <a:gd name="connsiteY73" fmla="*/ 308178 h 922734"/>
              <a:gd name="connsiteX74" fmla="*/ 724897 w 922734"/>
              <a:gd name="connsiteY74" fmla="*/ 287134 h 922734"/>
              <a:gd name="connsiteX75" fmla="*/ 744141 w 922734"/>
              <a:gd name="connsiteY75" fmla="*/ 306378 h 922734"/>
              <a:gd name="connsiteX76" fmla="*/ 148829 w 922734"/>
              <a:gd name="connsiteY76" fmla="*/ 208360 h 922734"/>
              <a:gd name="connsiteX77" fmla="*/ 148829 w 922734"/>
              <a:gd name="connsiteY77" fmla="*/ 238125 h 922734"/>
              <a:gd name="connsiteX78" fmla="*/ 178594 w 922734"/>
              <a:gd name="connsiteY78" fmla="*/ 238125 h 922734"/>
              <a:gd name="connsiteX79" fmla="*/ 178594 w 922734"/>
              <a:gd name="connsiteY79" fmla="*/ 208360 h 922734"/>
              <a:gd name="connsiteX80" fmla="*/ 238125 w 922734"/>
              <a:gd name="connsiteY80" fmla="*/ 178594 h 922734"/>
              <a:gd name="connsiteX81" fmla="*/ 595313 w 922734"/>
              <a:gd name="connsiteY81" fmla="*/ 178594 h 922734"/>
              <a:gd name="connsiteX82" fmla="*/ 595313 w 922734"/>
              <a:gd name="connsiteY82" fmla="*/ 208360 h 922734"/>
              <a:gd name="connsiteX83" fmla="*/ 238125 w 922734"/>
              <a:gd name="connsiteY83" fmla="*/ 208360 h 922734"/>
              <a:gd name="connsiteX84" fmla="*/ 119063 w 922734"/>
              <a:gd name="connsiteY84" fmla="*/ 178594 h 922734"/>
              <a:gd name="connsiteX85" fmla="*/ 208360 w 922734"/>
              <a:gd name="connsiteY85" fmla="*/ 178594 h 922734"/>
              <a:gd name="connsiteX86" fmla="*/ 208360 w 922734"/>
              <a:gd name="connsiteY86" fmla="*/ 267891 h 922734"/>
              <a:gd name="connsiteX87" fmla="*/ 119063 w 922734"/>
              <a:gd name="connsiteY87" fmla="*/ 267891 h 922734"/>
              <a:gd name="connsiteX88" fmla="*/ 773906 w 922734"/>
              <a:gd name="connsiteY88" fmla="*/ 148828 h 922734"/>
              <a:gd name="connsiteX89" fmla="*/ 654844 w 922734"/>
              <a:gd name="connsiteY89" fmla="*/ 267891 h 922734"/>
              <a:gd name="connsiteX90" fmla="*/ 773906 w 922734"/>
              <a:gd name="connsiteY90" fmla="*/ 386953 h 922734"/>
              <a:gd name="connsiteX91" fmla="*/ 892969 w 922734"/>
              <a:gd name="connsiteY91" fmla="*/ 267891 h 922734"/>
              <a:gd name="connsiteX92" fmla="*/ 773906 w 922734"/>
              <a:gd name="connsiteY92" fmla="*/ 148828 h 922734"/>
              <a:gd name="connsiteX93" fmla="*/ 89297 w 922734"/>
              <a:gd name="connsiteY93" fmla="*/ 119063 h 922734"/>
              <a:gd name="connsiteX94" fmla="*/ 89297 w 922734"/>
              <a:gd name="connsiteY94" fmla="*/ 833438 h 922734"/>
              <a:gd name="connsiteX95" fmla="*/ 506016 w 922734"/>
              <a:gd name="connsiteY95" fmla="*/ 833438 h 922734"/>
              <a:gd name="connsiteX96" fmla="*/ 506016 w 922734"/>
              <a:gd name="connsiteY96" fmla="*/ 714375 h 922734"/>
              <a:gd name="connsiteX97" fmla="*/ 625078 w 922734"/>
              <a:gd name="connsiteY97" fmla="*/ 714375 h 922734"/>
              <a:gd name="connsiteX98" fmla="*/ 625078 w 922734"/>
              <a:gd name="connsiteY98" fmla="*/ 556826 h 922734"/>
              <a:gd name="connsiteX99" fmla="*/ 424755 w 922734"/>
              <a:gd name="connsiteY99" fmla="*/ 757148 h 922734"/>
              <a:gd name="connsiteX100" fmla="*/ 291420 w 922734"/>
              <a:gd name="connsiteY100" fmla="*/ 801588 h 922734"/>
              <a:gd name="connsiteX101" fmla="*/ 278621 w 922734"/>
              <a:gd name="connsiteY101" fmla="*/ 803672 h 922734"/>
              <a:gd name="connsiteX102" fmla="*/ 238125 w 922734"/>
              <a:gd name="connsiteY102" fmla="*/ 763176 h 922734"/>
              <a:gd name="connsiteX103" fmla="*/ 240179 w 922734"/>
              <a:gd name="connsiteY103" fmla="*/ 750421 h 922734"/>
              <a:gd name="connsiteX104" fmla="*/ 284649 w 922734"/>
              <a:gd name="connsiteY104" fmla="*/ 617041 h 922734"/>
              <a:gd name="connsiteX105" fmla="*/ 625495 w 922734"/>
              <a:gd name="connsiteY105" fmla="*/ 276195 h 922734"/>
              <a:gd name="connsiteX106" fmla="*/ 625078 w 922734"/>
              <a:gd name="connsiteY106" fmla="*/ 267891 h 922734"/>
              <a:gd name="connsiteX107" fmla="*/ 625793 w 922734"/>
              <a:gd name="connsiteY107" fmla="*/ 253678 h 922734"/>
              <a:gd name="connsiteX108" fmla="*/ 625078 w 922734"/>
              <a:gd name="connsiteY108" fmla="*/ 253678 h 922734"/>
              <a:gd name="connsiteX109" fmla="*/ 625078 w 922734"/>
              <a:gd name="connsiteY109" fmla="*/ 119063 h 922734"/>
              <a:gd name="connsiteX110" fmla="*/ 535781 w 922734"/>
              <a:gd name="connsiteY110" fmla="*/ 119063 h 922734"/>
              <a:gd name="connsiteX111" fmla="*/ 506016 w 922734"/>
              <a:gd name="connsiteY111" fmla="*/ 148828 h 922734"/>
              <a:gd name="connsiteX112" fmla="*/ 446484 w 922734"/>
              <a:gd name="connsiteY112" fmla="*/ 148828 h 922734"/>
              <a:gd name="connsiteX113" fmla="*/ 416719 w 922734"/>
              <a:gd name="connsiteY113" fmla="*/ 119063 h 922734"/>
              <a:gd name="connsiteX114" fmla="*/ 297656 w 922734"/>
              <a:gd name="connsiteY114" fmla="*/ 119063 h 922734"/>
              <a:gd name="connsiteX115" fmla="*/ 267891 w 922734"/>
              <a:gd name="connsiteY115" fmla="*/ 148828 h 922734"/>
              <a:gd name="connsiteX116" fmla="*/ 208359 w 922734"/>
              <a:gd name="connsiteY116" fmla="*/ 148828 h 922734"/>
              <a:gd name="connsiteX117" fmla="*/ 178594 w 922734"/>
              <a:gd name="connsiteY117" fmla="*/ 119063 h 922734"/>
              <a:gd name="connsiteX118" fmla="*/ 535781 w 922734"/>
              <a:gd name="connsiteY118" fmla="*/ 59531 h 922734"/>
              <a:gd name="connsiteX119" fmla="*/ 535781 w 922734"/>
              <a:gd name="connsiteY119" fmla="*/ 89297 h 922734"/>
              <a:gd name="connsiteX120" fmla="*/ 625078 w 922734"/>
              <a:gd name="connsiteY120" fmla="*/ 89297 h 922734"/>
              <a:gd name="connsiteX121" fmla="*/ 654844 w 922734"/>
              <a:gd name="connsiteY121" fmla="*/ 119063 h 922734"/>
              <a:gd name="connsiteX122" fmla="*/ 654844 w 922734"/>
              <a:gd name="connsiteY122" fmla="*/ 178966 h 922734"/>
              <a:gd name="connsiteX123" fmla="*/ 684609 w 922734"/>
              <a:gd name="connsiteY123" fmla="*/ 149111 h 922734"/>
              <a:gd name="connsiteX124" fmla="*/ 684609 w 922734"/>
              <a:gd name="connsiteY124" fmla="*/ 104180 h 922734"/>
              <a:gd name="connsiteX125" fmla="*/ 639961 w 922734"/>
              <a:gd name="connsiteY125" fmla="*/ 59531 h 922734"/>
              <a:gd name="connsiteX126" fmla="*/ 297656 w 922734"/>
              <a:gd name="connsiteY126" fmla="*/ 59531 h 922734"/>
              <a:gd name="connsiteX127" fmla="*/ 297656 w 922734"/>
              <a:gd name="connsiteY127" fmla="*/ 89297 h 922734"/>
              <a:gd name="connsiteX128" fmla="*/ 416719 w 922734"/>
              <a:gd name="connsiteY128" fmla="*/ 89297 h 922734"/>
              <a:gd name="connsiteX129" fmla="*/ 416719 w 922734"/>
              <a:gd name="connsiteY129" fmla="*/ 59531 h 922734"/>
              <a:gd name="connsiteX130" fmla="*/ 74414 w 922734"/>
              <a:gd name="connsiteY130" fmla="*/ 59531 h 922734"/>
              <a:gd name="connsiteX131" fmla="*/ 29766 w 922734"/>
              <a:gd name="connsiteY131" fmla="*/ 104180 h 922734"/>
              <a:gd name="connsiteX132" fmla="*/ 29766 w 922734"/>
              <a:gd name="connsiteY132" fmla="*/ 848320 h 922734"/>
              <a:gd name="connsiteX133" fmla="*/ 74414 w 922734"/>
              <a:gd name="connsiteY133" fmla="*/ 892969 h 922734"/>
              <a:gd name="connsiteX134" fmla="*/ 639961 w 922734"/>
              <a:gd name="connsiteY134" fmla="*/ 892969 h 922734"/>
              <a:gd name="connsiteX135" fmla="*/ 684609 w 922734"/>
              <a:gd name="connsiteY135" fmla="*/ 848320 h 922734"/>
              <a:gd name="connsiteX136" fmla="*/ 684609 w 922734"/>
              <a:gd name="connsiteY136" fmla="*/ 497294 h 922734"/>
              <a:gd name="connsiteX137" fmla="*/ 654844 w 922734"/>
              <a:gd name="connsiteY137" fmla="*/ 527060 h 922734"/>
              <a:gd name="connsiteX138" fmla="*/ 654844 w 922734"/>
              <a:gd name="connsiteY138" fmla="*/ 735419 h 922734"/>
              <a:gd name="connsiteX139" fmla="*/ 527060 w 922734"/>
              <a:gd name="connsiteY139" fmla="*/ 863203 h 922734"/>
              <a:gd name="connsiteX140" fmla="*/ 89297 w 922734"/>
              <a:gd name="connsiteY140" fmla="*/ 863203 h 922734"/>
              <a:gd name="connsiteX141" fmla="*/ 59531 w 922734"/>
              <a:gd name="connsiteY141" fmla="*/ 833438 h 922734"/>
              <a:gd name="connsiteX142" fmla="*/ 59531 w 922734"/>
              <a:gd name="connsiteY142" fmla="*/ 119063 h 922734"/>
              <a:gd name="connsiteX143" fmla="*/ 89297 w 922734"/>
              <a:gd name="connsiteY143" fmla="*/ 89297 h 922734"/>
              <a:gd name="connsiteX144" fmla="*/ 178594 w 922734"/>
              <a:gd name="connsiteY144" fmla="*/ 89297 h 922734"/>
              <a:gd name="connsiteX145" fmla="*/ 178594 w 922734"/>
              <a:gd name="connsiteY145" fmla="*/ 59531 h 922734"/>
              <a:gd name="connsiteX146" fmla="*/ 446484 w 922734"/>
              <a:gd name="connsiteY146" fmla="*/ 29766 h 922734"/>
              <a:gd name="connsiteX147" fmla="*/ 446484 w 922734"/>
              <a:gd name="connsiteY147" fmla="*/ 119063 h 922734"/>
              <a:gd name="connsiteX148" fmla="*/ 506031 w 922734"/>
              <a:gd name="connsiteY148" fmla="*/ 119063 h 922734"/>
              <a:gd name="connsiteX149" fmla="*/ 506016 w 922734"/>
              <a:gd name="connsiteY149" fmla="*/ 29766 h 922734"/>
              <a:gd name="connsiteX150" fmla="*/ 208359 w 922734"/>
              <a:gd name="connsiteY150" fmla="*/ 29766 h 922734"/>
              <a:gd name="connsiteX151" fmla="*/ 208359 w 922734"/>
              <a:gd name="connsiteY151" fmla="*/ 119063 h 922734"/>
              <a:gd name="connsiteX152" fmla="*/ 267906 w 922734"/>
              <a:gd name="connsiteY152" fmla="*/ 119063 h 922734"/>
              <a:gd name="connsiteX153" fmla="*/ 267891 w 922734"/>
              <a:gd name="connsiteY153" fmla="*/ 29766 h 922734"/>
              <a:gd name="connsiteX154" fmla="*/ 208359 w 922734"/>
              <a:gd name="connsiteY154" fmla="*/ 0 h 922734"/>
              <a:gd name="connsiteX155" fmla="*/ 267891 w 922734"/>
              <a:gd name="connsiteY155" fmla="*/ 0 h 922734"/>
              <a:gd name="connsiteX156" fmla="*/ 297656 w 922734"/>
              <a:gd name="connsiteY156" fmla="*/ 29766 h 922734"/>
              <a:gd name="connsiteX157" fmla="*/ 416719 w 922734"/>
              <a:gd name="connsiteY157" fmla="*/ 29766 h 922734"/>
              <a:gd name="connsiteX158" fmla="*/ 446484 w 922734"/>
              <a:gd name="connsiteY158" fmla="*/ 0 h 922734"/>
              <a:gd name="connsiteX159" fmla="*/ 506016 w 922734"/>
              <a:gd name="connsiteY159" fmla="*/ 0 h 922734"/>
              <a:gd name="connsiteX160" fmla="*/ 535781 w 922734"/>
              <a:gd name="connsiteY160" fmla="*/ 29766 h 922734"/>
              <a:gd name="connsiteX161" fmla="*/ 639961 w 922734"/>
              <a:gd name="connsiteY161" fmla="*/ 29766 h 922734"/>
              <a:gd name="connsiteX162" fmla="*/ 714375 w 922734"/>
              <a:gd name="connsiteY162" fmla="*/ 104180 h 922734"/>
              <a:gd name="connsiteX163" fmla="*/ 714375 w 922734"/>
              <a:gd name="connsiteY163" fmla="*/ 131579 h 922734"/>
              <a:gd name="connsiteX164" fmla="*/ 773906 w 922734"/>
              <a:gd name="connsiteY164" fmla="*/ 119063 h 922734"/>
              <a:gd name="connsiteX165" fmla="*/ 922734 w 922734"/>
              <a:gd name="connsiteY165" fmla="*/ 267891 h 922734"/>
              <a:gd name="connsiteX166" fmla="*/ 773906 w 922734"/>
              <a:gd name="connsiteY166" fmla="*/ 416719 h 922734"/>
              <a:gd name="connsiteX167" fmla="*/ 765602 w 922734"/>
              <a:gd name="connsiteY167" fmla="*/ 416302 h 922734"/>
              <a:gd name="connsiteX168" fmla="*/ 714375 w 922734"/>
              <a:gd name="connsiteY168" fmla="*/ 467529 h 922734"/>
              <a:gd name="connsiteX169" fmla="*/ 714375 w 922734"/>
              <a:gd name="connsiteY169" fmla="*/ 848320 h 922734"/>
              <a:gd name="connsiteX170" fmla="*/ 639961 w 922734"/>
              <a:gd name="connsiteY170" fmla="*/ 922734 h 922734"/>
              <a:gd name="connsiteX171" fmla="*/ 74414 w 922734"/>
              <a:gd name="connsiteY171" fmla="*/ 922734 h 922734"/>
              <a:gd name="connsiteX172" fmla="*/ 0 w 922734"/>
              <a:gd name="connsiteY172" fmla="*/ 848320 h 922734"/>
              <a:gd name="connsiteX173" fmla="*/ 0 w 922734"/>
              <a:gd name="connsiteY173" fmla="*/ 104180 h 922734"/>
              <a:gd name="connsiteX174" fmla="*/ 74414 w 922734"/>
              <a:gd name="connsiteY174" fmla="*/ 29766 h 922734"/>
              <a:gd name="connsiteX175" fmla="*/ 178594 w 922734"/>
              <a:gd name="connsiteY175" fmla="*/ 29766 h 922734"/>
              <a:gd name="connsiteX176" fmla="*/ 208359 w 922734"/>
              <a:gd name="connsiteY176" fmla="*/ 0 h 92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922734" h="922734">
                <a:moveTo>
                  <a:pt x="535781" y="744141"/>
                </a:moveTo>
                <a:lnTo>
                  <a:pt x="535781" y="812393"/>
                </a:lnTo>
                <a:lnTo>
                  <a:pt x="604034" y="744141"/>
                </a:lnTo>
                <a:close/>
                <a:moveTo>
                  <a:pt x="148829" y="684610"/>
                </a:moveTo>
                <a:lnTo>
                  <a:pt x="148829" y="714375"/>
                </a:lnTo>
                <a:lnTo>
                  <a:pt x="178594" y="714375"/>
                </a:lnTo>
                <a:lnTo>
                  <a:pt x="178594" y="684610"/>
                </a:lnTo>
                <a:close/>
                <a:moveTo>
                  <a:pt x="119063" y="654844"/>
                </a:moveTo>
                <a:lnTo>
                  <a:pt x="208360" y="654844"/>
                </a:lnTo>
                <a:lnTo>
                  <a:pt x="208360" y="744141"/>
                </a:lnTo>
                <a:lnTo>
                  <a:pt x="119063" y="744141"/>
                </a:lnTo>
                <a:close/>
                <a:moveTo>
                  <a:pt x="304160" y="652626"/>
                </a:moveTo>
                <a:lnTo>
                  <a:pt x="268426" y="759782"/>
                </a:lnTo>
                <a:cubicBezTo>
                  <a:pt x="268084" y="760854"/>
                  <a:pt x="267891" y="762045"/>
                  <a:pt x="267891" y="763176"/>
                </a:cubicBezTo>
                <a:cubicBezTo>
                  <a:pt x="267876" y="770215"/>
                  <a:pt x="275139" y="775677"/>
                  <a:pt x="282044" y="773341"/>
                </a:cubicBezTo>
                <a:lnTo>
                  <a:pt x="389171" y="737637"/>
                </a:lnTo>
                <a:close/>
                <a:moveTo>
                  <a:pt x="148829" y="565548"/>
                </a:moveTo>
                <a:lnTo>
                  <a:pt x="148829" y="595313"/>
                </a:lnTo>
                <a:lnTo>
                  <a:pt x="178594" y="595313"/>
                </a:lnTo>
                <a:lnTo>
                  <a:pt x="178594" y="565548"/>
                </a:lnTo>
                <a:close/>
                <a:moveTo>
                  <a:pt x="119063" y="535782"/>
                </a:moveTo>
                <a:lnTo>
                  <a:pt x="208360" y="535782"/>
                </a:lnTo>
                <a:lnTo>
                  <a:pt x="208360" y="625079"/>
                </a:lnTo>
                <a:lnTo>
                  <a:pt x="119063" y="625079"/>
                </a:lnTo>
                <a:close/>
                <a:moveTo>
                  <a:pt x="238125" y="476250"/>
                </a:moveTo>
                <a:lnTo>
                  <a:pt x="386953" y="476250"/>
                </a:lnTo>
                <a:lnTo>
                  <a:pt x="386953" y="506016"/>
                </a:lnTo>
                <a:lnTo>
                  <a:pt x="238125" y="506016"/>
                </a:lnTo>
                <a:close/>
                <a:moveTo>
                  <a:pt x="148829" y="446485"/>
                </a:moveTo>
                <a:lnTo>
                  <a:pt x="148829" y="476250"/>
                </a:lnTo>
                <a:lnTo>
                  <a:pt x="178594" y="476250"/>
                </a:lnTo>
                <a:lnTo>
                  <a:pt x="178594" y="446485"/>
                </a:lnTo>
                <a:close/>
                <a:moveTo>
                  <a:pt x="238125" y="416719"/>
                </a:moveTo>
                <a:lnTo>
                  <a:pt x="386953" y="416719"/>
                </a:lnTo>
                <a:lnTo>
                  <a:pt x="386953" y="446485"/>
                </a:lnTo>
                <a:lnTo>
                  <a:pt x="238125" y="446485"/>
                </a:lnTo>
                <a:close/>
                <a:moveTo>
                  <a:pt x="119063" y="416719"/>
                </a:moveTo>
                <a:lnTo>
                  <a:pt x="208360" y="416719"/>
                </a:lnTo>
                <a:lnTo>
                  <a:pt x="208360" y="506016"/>
                </a:lnTo>
                <a:lnTo>
                  <a:pt x="119063" y="506016"/>
                </a:lnTo>
                <a:close/>
                <a:moveTo>
                  <a:pt x="679772" y="383054"/>
                </a:moveTo>
                <a:lnTo>
                  <a:pt x="378232" y="684609"/>
                </a:lnTo>
                <a:lnTo>
                  <a:pt x="416719" y="723096"/>
                </a:lnTo>
                <a:lnTo>
                  <a:pt x="729764" y="410036"/>
                </a:lnTo>
                <a:cubicBezTo>
                  <a:pt x="711309" y="404292"/>
                  <a:pt x="694387" y="395020"/>
                  <a:pt x="679772" y="383054"/>
                </a:cubicBezTo>
                <a:close/>
                <a:moveTo>
                  <a:pt x="238125" y="357188"/>
                </a:moveTo>
                <a:lnTo>
                  <a:pt x="416719" y="357188"/>
                </a:lnTo>
                <a:lnTo>
                  <a:pt x="416719" y="386954"/>
                </a:lnTo>
                <a:lnTo>
                  <a:pt x="238125" y="386954"/>
                </a:lnTo>
                <a:close/>
                <a:moveTo>
                  <a:pt x="148829" y="327423"/>
                </a:moveTo>
                <a:lnTo>
                  <a:pt x="148829" y="357188"/>
                </a:lnTo>
                <a:lnTo>
                  <a:pt x="178594" y="357188"/>
                </a:lnTo>
                <a:lnTo>
                  <a:pt x="178594" y="327423"/>
                </a:lnTo>
                <a:close/>
                <a:moveTo>
                  <a:pt x="631761" y="312018"/>
                </a:moveTo>
                <a:lnTo>
                  <a:pt x="318701" y="625078"/>
                </a:lnTo>
                <a:lnTo>
                  <a:pt x="357188" y="663565"/>
                </a:lnTo>
                <a:lnTo>
                  <a:pt x="658743" y="362010"/>
                </a:lnTo>
                <a:cubicBezTo>
                  <a:pt x="646762" y="347395"/>
                  <a:pt x="637505" y="330473"/>
                  <a:pt x="631761" y="312018"/>
                </a:cubicBezTo>
                <a:close/>
                <a:moveTo>
                  <a:pt x="238125" y="297657"/>
                </a:moveTo>
                <a:lnTo>
                  <a:pt x="416719" y="297657"/>
                </a:lnTo>
                <a:lnTo>
                  <a:pt x="416719" y="327423"/>
                </a:lnTo>
                <a:lnTo>
                  <a:pt x="238125" y="327423"/>
                </a:lnTo>
                <a:close/>
                <a:moveTo>
                  <a:pt x="119063" y="297657"/>
                </a:moveTo>
                <a:lnTo>
                  <a:pt x="208360" y="297657"/>
                </a:lnTo>
                <a:lnTo>
                  <a:pt x="208360" y="386954"/>
                </a:lnTo>
                <a:lnTo>
                  <a:pt x="119063" y="386954"/>
                </a:lnTo>
                <a:close/>
                <a:moveTo>
                  <a:pt x="238125" y="238125"/>
                </a:moveTo>
                <a:lnTo>
                  <a:pt x="595313" y="238125"/>
                </a:lnTo>
                <a:lnTo>
                  <a:pt x="595313" y="267891"/>
                </a:lnTo>
                <a:lnTo>
                  <a:pt x="238125" y="267891"/>
                </a:lnTo>
                <a:close/>
                <a:moveTo>
                  <a:pt x="837798" y="212720"/>
                </a:moveTo>
                <a:lnTo>
                  <a:pt x="858843" y="233764"/>
                </a:lnTo>
                <a:lnTo>
                  <a:pt x="744141" y="348466"/>
                </a:lnTo>
                <a:lnTo>
                  <a:pt x="703853" y="308178"/>
                </a:lnTo>
                <a:lnTo>
                  <a:pt x="724897" y="287134"/>
                </a:lnTo>
                <a:lnTo>
                  <a:pt x="744141" y="306378"/>
                </a:lnTo>
                <a:close/>
                <a:moveTo>
                  <a:pt x="148829" y="208360"/>
                </a:moveTo>
                <a:lnTo>
                  <a:pt x="148829" y="238125"/>
                </a:lnTo>
                <a:lnTo>
                  <a:pt x="178594" y="238125"/>
                </a:lnTo>
                <a:lnTo>
                  <a:pt x="178594" y="208360"/>
                </a:lnTo>
                <a:close/>
                <a:moveTo>
                  <a:pt x="238125" y="178594"/>
                </a:moveTo>
                <a:lnTo>
                  <a:pt x="595313" y="178594"/>
                </a:lnTo>
                <a:lnTo>
                  <a:pt x="595313" y="208360"/>
                </a:lnTo>
                <a:lnTo>
                  <a:pt x="238125" y="208360"/>
                </a:lnTo>
                <a:close/>
                <a:moveTo>
                  <a:pt x="119063" y="178594"/>
                </a:moveTo>
                <a:lnTo>
                  <a:pt x="208360" y="178594"/>
                </a:lnTo>
                <a:lnTo>
                  <a:pt x="208360" y="267891"/>
                </a:lnTo>
                <a:lnTo>
                  <a:pt x="119063" y="267891"/>
                </a:lnTo>
                <a:close/>
                <a:moveTo>
                  <a:pt x="773906" y="148828"/>
                </a:moveTo>
                <a:cubicBezTo>
                  <a:pt x="708258" y="148828"/>
                  <a:pt x="654844" y="202243"/>
                  <a:pt x="654844" y="267891"/>
                </a:cubicBezTo>
                <a:cubicBezTo>
                  <a:pt x="654844" y="333539"/>
                  <a:pt x="708258" y="386953"/>
                  <a:pt x="773906" y="386953"/>
                </a:cubicBezTo>
                <a:cubicBezTo>
                  <a:pt x="839554" y="386953"/>
                  <a:pt x="892969" y="333539"/>
                  <a:pt x="892969" y="267891"/>
                </a:cubicBezTo>
                <a:cubicBezTo>
                  <a:pt x="892969" y="202243"/>
                  <a:pt x="839554" y="148828"/>
                  <a:pt x="773906" y="148828"/>
                </a:cubicBezTo>
                <a:close/>
                <a:moveTo>
                  <a:pt x="89297" y="119063"/>
                </a:moveTo>
                <a:lnTo>
                  <a:pt x="89297" y="833438"/>
                </a:lnTo>
                <a:lnTo>
                  <a:pt x="506016" y="833438"/>
                </a:lnTo>
                <a:lnTo>
                  <a:pt x="506016" y="714375"/>
                </a:lnTo>
                <a:lnTo>
                  <a:pt x="625078" y="714375"/>
                </a:lnTo>
                <a:lnTo>
                  <a:pt x="625078" y="556826"/>
                </a:lnTo>
                <a:lnTo>
                  <a:pt x="424755" y="757148"/>
                </a:lnTo>
                <a:lnTo>
                  <a:pt x="291420" y="801588"/>
                </a:lnTo>
                <a:cubicBezTo>
                  <a:pt x="287238" y="802972"/>
                  <a:pt x="282952" y="803672"/>
                  <a:pt x="278621" y="803672"/>
                </a:cubicBezTo>
                <a:cubicBezTo>
                  <a:pt x="256297" y="803672"/>
                  <a:pt x="238125" y="785500"/>
                  <a:pt x="238125" y="763176"/>
                </a:cubicBezTo>
                <a:cubicBezTo>
                  <a:pt x="238125" y="758845"/>
                  <a:pt x="238825" y="754559"/>
                  <a:pt x="240179" y="750421"/>
                </a:cubicBezTo>
                <a:lnTo>
                  <a:pt x="284649" y="617041"/>
                </a:lnTo>
                <a:lnTo>
                  <a:pt x="625495" y="276195"/>
                </a:lnTo>
                <a:cubicBezTo>
                  <a:pt x="625346" y="273427"/>
                  <a:pt x="625078" y="270689"/>
                  <a:pt x="625078" y="267891"/>
                </a:cubicBezTo>
                <a:cubicBezTo>
                  <a:pt x="625078" y="263098"/>
                  <a:pt x="625346" y="258366"/>
                  <a:pt x="625793" y="253678"/>
                </a:cubicBezTo>
                <a:lnTo>
                  <a:pt x="625078" y="253678"/>
                </a:lnTo>
                <a:lnTo>
                  <a:pt x="625078" y="119063"/>
                </a:lnTo>
                <a:lnTo>
                  <a:pt x="535781" y="119063"/>
                </a:lnTo>
                <a:cubicBezTo>
                  <a:pt x="535781" y="135478"/>
                  <a:pt x="522431" y="148828"/>
                  <a:pt x="506016" y="148828"/>
                </a:cubicBezTo>
                <a:lnTo>
                  <a:pt x="446484" y="148828"/>
                </a:lnTo>
                <a:cubicBezTo>
                  <a:pt x="430069" y="148828"/>
                  <a:pt x="416719" y="135478"/>
                  <a:pt x="416719" y="119063"/>
                </a:cubicBezTo>
                <a:lnTo>
                  <a:pt x="297656" y="119063"/>
                </a:lnTo>
                <a:cubicBezTo>
                  <a:pt x="297656" y="135478"/>
                  <a:pt x="284306" y="148828"/>
                  <a:pt x="267891" y="148828"/>
                </a:cubicBezTo>
                <a:lnTo>
                  <a:pt x="208359" y="148828"/>
                </a:lnTo>
                <a:cubicBezTo>
                  <a:pt x="191944" y="148828"/>
                  <a:pt x="178594" y="135478"/>
                  <a:pt x="178594" y="119063"/>
                </a:cubicBezTo>
                <a:close/>
                <a:moveTo>
                  <a:pt x="535781" y="59531"/>
                </a:moveTo>
                <a:lnTo>
                  <a:pt x="535781" y="89297"/>
                </a:lnTo>
                <a:lnTo>
                  <a:pt x="625078" y="89297"/>
                </a:lnTo>
                <a:cubicBezTo>
                  <a:pt x="641494" y="89297"/>
                  <a:pt x="654844" y="102647"/>
                  <a:pt x="654844" y="119063"/>
                </a:cubicBezTo>
                <a:lnTo>
                  <a:pt x="654844" y="178966"/>
                </a:lnTo>
                <a:cubicBezTo>
                  <a:pt x="663312" y="167655"/>
                  <a:pt x="673328" y="157609"/>
                  <a:pt x="684609" y="149111"/>
                </a:cubicBezTo>
                <a:lnTo>
                  <a:pt x="684609" y="104180"/>
                </a:lnTo>
                <a:cubicBezTo>
                  <a:pt x="684609" y="79564"/>
                  <a:pt x="664577" y="59531"/>
                  <a:pt x="639961" y="59531"/>
                </a:cubicBezTo>
                <a:close/>
                <a:moveTo>
                  <a:pt x="297656" y="59531"/>
                </a:moveTo>
                <a:lnTo>
                  <a:pt x="297656" y="89297"/>
                </a:lnTo>
                <a:lnTo>
                  <a:pt x="416719" y="89297"/>
                </a:lnTo>
                <a:lnTo>
                  <a:pt x="416719" y="59531"/>
                </a:lnTo>
                <a:close/>
                <a:moveTo>
                  <a:pt x="74414" y="59531"/>
                </a:moveTo>
                <a:cubicBezTo>
                  <a:pt x="49798" y="59531"/>
                  <a:pt x="29766" y="79564"/>
                  <a:pt x="29766" y="104180"/>
                </a:cubicBezTo>
                <a:lnTo>
                  <a:pt x="29766" y="848320"/>
                </a:lnTo>
                <a:cubicBezTo>
                  <a:pt x="29766" y="872937"/>
                  <a:pt x="49798" y="892969"/>
                  <a:pt x="74414" y="892969"/>
                </a:cubicBezTo>
                <a:lnTo>
                  <a:pt x="639961" y="892969"/>
                </a:lnTo>
                <a:cubicBezTo>
                  <a:pt x="664577" y="892969"/>
                  <a:pt x="684609" y="872937"/>
                  <a:pt x="684609" y="848320"/>
                </a:cubicBezTo>
                <a:lnTo>
                  <a:pt x="684609" y="497294"/>
                </a:lnTo>
                <a:lnTo>
                  <a:pt x="654844" y="527060"/>
                </a:lnTo>
                <a:lnTo>
                  <a:pt x="654844" y="735419"/>
                </a:lnTo>
                <a:lnTo>
                  <a:pt x="527060" y="863203"/>
                </a:lnTo>
                <a:lnTo>
                  <a:pt x="89297" y="863203"/>
                </a:lnTo>
                <a:cubicBezTo>
                  <a:pt x="72881" y="863203"/>
                  <a:pt x="59531" y="849853"/>
                  <a:pt x="59531" y="833438"/>
                </a:cubicBezTo>
                <a:lnTo>
                  <a:pt x="59531" y="119063"/>
                </a:lnTo>
                <a:cubicBezTo>
                  <a:pt x="59531" y="102647"/>
                  <a:pt x="72881" y="89297"/>
                  <a:pt x="89297" y="89297"/>
                </a:cubicBezTo>
                <a:lnTo>
                  <a:pt x="178594" y="89297"/>
                </a:lnTo>
                <a:lnTo>
                  <a:pt x="178594" y="59531"/>
                </a:lnTo>
                <a:close/>
                <a:moveTo>
                  <a:pt x="446484" y="29766"/>
                </a:moveTo>
                <a:lnTo>
                  <a:pt x="446484" y="119063"/>
                </a:lnTo>
                <a:lnTo>
                  <a:pt x="506031" y="119063"/>
                </a:lnTo>
                <a:lnTo>
                  <a:pt x="506016" y="29766"/>
                </a:lnTo>
                <a:close/>
                <a:moveTo>
                  <a:pt x="208359" y="29766"/>
                </a:moveTo>
                <a:lnTo>
                  <a:pt x="208359" y="119063"/>
                </a:lnTo>
                <a:lnTo>
                  <a:pt x="267906" y="119063"/>
                </a:lnTo>
                <a:lnTo>
                  <a:pt x="267891" y="29766"/>
                </a:lnTo>
                <a:close/>
                <a:moveTo>
                  <a:pt x="208359" y="0"/>
                </a:moveTo>
                <a:lnTo>
                  <a:pt x="267891" y="0"/>
                </a:lnTo>
                <a:cubicBezTo>
                  <a:pt x="284306" y="0"/>
                  <a:pt x="297656" y="13350"/>
                  <a:pt x="297656" y="29766"/>
                </a:cubicBezTo>
                <a:lnTo>
                  <a:pt x="416719" y="29766"/>
                </a:lnTo>
                <a:cubicBezTo>
                  <a:pt x="416719" y="13350"/>
                  <a:pt x="430069" y="0"/>
                  <a:pt x="446484" y="0"/>
                </a:cubicBezTo>
                <a:lnTo>
                  <a:pt x="506016" y="0"/>
                </a:lnTo>
                <a:cubicBezTo>
                  <a:pt x="522431" y="0"/>
                  <a:pt x="535781" y="13350"/>
                  <a:pt x="535781" y="29766"/>
                </a:cubicBezTo>
                <a:lnTo>
                  <a:pt x="639961" y="29766"/>
                </a:lnTo>
                <a:cubicBezTo>
                  <a:pt x="680993" y="29766"/>
                  <a:pt x="714375" y="63148"/>
                  <a:pt x="714375" y="104180"/>
                </a:cubicBezTo>
                <a:lnTo>
                  <a:pt x="714375" y="131579"/>
                </a:lnTo>
                <a:cubicBezTo>
                  <a:pt x="732621" y="123572"/>
                  <a:pt x="752743" y="119063"/>
                  <a:pt x="773906" y="119063"/>
                </a:cubicBezTo>
                <a:cubicBezTo>
                  <a:pt x="855970" y="119063"/>
                  <a:pt x="922734" y="185827"/>
                  <a:pt x="922734" y="267891"/>
                </a:cubicBezTo>
                <a:cubicBezTo>
                  <a:pt x="922734" y="349954"/>
                  <a:pt x="855970" y="416719"/>
                  <a:pt x="773906" y="416719"/>
                </a:cubicBezTo>
                <a:cubicBezTo>
                  <a:pt x="771108" y="416719"/>
                  <a:pt x="768370" y="416451"/>
                  <a:pt x="765602" y="416302"/>
                </a:cubicBezTo>
                <a:lnTo>
                  <a:pt x="714375" y="467529"/>
                </a:lnTo>
                <a:lnTo>
                  <a:pt x="714375" y="848320"/>
                </a:lnTo>
                <a:cubicBezTo>
                  <a:pt x="714375" y="889352"/>
                  <a:pt x="680993" y="922734"/>
                  <a:pt x="639961" y="922734"/>
                </a:cubicBezTo>
                <a:lnTo>
                  <a:pt x="74414" y="922734"/>
                </a:lnTo>
                <a:cubicBezTo>
                  <a:pt x="33382" y="922734"/>
                  <a:pt x="0" y="889352"/>
                  <a:pt x="0" y="848320"/>
                </a:cubicBezTo>
                <a:lnTo>
                  <a:pt x="0" y="104180"/>
                </a:lnTo>
                <a:cubicBezTo>
                  <a:pt x="0" y="63148"/>
                  <a:pt x="33382" y="29766"/>
                  <a:pt x="74414" y="29766"/>
                </a:cubicBezTo>
                <a:lnTo>
                  <a:pt x="178594" y="29766"/>
                </a:lnTo>
                <a:cubicBezTo>
                  <a:pt x="178594" y="13350"/>
                  <a:pt x="191944" y="0"/>
                  <a:pt x="208359" y="0"/>
                </a:cubicBezTo>
                <a:close/>
              </a:path>
            </a:pathLst>
          </a:custGeom>
          <a:solidFill>
            <a:schemeClr val="tx2"/>
          </a:solidFill>
          <a:ln w="29468" cap="flat">
            <a:noFill/>
            <a:prstDash val="solid"/>
            <a:miter/>
          </a:ln>
        </p:spPr>
        <p:txBody>
          <a:bodyPr rtlCol="0" anchor="ctr"/>
          <a:lstStyle/>
          <a:p>
            <a:endParaRPr lang="en-US" dirty="0"/>
          </a:p>
        </p:txBody>
      </p:sp>
      <p:sp>
        <p:nvSpPr>
          <p:cNvPr id="30" name="Rectangle 29">
            <a:extLst>
              <a:ext uri="{FF2B5EF4-FFF2-40B4-BE49-F238E27FC236}">
                <a16:creationId xmlns:a16="http://schemas.microsoft.com/office/drawing/2014/main" id="{0853D2B3-1392-66AD-FBE2-B8C17AC9DCD9}"/>
              </a:ext>
            </a:extLst>
          </p:cNvPr>
          <p:cNvSpPr>
            <a:spLocks/>
          </p:cNvSpPr>
          <p:nvPr/>
        </p:nvSpPr>
        <p:spPr>
          <a:xfrm rot="5400000">
            <a:off x="9373501" y="1243111"/>
            <a:ext cx="1032294"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44" name="Google Shape;1444;p9"/>
          <p:cNvSpPr txBox="1">
            <a:spLocks/>
          </p:cNvSpPr>
          <p:nvPr/>
        </p:nvSpPr>
        <p:spPr>
          <a:xfrm>
            <a:off x="8244841" y="2545954"/>
            <a:ext cx="2673095" cy="938719"/>
          </a:xfrm>
          <a:prstGeom prst="rect">
            <a:avLst/>
          </a:prstGeom>
          <a:noFill/>
          <a:ln>
            <a:noFill/>
          </a:ln>
        </p:spPr>
        <p:txBody>
          <a:bodyPr spcFirstLastPara="1" wrap="square" lIns="0" tIns="0" rIns="0" bIns="0" anchor="ctr" anchorCtr="0">
            <a:spAutoFit/>
          </a:bodyPr>
          <a:lstStyle/>
          <a:p>
            <a:pPr marL="0" lvl="1">
              <a:spcAft>
                <a:spcPts val="300"/>
              </a:spcAft>
              <a:buClr>
                <a:schemeClr val="accent4"/>
              </a:buClr>
              <a:buSzPts val="1400"/>
            </a:pPr>
            <a:r>
              <a:rPr lang="en-US" sz="1400" b="1" i="0" u="none" strike="noStrike" cap="none" dirty="0">
                <a:solidFill>
                  <a:schemeClr val="tx2"/>
                </a:solidFill>
                <a:latin typeface="Calibri"/>
                <a:ea typeface="Calibri"/>
                <a:cs typeface="Calibri"/>
                <a:sym typeface="Calibri"/>
              </a:rPr>
              <a:t>Ad-hoc  or long  assignments</a:t>
            </a:r>
            <a:endParaRPr lang="en-US" sz="1200" b="0" i="0" u="none" strike="noStrike" cap="none" dirty="0">
              <a:solidFill>
                <a:schemeClr val="tx2"/>
              </a:solidFill>
              <a:latin typeface="Calibri"/>
              <a:ea typeface="Calibri"/>
              <a:cs typeface="Calibri"/>
              <a:sym typeface="Calibri"/>
            </a:endParaRPr>
          </a:p>
          <a:p>
            <a:pPr marL="0" marR="0" lvl="1" indent="0" algn="l" rtl="0">
              <a:spcBef>
                <a:spcPts val="0"/>
              </a:spcBef>
              <a:spcAft>
                <a:spcPts val="30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Answering research requests to support </a:t>
            </a:r>
            <a:r>
              <a:rPr lang="en-US" sz="1400" b="1" i="0" u="none" strike="noStrike" cap="none" dirty="0">
                <a:solidFill>
                  <a:srgbClr val="3D3D3D"/>
                </a:solidFill>
                <a:latin typeface="Calibri"/>
                <a:ea typeface="Calibri"/>
                <a:cs typeface="Calibri"/>
                <a:sym typeface="Calibri"/>
              </a:rPr>
              <a:t>project execution</a:t>
            </a:r>
            <a:r>
              <a:rPr lang="en-US" sz="1400" b="0" i="0" u="none" strike="noStrike" cap="none" dirty="0">
                <a:solidFill>
                  <a:srgbClr val="3D3D3D"/>
                </a:solidFill>
                <a:latin typeface="Calibri"/>
                <a:ea typeface="Calibri"/>
                <a:cs typeface="Calibri"/>
                <a:sym typeface="Calibri"/>
              </a:rPr>
              <a:t>, </a:t>
            </a:r>
            <a:r>
              <a:rPr lang="en-US" sz="1400" b="1" i="0" u="none" strike="noStrike" cap="none" dirty="0">
                <a:solidFill>
                  <a:srgbClr val="3D3D3D"/>
                </a:solidFill>
                <a:latin typeface="Calibri"/>
                <a:ea typeface="Calibri"/>
                <a:cs typeface="Calibri"/>
                <a:sym typeface="Calibri"/>
              </a:rPr>
              <a:t>proposal development </a:t>
            </a:r>
            <a:r>
              <a:rPr lang="en-US" sz="1400" b="0" i="0" u="none" strike="noStrike" cap="none" dirty="0">
                <a:solidFill>
                  <a:srgbClr val="3D3D3D"/>
                </a:solidFill>
                <a:latin typeface="Calibri"/>
                <a:ea typeface="Calibri"/>
                <a:cs typeface="Calibri"/>
                <a:sym typeface="Calibri"/>
              </a:rPr>
              <a:t>or </a:t>
            </a:r>
            <a:r>
              <a:rPr lang="en-US" sz="1400" b="1" i="0" u="none" strike="noStrike" cap="none" dirty="0">
                <a:solidFill>
                  <a:srgbClr val="3D3D3D"/>
                </a:solidFill>
                <a:latin typeface="Calibri"/>
                <a:ea typeface="Calibri"/>
                <a:cs typeface="Calibri"/>
                <a:sym typeface="Calibri"/>
              </a:rPr>
              <a:t>internal </a:t>
            </a:r>
            <a:r>
              <a:rPr lang="en-US" sz="1400" b="1" dirty="0">
                <a:solidFill>
                  <a:srgbClr val="3D3D3D"/>
                </a:solidFill>
                <a:latin typeface="Calibri"/>
                <a:ea typeface="Calibri"/>
                <a:cs typeface="Calibri"/>
                <a:sym typeface="Calibri"/>
              </a:rPr>
              <a:t>work</a:t>
            </a:r>
            <a:endParaRPr sz="1400" b="1" i="0" u="none" strike="noStrike" cap="none" dirty="0">
              <a:solidFill>
                <a:srgbClr val="000000"/>
              </a:solidFill>
              <a:latin typeface="Arial"/>
              <a:ea typeface="Arial"/>
              <a:cs typeface="Arial"/>
              <a:sym typeface="Arial"/>
            </a:endParaRPr>
          </a:p>
        </p:txBody>
      </p:sp>
      <p:sp>
        <p:nvSpPr>
          <p:cNvPr id="4" name="Freeform: Shape 3">
            <a:extLst>
              <a:ext uri="{FF2B5EF4-FFF2-40B4-BE49-F238E27FC236}">
                <a16:creationId xmlns:a16="http://schemas.microsoft.com/office/drawing/2014/main" id="{E9601231-0844-DEC1-2F16-B69729C6B8A3}"/>
              </a:ext>
            </a:extLst>
          </p:cNvPr>
          <p:cNvSpPr>
            <a:spLocks noChangeAspect="1"/>
          </p:cNvSpPr>
          <p:nvPr/>
        </p:nvSpPr>
        <p:spPr>
          <a:xfrm>
            <a:off x="10988533" y="2735056"/>
            <a:ext cx="568612" cy="568612"/>
          </a:xfrm>
          <a:custGeom>
            <a:avLst/>
            <a:gdLst>
              <a:gd name="connsiteX0" fmla="*/ 53679 w 590550"/>
              <a:gd name="connsiteY0" fmla="*/ 523399 h 590550"/>
              <a:gd name="connsiteX1" fmla="*/ 67150 w 590550"/>
              <a:gd name="connsiteY1" fmla="*/ 536870 h 590550"/>
              <a:gd name="connsiteX2" fmla="*/ 54359 w 590550"/>
              <a:gd name="connsiteY2" fmla="*/ 549660 h 590550"/>
              <a:gd name="connsiteX3" fmla="*/ 40889 w 590550"/>
              <a:gd name="connsiteY3" fmla="*/ 536190 h 590550"/>
              <a:gd name="connsiteX4" fmla="*/ 80615 w 590550"/>
              <a:gd name="connsiteY4" fmla="*/ 496450 h 590550"/>
              <a:gd name="connsiteX5" fmla="*/ 94086 w 590550"/>
              <a:gd name="connsiteY5" fmla="*/ 509921 h 590550"/>
              <a:gd name="connsiteX6" fmla="*/ 80615 w 590550"/>
              <a:gd name="connsiteY6" fmla="*/ 523391 h 590550"/>
              <a:gd name="connsiteX7" fmla="*/ 67145 w 590550"/>
              <a:gd name="connsiteY7" fmla="*/ 509921 h 590550"/>
              <a:gd name="connsiteX8" fmla="*/ 107561 w 590550"/>
              <a:gd name="connsiteY8" fmla="*/ 469510 h 590550"/>
              <a:gd name="connsiteX9" fmla="*/ 121032 w 590550"/>
              <a:gd name="connsiteY9" fmla="*/ 482981 h 590550"/>
              <a:gd name="connsiteX10" fmla="*/ 107561 w 590550"/>
              <a:gd name="connsiteY10" fmla="*/ 496451 h 590550"/>
              <a:gd name="connsiteX11" fmla="*/ 94091 w 590550"/>
              <a:gd name="connsiteY11" fmla="*/ 482981 h 590550"/>
              <a:gd name="connsiteX12" fmla="*/ 499605 w 590550"/>
              <a:gd name="connsiteY12" fmla="*/ 463886 h 590550"/>
              <a:gd name="connsiteX13" fmla="*/ 482698 w 590550"/>
              <a:gd name="connsiteY13" fmla="*/ 482708 h 590550"/>
              <a:gd name="connsiteX14" fmla="*/ 463838 w 590550"/>
              <a:gd name="connsiteY14" fmla="*/ 499586 h 590550"/>
              <a:gd name="connsiteX15" fmla="*/ 511673 w 590550"/>
              <a:gd name="connsiteY15" fmla="*/ 511673 h 590550"/>
              <a:gd name="connsiteX16" fmla="*/ 499605 w 590550"/>
              <a:gd name="connsiteY16" fmla="*/ 463886 h 590550"/>
              <a:gd name="connsiteX17" fmla="*/ 395734 w 590550"/>
              <a:gd name="connsiteY17" fmla="*/ 463886 h 590550"/>
              <a:gd name="connsiteX18" fmla="*/ 383676 w 590550"/>
              <a:gd name="connsiteY18" fmla="*/ 511673 h 590550"/>
              <a:gd name="connsiteX19" fmla="*/ 431491 w 590550"/>
              <a:gd name="connsiteY19" fmla="*/ 499586 h 590550"/>
              <a:gd name="connsiteX20" fmla="*/ 412641 w 590550"/>
              <a:gd name="connsiteY20" fmla="*/ 482708 h 590550"/>
              <a:gd name="connsiteX21" fmla="*/ 395734 w 590550"/>
              <a:gd name="connsiteY21" fmla="*/ 463886 h 590550"/>
              <a:gd name="connsiteX22" fmla="*/ 104775 w 590550"/>
              <a:gd name="connsiteY22" fmla="*/ 442093 h 590550"/>
              <a:gd name="connsiteX23" fmla="*/ 28099 w 590550"/>
              <a:gd name="connsiteY23" fmla="*/ 518779 h 590550"/>
              <a:gd name="connsiteX24" fmla="*/ 19050 w 590550"/>
              <a:gd name="connsiteY24" fmla="*/ 540620 h 590550"/>
              <a:gd name="connsiteX25" fmla="*/ 49940 w 590550"/>
              <a:gd name="connsiteY25" fmla="*/ 571500 h 590550"/>
              <a:gd name="connsiteX26" fmla="*/ 71780 w 590550"/>
              <a:gd name="connsiteY26" fmla="*/ 562451 h 590550"/>
              <a:gd name="connsiteX27" fmla="*/ 148457 w 590550"/>
              <a:gd name="connsiteY27" fmla="*/ 485775 h 590550"/>
              <a:gd name="connsiteX28" fmla="*/ 447675 w 590550"/>
              <a:gd name="connsiteY28" fmla="*/ 438150 h 590550"/>
              <a:gd name="connsiteX29" fmla="*/ 457200 w 590550"/>
              <a:gd name="connsiteY29" fmla="*/ 447675 h 590550"/>
              <a:gd name="connsiteX30" fmla="*/ 447675 w 590550"/>
              <a:gd name="connsiteY30" fmla="*/ 457200 h 590550"/>
              <a:gd name="connsiteX31" fmla="*/ 438150 w 590550"/>
              <a:gd name="connsiteY31" fmla="*/ 447675 h 590550"/>
              <a:gd name="connsiteX32" fmla="*/ 447675 w 590550"/>
              <a:gd name="connsiteY32" fmla="*/ 438150 h 590550"/>
              <a:gd name="connsiteX33" fmla="*/ 147447 w 590550"/>
              <a:gd name="connsiteY33" fmla="*/ 418471 h 590550"/>
              <a:gd name="connsiteX34" fmla="*/ 127768 w 590550"/>
              <a:gd name="connsiteY34" fmla="*/ 438150 h 590550"/>
              <a:gd name="connsiteX35" fmla="*/ 152400 w 590550"/>
              <a:gd name="connsiteY35" fmla="*/ 462782 h 590550"/>
              <a:gd name="connsiteX36" fmla="*/ 172079 w 590550"/>
              <a:gd name="connsiteY36" fmla="*/ 443103 h 590550"/>
              <a:gd name="connsiteX37" fmla="*/ 147447 w 590550"/>
              <a:gd name="connsiteY37" fmla="*/ 418471 h 590550"/>
              <a:gd name="connsiteX38" fmla="*/ 447674 w 590550"/>
              <a:gd name="connsiteY38" fmla="*/ 407079 h 590550"/>
              <a:gd name="connsiteX39" fmla="*/ 426119 w 590550"/>
              <a:gd name="connsiteY39" fmla="*/ 426110 h 590550"/>
              <a:gd name="connsiteX40" fmla="*/ 407012 w 590550"/>
              <a:gd name="connsiteY40" fmla="*/ 447675 h 590550"/>
              <a:gd name="connsiteX41" fmla="*/ 426119 w 590550"/>
              <a:gd name="connsiteY41" fmla="*/ 469239 h 590550"/>
              <a:gd name="connsiteX42" fmla="*/ 447674 w 590550"/>
              <a:gd name="connsiteY42" fmla="*/ 488337 h 590550"/>
              <a:gd name="connsiteX43" fmla="*/ 469229 w 590550"/>
              <a:gd name="connsiteY43" fmla="*/ 469239 h 590550"/>
              <a:gd name="connsiteX44" fmla="*/ 488337 w 590550"/>
              <a:gd name="connsiteY44" fmla="*/ 447675 h 590550"/>
              <a:gd name="connsiteX45" fmla="*/ 469229 w 590550"/>
              <a:gd name="connsiteY45" fmla="*/ 426110 h 590550"/>
              <a:gd name="connsiteX46" fmla="*/ 447674 w 590550"/>
              <a:gd name="connsiteY46" fmla="*/ 407079 h 590550"/>
              <a:gd name="connsiteX47" fmla="*/ 502929 w 590550"/>
              <a:gd name="connsiteY47" fmla="*/ 380962 h 590550"/>
              <a:gd name="connsiteX48" fmla="*/ 463943 w 590550"/>
              <a:gd name="connsiteY48" fmla="*/ 395783 h 590550"/>
              <a:gd name="connsiteX49" fmla="*/ 482707 w 590550"/>
              <a:gd name="connsiteY49" fmla="*/ 412642 h 590550"/>
              <a:gd name="connsiteX50" fmla="*/ 499614 w 590550"/>
              <a:gd name="connsiteY50" fmla="*/ 431463 h 590550"/>
              <a:gd name="connsiteX51" fmla="*/ 511673 w 590550"/>
              <a:gd name="connsiteY51" fmla="*/ 383676 h 590550"/>
              <a:gd name="connsiteX52" fmla="*/ 502929 w 590550"/>
              <a:gd name="connsiteY52" fmla="*/ 380962 h 590550"/>
              <a:gd name="connsiteX53" fmla="*/ 392420 w 590550"/>
              <a:gd name="connsiteY53" fmla="*/ 380962 h 590550"/>
              <a:gd name="connsiteX54" fmla="*/ 383676 w 590550"/>
              <a:gd name="connsiteY54" fmla="*/ 383676 h 590550"/>
              <a:gd name="connsiteX55" fmla="*/ 395734 w 590550"/>
              <a:gd name="connsiteY55" fmla="*/ 431463 h 590550"/>
              <a:gd name="connsiteX56" fmla="*/ 412641 w 590550"/>
              <a:gd name="connsiteY56" fmla="*/ 412642 h 590550"/>
              <a:gd name="connsiteX57" fmla="*/ 431406 w 590550"/>
              <a:gd name="connsiteY57" fmla="*/ 395783 h 590550"/>
              <a:gd name="connsiteX58" fmla="*/ 392420 w 590550"/>
              <a:gd name="connsiteY58" fmla="*/ 380962 h 590550"/>
              <a:gd name="connsiteX59" fmla="*/ 510436 w 590550"/>
              <a:gd name="connsiteY59" fmla="*/ 362623 h 590550"/>
              <a:gd name="connsiteX60" fmla="*/ 525141 w 590550"/>
              <a:gd name="connsiteY60" fmla="*/ 370208 h 590550"/>
              <a:gd name="connsiteX61" fmla="*/ 511644 w 590550"/>
              <a:gd name="connsiteY61" fmla="*/ 447675 h 590550"/>
              <a:gd name="connsiteX62" fmla="*/ 525141 w 590550"/>
              <a:gd name="connsiteY62" fmla="*/ 525142 h 590550"/>
              <a:gd name="connsiteX63" fmla="*/ 503138 w 590550"/>
              <a:gd name="connsiteY63" fmla="*/ 533390 h 590550"/>
              <a:gd name="connsiteX64" fmla="*/ 447674 w 590550"/>
              <a:gd name="connsiteY64" fmla="*/ 511664 h 590550"/>
              <a:gd name="connsiteX65" fmla="*/ 392210 w 590550"/>
              <a:gd name="connsiteY65" fmla="*/ 533390 h 590550"/>
              <a:gd name="connsiteX66" fmla="*/ 370207 w 590550"/>
              <a:gd name="connsiteY66" fmla="*/ 525142 h 590550"/>
              <a:gd name="connsiteX67" fmla="*/ 383704 w 590550"/>
              <a:gd name="connsiteY67" fmla="*/ 447675 h 590550"/>
              <a:gd name="connsiteX68" fmla="*/ 370207 w 590550"/>
              <a:gd name="connsiteY68" fmla="*/ 370208 h 590550"/>
              <a:gd name="connsiteX69" fmla="*/ 447674 w 590550"/>
              <a:gd name="connsiteY69" fmla="*/ 383705 h 590550"/>
              <a:gd name="connsiteX70" fmla="*/ 510436 w 590550"/>
              <a:gd name="connsiteY70" fmla="*/ 362623 h 590550"/>
              <a:gd name="connsiteX71" fmla="*/ 447675 w 590550"/>
              <a:gd name="connsiteY71" fmla="*/ 323850 h 590550"/>
              <a:gd name="connsiteX72" fmla="*/ 323850 w 590550"/>
              <a:gd name="connsiteY72" fmla="*/ 447675 h 590550"/>
              <a:gd name="connsiteX73" fmla="*/ 447675 w 590550"/>
              <a:gd name="connsiteY73" fmla="*/ 571500 h 590550"/>
              <a:gd name="connsiteX74" fmla="*/ 571500 w 590550"/>
              <a:gd name="connsiteY74" fmla="*/ 447675 h 590550"/>
              <a:gd name="connsiteX75" fmla="*/ 447675 w 590550"/>
              <a:gd name="connsiteY75" fmla="*/ 323850 h 590550"/>
              <a:gd name="connsiteX76" fmla="*/ 304800 w 590550"/>
              <a:gd name="connsiteY76" fmla="*/ 314325 h 590550"/>
              <a:gd name="connsiteX77" fmla="*/ 323850 w 590550"/>
              <a:gd name="connsiteY77" fmla="*/ 314325 h 590550"/>
              <a:gd name="connsiteX78" fmla="*/ 323850 w 590550"/>
              <a:gd name="connsiteY78" fmla="*/ 333375 h 590550"/>
              <a:gd name="connsiteX79" fmla="*/ 304800 w 590550"/>
              <a:gd name="connsiteY79" fmla="*/ 333375 h 590550"/>
              <a:gd name="connsiteX80" fmla="*/ 266700 w 590550"/>
              <a:gd name="connsiteY80" fmla="*/ 314325 h 590550"/>
              <a:gd name="connsiteX81" fmla="*/ 285750 w 590550"/>
              <a:gd name="connsiteY81" fmla="*/ 314325 h 590550"/>
              <a:gd name="connsiteX82" fmla="*/ 285750 w 590550"/>
              <a:gd name="connsiteY82" fmla="*/ 333375 h 590550"/>
              <a:gd name="connsiteX83" fmla="*/ 266700 w 590550"/>
              <a:gd name="connsiteY83" fmla="*/ 333375 h 590550"/>
              <a:gd name="connsiteX84" fmla="*/ 228600 w 590550"/>
              <a:gd name="connsiteY84" fmla="*/ 314325 h 590550"/>
              <a:gd name="connsiteX85" fmla="*/ 247650 w 590550"/>
              <a:gd name="connsiteY85" fmla="*/ 314325 h 590550"/>
              <a:gd name="connsiteX86" fmla="*/ 247650 w 590550"/>
              <a:gd name="connsiteY86" fmla="*/ 333375 h 590550"/>
              <a:gd name="connsiteX87" fmla="*/ 228600 w 590550"/>
              <a:gd name="connsiteY87" fmla="*/ 333375 h 590550"/>
              <a:gd name="connsiteX88" fmla="*/ 190500 w 590550"/>
              <a:gd name="connsiteY88" fmla="*/ 314325 h 590550"/>
              <a:gd name="connsiteX89" fmla="*/ 209550 w 590550"/>
              <a:gd name="connsiteY89" fmla="*/ 314325 h 590550"/>
              <a:gd name="connsiteX90" fmla="*/ 209550 w 590550"/>
              <a:gd name="connsiteY90" fmla="*/ 333375 h 590550"/>
              <a:gd name="connsiteX91" fmla="*/ 190500 w 590550"/>
              <a:gd name="connsiteY91" fmla="*/ 333375 h 590550"/>
              <a:gd name="connsiteX92" fmla="*/ 372513 w 590550"/>
              <a:gd name="connsiteY92" fmla="*/ 280702 h 590550"/>
              <a:gd name="connsiteX93" fmla="*/ 380905 w 590550"/>
              <a:gd name="connsiteY93" fmla="*/ 321450 h 590550"/>
              <a:gd name="connsiteX94" fmla="*/ 399393 w 590550"/>
              <a:gd name="connsiteY94" fmla="*/ 313373 h 590550"/>
              <a:gd name="connsiteX95" fmla="*/ 393897 w 590550"/>
              <a:gd name="connsiteY95" fmla="*/ 284845 h 590550"/>
              <a:gd name="connsiteX96" fmla="*/ 372513 w 590550"/>
              <a:gd name="connsiteY96" fmla="*/ 280702 h 590550"/>
              <a:gd name="connsiteX97" fmla="*/ 266700 w 590550"/>
              <a:gd name="connsiteY97" fmla="*/ 228600 h 590550"/>
              <a:gd name="connsiteX98" fmla="*/ 171450 w 590550"/>
              <a:gd name="connsiteY98" fmla="*/ 323850 h 590550"/>
              <a:gd name="connsiteX99" fmla="*/ 266700 w 590550"/>
              <a:gd name="connsiteY99" fmla="*/ 419100 h 590550"/>
              <a:gd name="connsiteX100" fmla="*/ 310477 w 590550"/>
              <a:gd name="connsiteY100" fmla="*/ 408184 h 590550"/>
              <a:gd name="connsiteX101" fmla="*/ 361226 w 590550"/>
              <a:gd name="connsiteY101" fmla="*/ 334185 h 590550"/>
              <a:gd name="connsiteX102" fmla="*/ 361950 w 590550"/>
              <a:gd name="connsiteY102" fmla="*/ 323850 h 590550"/>
              <a:gd name="connsiteX103" fmla="*/ 345300 w 590550"/>
              <a:gd name="connsiteY103" fmla="*/ 270300 h 590550"/>
              <a:gd name="connsiteX104" fmla="*/ 300457 w 590550"/>
              <a:gd name="connsiteY104" fmla="*/ 234906 h 590550"/>
              <a:gd name="connsiteX105" fmla="*/ 266700 w 590550"/>
              <a:gd name="connsiteY105" fmla="*/ 228600 h 590550"/>
              <a:gd name="connsiteX106" fmla="*/ 266700 w 590550"/>
              <a:gd name="connsiteY106" fmla="*/ 190500 h 590550"/>
              <a:gd name="connsiteX107" fmla="*/ 133350 w 590550"/>
              <a:gd name="connsiteY107" fmla="*/ 323850 h 590550"/>
              <a:gd name="connsiteX108" fmla="*/ 266700 w 590550"/>
              <a:gd name="connsiteY108" fmla="*/ 457200 h 590550"/>
              <a:gd name="connsiteX109" fmla="*/ 304981 w 590550"/>
              <a:gd name="connsiteY109" fmla="*/ 451333 h 590550"/>
              <a:gd name="connsiteX110" fmla="*/ 304800 w 590550"/>
              <a:gd name="connsiteY110" fmla="*/ 447675 h 590550"/>
              <a:gd name="connsiteX111" fmla="*/ 305867 w 590550"/>
              <a:gd name="connsiteY111" fmla="*/ 430968 h 590550"/>
              <a:gd name="connsiteX112" fmla="*/ 266700 w 590550"/>
              <a:gd name="connsiteY112" fmla="*/ 438150 h 590550"/>
              <a:gd name="connsiteX113" fmla="*/ 152400 w 590550"/>
              <a:gd name="connsiteY113" fmla="*/ 323850 h 590550"/>
              <a:gd name="connsiteX114" fmla="*/ 266700 w 590550"/>
              <a:gd name="connsiteY114" fmla="*/ 209550 h 590550"/>
              <a:gd name="connsiteX115" fmla="*/ 284016 w 590550"/>
              <a:gd name="connsiteY115" fmla="*/ 211007 h 590550"/>
              <a:gd name="connsiteX116" fmla="*/ 275206 w 590550"/>
              <a:gd name="connsiteY116" fmla="*/ 190976 h 590550"/>
              <a:gd name="connsiteX117" fmla="*/ 266700 w 590550"/>
              <a:gd name="connsiteY117" fmla="*/ 190500 h 590550"/>
              <a:gd name="connsiteX118" fmla="*/ 381000 w 590550"/>
              <a:gd name="connsiteY118" fmla="*/ 142875 h 590550"/>
              <a:gd name="connsiteX119" fmla="*/ 381000 w 590550"/>
              <a:gd name="connsiteY119" fmla="*/ 200025 h 590550"/>
              <a:gd name="connsiteX120" fmla="*/ 400050 w 590550"/>
              <a:gd name="connsiteY120" fmla="*/ 200025 h 590550"/>
              <a:gd name="connsiteX121" fmla="*/ 400050 w 590550"/>
              <a:gd name="connsiteY121" fmla="*/ 142875 h 590550"/>
              <a:gd name="connsiteX122" fmla="*/ 419100 w 590550"/>
              <a:gd name="connsiteY122" fmla="*/ 123825 h 590550"/>
              <a:gd name="connsiteX123" fmla="*/ 419100 w 590550"/>
              <a:gd name="connsiteY123" fmla="*/ 200025 h 590550"/>
              <a:gd name="connsiteX124" fmla="*/ 438150 w 590550"/>
              <a:gd name="connsiteY124" fmla="*/ 200025 h 590550"/>
              <a:gd name="connsiteX125" fmla="*/ 438150 w 590550"/>
              <a:gd name="connsiteY125" fmla="*/ 123825 h 590550"/>
              <a:gd name="connsiteX126" fmla="*/ 342900 w 590550"/>
              <a:gd name="connsiteY126" fmla="*/ 104775 h 590550"/>
              <a:gd name="connsiteX127" fmla="*/ 342900 w 590550"/>
              <a:gd name="connsiteY127" fmla="*/ 200025 h 590550"/>
              <a:gd name="connsiteX128" fmla="*/ 361950 w 590550"/>
              <a:gd name="connsiteY128" fmla="*/ 200025 h 590550"/>
              <a:gd name="connsiteX129" fmla="*/ 361950 w 590550"/>
              <a:gd name="connsiteY129" fmla="*/ 104775 h 590550"/>
              <a:gd name="connsiteX130" fmla="*/ 457200 w 590550"/>
              <a:gd name="connsiteY130" fmla="*/ 85725 h 590550"/>
              <a:gd name="connsiteX131" fmla="*/ 457200 w 590550"/>
              <a:gd name="connsiteY131" fmla="*/ 200025 h 590550"/>
              <a:gd name="connsiteX132" fmla="*/ 476250 w 590550"/>
              <a:gd name="connsiteY132" fmla="*/ 200025 h 590550"/>
              <a:gd name="connsiteX133" fmla="*/ 476250 w 590550"/>
              <a:gd name="connsiteY133" fmla="*/ 85725 h 590550"/>
              <a:gd name="connsiteX134" fmla="*/ 123825 w 590550"/>
              <a:gd name="connsiteY134" fmla="*/ 76200 h 590550"/>
              <a:gd name="connsiteX135" fmla="*/ 76200 w 590550"/>
              <a:gd name="connsiteY135" fmla="*/ 123825 h 590550"/>
              <a:gd name="connsiteX136" fmla="*/ 123825 w 590550"/>
              <a:gd name="connsiteY136" fmla="*/ 171450 h 590550"/>
              <a:gd name="connsiteX137" fmla="*/ 171450 w 590550"/>
              <a:gd name="connsiteY137" fmla="*/ 123825 h 590550"/>
              <a:gd name="connsiteX138" fmla="*/ 123825 w 590550"/>
              <a:gd name="connsiteY138" fmla="*/ 76200 h 590550"/>
              <a:gd name="connsiteX139" fmla="*/ 438150 w 590550"/>
              <a:gd name="connsiteY139" fmla="*/ 66675 h 590550"/>
              <a:gd name="connsiteX140" fmla="*/ 495300 w 590550"/>
              <a:gd name="connsiteY140" fmla="*/ 66675 h 590550"/>
              <a:gd name="connsiteX141" fmla="*/ 495300 w 590550"/>
              <a:gd name="connsiteY141" fmla="*/ 219075 h 590550"/>
              <a:gd name="connsiteX142" fmla="*/ 323850 w 590550"/>
              <a:gd name="connsiteY142" fmla="*/ 219075 h 590550"/>
              <a:gd name="connsiteX143" fmla="*/ 323850 w 590550"/>
              <a:gd name="connsiteY143" fmla="*/ 85725 h 590550"/>
              <a:gd name="connsiteX144" fmla="*/ 381000 w 590550"/>
              <a:gd name="connsiteY144" fmla="*/ 85725 h 590550"/>
              <a:gd name="connsiteX145" fmla="*/ 381000 w 590550"/>
              <a:gd name="connsiteY145" fmla="*/ 123825 h 590550"/>
              <a:gd name="connsiteX146" fmla="*/ 400050 w 590550"/>
              <a:gd name="connsiteY146" fmla="*/ 123825 h 590550"/>
              <a:gd name="connsiteX147" fmla="*/ 400050 w 590550"/>
              <a:gd name="connsiteY147" fmla="*/ 104775 h 590550"/>
              <a:gd name="connsiteX148" fmla="*/ 438150 w 590550"/>
              <a:gd name="connsiteY148" fmla="*/ 104775 h 590550"/>
              <a:gd name="connsiteX149" fmla="*/ 123825 w 590550"/>
              <a:gd name="connsiteY149" fmla="*/ 57150 h 590550"/>
              <a:gd name="connsiteX150" fmla="*/ 190500 w 590550"/>
              <a:gd name="connsiteY150" fmla="*/ 123825 h 590550"/>
              <a:gd name="connsiteX151" fmla="*/ 123825 w 590550"/>
              <a:gd name="connsiteY151" fmla="*/ 190500 h 590550"/>
              <a:gd name="connsiteX152" fmla="*/ 57150 w 590550"/>
              <a:gd name="connsiteY152" fmla="*/ 123825 h 590550"/>
              <a:gd name="connsiteX153" fmla="*/ 123825 w 590550"/>
              <a:gd name="connsiteY153" fmla="*/ 57150 h 590550"/>
              <a:gd name="connsiteX154" fmla="*/ 409575 w 590550"/>
              <a:gd name="connsiteY154" fmla="*/ 19050 h 590550"/>
              <a:gd name="connsiteX155" fmla="*/ 285750 w 590550"/>
              <a:gd name="connsiteY155" fmla="*/ 142875 h 590550"/>
              <a:gd name="connsiteX156" fmla="*/ 409575 w 590550"/>
              <a:gd name="connsiteY156" fmla="*/ 266700 h 590550"/>
              <a:gd name="connsiteX157" fmla="*/ 533400 w 590550"/>
              <a:gd name="connsiteY157" fmla="*/ 142875 h 590550"/>
              <a:gd name="connsiteX158" fmla="*/ 409575 w 590550"/>
              <a:gd name="connsiteY158" fmla="*/ 19050 h 590550"/>
              <a:gd name="connsiteX159" fmla="*/ 102689 w 590550"/>
              <a:gd name="connsiteY159" fmla="*/ 19050 h 590550"/>
              <a:gd name="connsiteX160" fmla="*/ 96860 w 590550"/>
              <a:gd name="connsiteY160" fmla="*/ 42405 h 590550"/>
              <a:gd name="connsiteX161" fmla="*/ 85239 w 590550"/>
              <a:gd name="connsiteY161" fmla="*/ 47130 h 590550"/>
              <a:gd name="connsiteX162" fmla="*/ 64684 w 590550"/>
              <a:gd name="connsiteY162" fmla="*/ 34785 h 590550"/>
              <a:gd name="connsiteX163" fmla="*/ 34795 w 590550"/>
              <a:gd name="connsiteY163" fmla="*/ 64684 h 590550"/>
              <a:gd name="connsiteX164" fmla="*/ 47139 w 590550"/>
              <a:gd name="connsiteY164" fmla="*/ 85249 h 590550"/>
              <a:gd name="connsiteX165" fmla="*/ 42348 w 590550"/>
              <a:gd name="connsiteY165" fmla="*/ 96869 h 590550"/>
              <a:gd name="connsiteX166" fmla="*/ 19050 w 590550"/>
              <a:gd name="connsiteY166" fmla="*/ 102689 h 590550"/>
              <a:gd name="connsiteX167" fmla="*/ 19050 w 590550"/>
              <a:gd name="connsiteY167" fmla="*/ 144961 h 590550"/>
              <a:gd name="connsiteX168" fmla="*/ 42377 w 590550"/>
              <a:gd name="connsiteY168" fmla="*/ 150781 h 590550"/>
              <a:gd name="connsiteX169" fmla="*/ 47139 w 590550"/>
              <a:gd name="connsiteY169" fmla="*/ 162401 h 590550"/>
              <a:gd name="connsiteX170" fmla="*/ 34795 w 590550"/>
              <a:gd name="connsiteY170" fmla="*/ 182966 h 590550"/>
              <a:gd name="connsiteX171" fmla="*/ 64684 w 590550"/>
              <a:gd name="connsiteY171" fmla="*/ 212865 h 590550"/>
              <a:gd name="connsiteX172" fmla="*/ 85239 w 590550"/>
              <a:gd name="connsiteY172" fmla="*/ 200520 h 590550"/>
              <a:gd name="connsiteX173" fmla="*/ 96117 w 590550"/>
              <a:gd name="connsiteY173" fmla="*/ 204940 h 590550"/>
              <a:gd name="connsiteX174" fmla="*/ 98050 w 590550"/>
              <a:gd name="connsiteY174" fmla="*/ 210036 h 590550"/>
              <a:gd name="connsiteX175" fmla="*/ 102689 w 590550"/>
              <a:gd name="connsiteY175" fmla="*/ 228600 h 590550"/>
              <a:gd name="connsiteX176" fmla="*/ 147923 w 590550"/>
              <a:gd name="connsiteY176" fmla="*/ 228600 h 590550"/>
              <a:gd name="connsiteX177" fmla="*/ 212455 w 590550"/>
              <a:gd name="connsiteY177" fmla="*/ 181594 h 590550"/>
              <a:gd name="connsiteX178" fmla="*/ 200454 w 590550"/>
              <a:gd name="connsiteY178" fmla="*/ 162506 h 590550"/>
              <a:gd name="connsiteX179" fmla="*/ 204949 w 590550"/>
              <a:gd name="connsiteY179" fmla="*/ 151552 h 590550"/>
              <a:gd name="connsiteX180" fmla="*/ 210036 w 590550"/>
              <a:gd name="connsiteY180" fmla="*/ 149600 h 590550"/>
              <a:gd name="connsiteX181" fmla="*/ 228600 w 590550"/>
              <a:gd name="connsiteY181" fmla="*/ 144961 h 590550"/>
              <a:gd name="connsiteX182" fmla="*/ 228600 w 590550"/>
              <a:gd name="connsiteY182" fmla="*/ 102689 h 590550"/>
              <a:gd name="connsiteX183" fmla="*/ 205302 w 590550"/>
              <a:gd name="connsiteY183" fmla="*/ 96869 h 590550"/>
              <a:gd name="connsiteX184" fmla="*/ 200511 w 590550"/>
              <a:gd name="connsiteY184" fmla="*/ 85249 h 590550"/>
              <a:gd name="connsiteX185" fmla="*/ 212855 w 590550"/>
              <a:gd name="connsiteY185" fmla="*/ 64684 h 590550"/>
              <a:gd name="connsiteX186" fmla="*/ 182966 w 590550"/>
              <a:gd name="connsiteY186" fmla="*/ 34785 h 590550"/>
              <a:gd name="connsiteX187" fmla="*/ 162411 w 590550"/>
              <a:gd name="connsiteY187" fmla="*/ 47130 h 590550"/>
              <a:gd name="connsiteX188" fmla="*/ 151533 w 590550"/>
              <a:gd name="connsiteY188" fmla="*/ 42710 h 590550"/>
              <a:gd name="connsiteX189" fmla="*/ 149600 w 590550"/>
              <a:gd name="connsiteY189" fmla="*/ 37614 h 590550"/>
              <a:gd name="connsiteX190" fmla="*/ 144961 w 590550"/>
              <a:gd name="connsiteY190" fmla="*/ 19050 h 590550"/>
              <a:gd name="connsiteX191" fmla="*/ 87811 w 590550"/>
              <a:gd name="connsiteY191" fmla="*/ 0 h 590550"/>
              <a:gd name="connsiteX192" fmla="*/ 159839 w 590550"/>
              <a:gd name="connsiteY192" fmla="*/ 0 h 590550"/>
              <a:gd name="connsiteX193" fmla="*/ 165583 w 590550"/>
              <a:gd name="connsiteY193" fmla="*/ 23003 h 590550"/>
              <a:gd name="connsiteX194" fmla="*/ 185909 w 590550"/>
              <a:gd name="connsiteY194" fmla="*/ 10801 h 590550"/>
              <a:gd name="connsiteX195" fmla="*/ 236839 w 590550"/>
              <a:gd name="connsiteY195" fmla="*/ 61722 h 590550"/>
              <a:gd name="connsiteX196" fmla="*/ 224638 w 590550"/>
              <a:gd name="connsiteY196" fmla="*/ 82067 h 590550"/>
              <a:gd name="connsiteX197" fmla="*/ 247650 w 590550"/>
              <a:gd name="connsiteY197" fmla="*/ 87811 h 590550"/>
              <a:gd name="connsiteX198" fmla="*/ 247650 w 590550"/>
              <a:gd name="connsiteY198" fmla="*/ 159839 h 590550"/>
              <a:gd name="connsiteX199" fmla="*/ 224857 w 590550"/>
              <a:gd name="connsiteY199" fmla="*/ 165535 h 590550"/>
              <a:gd name="connsiteX200" fmla="*/ 231296 w 590550"/>
              <a:gd name="connsiteY200" fmla="*/ 175774 h 590550"/>
              <a:gd name="connsiteX201" fmla="*/ 266700 w 590550"/>
              <a:gd name="connsiteY201" fmla="*/ 171450 h 590550"/>
              <a:gd name="connsiteX202" fmla="*/ 269596 w 590550"/>
              <a:gd name="connsiteY202" fmla="*/ 171536 h 590550"/>
              <a:gd name="connsiteX203" fmla="*/ 266700 w 590550"/>
              <a:gd name="connsiteY203" fmla="*/ 142875 h 590550"/>
              <a:gd name="connsiteX204" fmla="*/ 409575 w 590550"/>
              <a:gd name="connsiteY204" fmla="*/ 0 h 590550"/>
              <a:gd name="connsiteX205" fmla="*/ 552450 w 590550"/>
              <a:gd name="connsiteY205" fmla="*/ 142875 h 590550"/>
              <a:gd name="connsiteX206" fmla="*/ 413957 w 590550"/>
              <a:gd name="connsiteY206" fmla="*/ 285531 h 590550"/>
              <a:gd name="connsiteX207" fmla="*/ 418109 w 590550"/>
              <a:gd name="connsiteY207" fmla="*/ 307915 h 590550"/>
              <a:gd name="connsiteX208" fmla="*/ 447675 w 590550"/>
              <a:gd name="connsiteY208" fmla="*/ 304800 h 590550"/>
              <a:gd name="connsiteX209" fmla="*/ 590550 w 590550"/>
              <a:gd name="connsiteY209" fmla="*/ 447675 h 590550"/>
              <a:gd name="connsiteX210" fmla="*/ 447675 w 590550"/>
              <a:gd name="connsiteY210" fmla="*/ 590550 h 590550"/>
              <a:gd name="connsiteX211" fmla="*/ 306829 w 590550"/>
              <a:gd name="connsiteY211" fmla="*/ 470697 h 590550"/>
              <a:gd name="connsiteX212" fmla="*/ 266700 w 590550"/>
              <a:gd name="connsiteY212" fmla="*/ 476250 h 590550"/>
              <a:gd name="connsiteX213" fmla="*/ 188004 w 590550"/>
              <a:gd name="connsiteY213" fmla="*/ 454114 h 590550"/>
              <a:gd name="connsiteX214" fmla="*/ 165868 w 590550"/>
              <a:gd name="connsiteY214" fmla="*/ 476250 h 590550"/>
              <a:gd name="connsiteX215" fmla="*/ 175393 w 590550"/>
              <a:gd name="connsiteY215" fmla="*/ 485775 h 590550"/>
              <a:gd name="connsiteX216" fmla="*/ 85249 w 590550"/>
              <a:gd name="connsiteY216" fmla="*/ 575929 h 590550"/>
              <a:gd name="connsiteX217" fmla="*/ 49940 w 590550"/>
              <a:gd name="connsiteY217" fmla="*/ 590550 h 590550"/>
              <a:gd name="connsiteX218" fmla="*/ 0 w 590550"/>
              <a:gd name="connsiteY218" fmla="*/ 540620 h 590550"/>
              <a:gd name="connsiteX219" fmla="*/ 14630 w 590550"/>
              <a:gd name="connsiteY219" fmla="*/ 505301 h 590550"/>
              <a:gd name="connsiteX220" fmla="*/ 104775 w 590550"/>
              <a:gd name="connsiteY220" fmla="*/ 415157 h 590550"/>
              <a:gd name="connsiteX221" fmla="*/ 114300 w 590550"/>
              <a:gd name="connsiteY221" fmla="*/ 424682 h 590550"/>
              <a:gd name="connsiteX222" fmla="*/ 136436 w 590550"/>
              <a:gd name="connsiteY222" fmla="*/ 402536 h 590550"/>
              <a:gd name="connsiteX223" fmla="*/ 114300 w 590550"/>
              <a:gd name="connsiteY223" fmla="*/ 323850 h 590550"/>
              <a:gd name="connsiteX224" fmla="*/ 134922 w 590550"/>
              <a:gd name="connsiteY224" fmla="*/ 247650 h 590550"/>
              <a:gd name="connsiteX225" fmla="*/ 87811 w 590550"/>
              <a:gd name="connsiteY225" fmla="*/ 247650 h 590550"/>
              <a:gd name="connsiteX226" fmla="*/ 82058 w 590550"/>
              <a:gd name="connsiteY226" fmla="*/ 224647 h 590550"/>
              <a:gd name="connsiteX227" fmla="*/ 61732 w 590550"/>
              <a:gd name="connsiteY227" fmla="*/ 236849 h 590550"/>
              <a:gd name="connsiteX228" fmla="*/ 10801 w 590550"/>
              <a:gd name="connsiteY228" fmla="*/ 185928 h 590550"/>
              <a:gd name="connsiteX229" fmla="*/ 23012 w 590550"/>
              <a:gd name="connsiteY229" fmla="*/ 165583 h 590550"/>
              <a:gd name="connsiteX230" fmla="*/ 0 w 590550"/>
              <a:gd name="connsiteY230" fmla="*/ 159839 h 590550"/>
              <a:gd name="connsiteX231" fmla="*/ 0 w 590550"/>
              <a:gd name="connsiteY231" fmla="*/ 87811 h 590550"/>
              <a:gd name="connsiteX232" fmla="*/ 23003 w 590550"/>
              <a:gd name="connsiteY232" fmla="*/ 82067 h 590550"/>
              <a:gd name="connsiteX233" fmla="*/ 10801 w 590550"/>
              <a:gd name="connsiteY233" fmla="*/ 61722 h 590550"/>
              <a:gd name="connsiteX234" fmla="*/ 61732 w 590550"/>
              <a:gd name="connsiteY234" fmla="*/ 10811 h 590550"/>
              <a:gd name="connsiteX235" fmla="*/ 82067 w 590550"/>
              <a:gd name="connsiteY235" fmla="*/ 2301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0550" h="590550">
                <a:moveTo>
                  <a:pt x="53679" y="523399"/>
                </a:moveTo>
                <a:lnTo>
                  <a:pt x="67150" y="536870"/>
                </a:lnTo>
                <a:lnTo>
                  <a:pt x="54359" y="549660"/>
                </a:lnTo>
                <a:lnTo>
                  <a:pt x="40889" y="536190"/>
                </a:lnTo>
                <a:close/>
                <a:moveTo>
                  <a:pt x="80615" y="496450"/>
                </a:moveTo>
                <a:lnTo>
                  <a:pt x="94086" y="509921"/>
                </a:lnTo>
                <a:lnTo>
                  <a:pt x="80615" y="523391"/>
                </a:lnTo>
                <a:lnTo>
                  <a:pt x="67145" y="509921"/>
                </a:lnTo>
                <a:close/>
                <a:moveTo>
                  <a:pt x="107561" y="469510"/>
                </a:moveTo>
                <a:lnTo>
                  <a:pt x="121032" y="482981"/>
                </a:lnTo>
                <a:lnTo>
                  <a:pt x="107561" y="496451"/>
                </a:lnTo>
                <a:lnTo>
                  <a:pt x="94091" y="482981"/>
                </a:lnTo>
                <a:close/>
                <a:moveTo>
                  <a:pt x="499605" y="463886"/>
                </a:moveTo>
                <a:cubicBezTo>
                  <a:pt x="494309" y="470401"/>
                  <a:pt x="488651" y="476755"/>
                  <a:pt x="482698" y="482708"/>
                </a:cubicBezTo>
                <a:cubicBezTo>
                  <a:pt x="476735" y="488661"/>
                  <a:pt x="470363" y="494290"/>
                  <a:pt x="463838" y="499586"/>
                </a:cubicBezTo>
                <a:cubicBezTo>
                  <a:pt x="487165" y="514035"/>
                  <a:pt x="505834" y="517541"/>
                  <a:pt x="511673" y="511673"/>
                </a:cubicBezTo>
                <a:cubicBezTo>
                  <a:pt x="517512" y="505825"/>
                  <a:pt x="514025" y="487184"/>
                  <a:pt x="499605" y="463886"/>
                </a:cubicBezTo>
                <a:close/>
                <a:moveTo>
                  <a:pt x="395734" y="463886"/>
                </a:moveTo>
                <a:cubicBezTo>
                  <a:pt x="381314" y="487184"/>
                  <a:pt x="377837" y="505834"/>
                  <a:pt x="383676" y="511673"/>
                </a:cubicBezTo>
                <a:cubicBezTo>
                  <a:pt x="389524" y="517503"/>
                  <a:pt x="408184" y="514016"/>
                  <a:pt x="431491" y="499586"/>
                </a:cubicBezTo>
                <a:cubicBezTo>
                  <a:pt x="424976" y="494290"/>
                  <a:pt x="418604" y="488670"/>
                  <a:pt x="412641" y="482708"/>
                </a:cubicBezTo>
                <a:cubicBezTo>
                  <a:pt x="406688" y="476755"/>
                  <a:pt x="401030" y="470401"/>
                  <a:pt x="395734" y="463886"/>
                </a:cubicBezTo>
                <a:close/>
                <a:moveTo>
                  <a:pt x="104775" y="442093"/>
                </a:moveTo>
                <a:lnTo>
                  <a:pt x="28099" y="518779"/>
                </a:lnTo>
                <a:cubicBezTo>
                  <a:pt x="22260" y="524608"/>
                  <a:pt x="19050" y="532362"/>
                  <a:pt x="19050" y="540620"/>
                </a:cubicBezTo>
                <a:cubicBezTo>
                  <a:pt x="19050" y="557651"/>
                  <a:pt x="32909" y="571500"/>
                  <a:pt x="49940" y="571500"/>
                </a:cubicBezTo>
                <a:cubicBezTo>
                  <a:pt x="58179" y="571500"/>
                  <a:pt x="65942" y="568290"/>
                  <a:pt x="71780" y="562451"/>
                </a:cubicBezTo>
                <a:lnTo>
                  <a:pt x="148457" y="485775"/>
                </a:lnTo>
                <a:close/>
                <a:moveTo>
                  <a:pt x="447675" y="438150"/>
                </a:moveTo>
                <a:cubicBezTo>
                  <a:pt x="452936" y="438150"/>
                  <a:pt x="457200" y="442414"/>
                  <a:pt x="457200" y="447675"/>
                </a:cubicBezTo>
                <a:cubicBezTo>
                  <a:pt x="457200" y="452936"/>
                  <a:pt x="452936" y="457200"/>
                  <a:pt x="447675" y="457200"/>
                </a:cubicBezTo>
                <a:cubicBezTo>
                  <a:pt x="442414" y="457200"/>
                  <a:pt x="438150" y="452936"/>
                  <a:pt x="438150" y="447675"/>
                </a:cubicBezTo>
                <a:cubicBezTo>
                  <a:pt x="438150" y="442414"/>
                  <a:pt x="442414" y="438150"/>
                  <a:pt x="447675" y="438150"/>
                </a:cubicBezTo>
                <a:close/>
                <a:moveTo>
                  <a:pt x="147447" y="418471"/>
                </a:moveTo>
                <a:lnTo>
                  <a:pt x="127768" y="438150"/>
                </a:lnTo>
                <a:lnTo>
                  <a:pt x="152400" y="462782"/>
                </a:lnTo>
                <a:lnTo>
                  <a:pt x="172079" y="443103"/>
                </a:lnTo>
                <a:cubicBezTo>
                  <a:pt x="162954" y="435854"/>
                  <a:pt x="154696" y="427596"/>
                  <a:pt x="147447" y="418471"/>
                </a:cubicBezTo>
                <a:close/>
                <a:moveTo>
                  <a:pt x="447674" y="407079"/>
                </a:moveTo>
                <a:cubicBezTo>
                  <a:pt x="440654" y="412537"/>
                  <a:pt x="433415" y="418814"/>
                  <a:pt x="426119" y="426110"/>
                </a:cubicBezTo>
                <a:cubicBezTo>
                  <a:pt x="418823" y="433406"/>
                  <a:pt x="412470" y="440655"/>
                  <a:pt x="407012" y="447675"/>
                </a:cubicBezTo>
                <a:cubicBezTo>
                  <a:pt x="412470" y="454695"/>
                  <a:pt x="418823" y="461943"/>
                  <a:pt x="426119" y="469239"/>
                </a:cubicBezTo>
                <a:cubicBezTo>
                  <a:pt x="433415" y="476526"/>
                  <a:pt x="440654" y="482879"/>
                  <a:pt x="447674" y="488337"/>
                </a:cubicBezTo>
                <a:cubicBezTo>
                  <a:pt x="454694" y="482879"/>
                  <a:pt x="461933" y="476536"/>
                  <a:pt x="469229" y="469239"/>
                </a:cubicBezTo>
                <a:cubicBezTo>
                  <a:pt x="476525" y="461943"/>
                  <a:pt x="482879" y="454695"/>
                  <a:pt x="488337" y="447675"/>
                </a:cubicBezTo>
                <a:cubicBezTo>
                  <a:pt x="482879" y="440655"/>
                  <a:pt x="476525" y="433406"/>
                  <a:pt x="469229" y="426110"/>
                </a:cubicBezTo>
                <a:cubicBezTo>
                  <a:pt x="461933" y="418814"/>
                  <a:pt x="454694" y="412537"/>
                  <a:pt x="447674" y="407079"/>
                </a:cubicBezTo>
                <a:close/>
                <a:moveTo>
                  <a:pt x="502929" y="380962"/>
                </a:moveTo>
                <a:cubicBezTo>
                  <a:pt x="493994" y="380962"/>
                  <a:pt x="480059" y="385829"/>
                  <a:pt x="463943" y="395783"/>
                </a:cubicBezTo>
                <a:cubicBezTo>
                  <a:pt x="470439" y="401059"/>
                  <a:pt x="476773" y="406708"/>
                  <a:pt x="482707" y="412642"/>
                </a:cubicBezTo>
                <a:cubicBezTo>
                  <a:pt x="488660" y="418595"/>
                  <a:pt x="494318" y="424948"/>
                  <a:pt x="499614" y="431463"/>
                </a:cubicBezTo>
                <a:cubicBezTo>
                  <a:pt x="514025" y="408165"/>
                  <a:pt x="517512" y="389525"/>
                  <a:pt x="511673" y="383676"/>
                </a:cubicBezTo>
                <a:cubicBezTo>
                  <a:pt x="509882" y="381895"/>
                  <a:pt x="506891" y="380962"/>
                  <a:pt x="502929" y="380962"/>
                </a:cubicBezTo>
                <a:close/>
                <a:moveTo>
                  <a:pt x="392420" y="380962"/>
                </a:moveTo>
                <a:cubicBezTo>
                  <a:pt x="388457" y="380962"/>
                  <a:pt x="385467" y="381886"/>
                  <a:pt x="383676" y="383676"/>
                </a:cubicBezTo>
                <a:cubicBezTo>
                  <a:pt x="377837" y="389525"/>
                  <a:pt x="381323" y="408165"/>
                  <a:pt x="395734" y="431463"/>
                </a:cubicBezTo>
                <a:cubicBezTo>
                  <a:pt x="401030" y="424948"/>
                  <a:pt x="406688" y="418595"/>
                  <a:pt x="412641" y="412642"/>
                </a:cubicBezTo>
                <a:cubicBezTo>
                  <a:pt x="418585" y="406708"/>
                  <a:pt x="424910" y="401069"/>
                  <a:pt x="431406" y="395783"/>
                </a:cubicBezTo>
                <a:cubicBezTo>
                  <a:pt x="415299" y="385829"/>
                  <a:pt x="401354" y="380962"/>
                  <a:pt x="392420" y="380962"/>
                </a:cubicBezTo>
                <a:close/>
                <a:moveTo>
                  <a:pt x="510436" y="362623"/>
                </a:moveTo>
                <a:cubicBezTo>
                  <a:pt x="516104" y="363704"/>
                  <a:pt x="521088" y="366155"/>
                  <a:pt x="525141" y="370208"/>
                </a:cubicBezTo>
                <a:cubicBezTo>
                  <a:pt x="541334" y="386410"/>
                  <a:pt x="531932" y="417528"/>
                  <a:pt x="511644" y="447675"/>
                </a:cubicBezTo>
                <a:cubicBezTo>
                  <a:pt x="531932" y="477821"/>
                  <a:pt x="541343" y="508940"/>
                  <a:pt x="525141" y="525142"/>
                </a:cubicBezTo>
                <a:cubicBezTo>
                  <a:pt x="519426" y="530847"/>
                  <a:pt x="511863" y="533390"/>
                  <a:pt x="503138" y="533390"/>
                </a:cubicBezTo>
                <a:cubicBezTo>
                  <a:pt x="487117" y="533390"/>
                  <a:pt x="467191" y="524799"/>
                  <a:pt x="447674" y="511664"/>
                </a:cubicBezTo>
                <a:cubicBezTo>
                  <a:pt x="428158" y="524799"/>
                  <a:pt x="408231" y="533390"/>
                  <a:pt x="392210" y="533390"/>
                </a:cubicBezTo>
                <a:cubicBezTo>
                  <a:pt x="383485" y="533390"/>
                  <a:pt x="375922" y="530857"/>
                  <a:pt x="370207" y="525142"/>
                </a:cubicBezTo>
                <a:cubicBezTo>
                  <a:pt x="354005" y="508940"/>
                  <a:pt x="363416" y="477821"/>
                  <a:pt x="383704" y="447675"/>
                </a:cubicBezTo>
                <a:cubicBezTo>
                  <a:pt x="363416" y="417528"/>
                  <a:pt x="354005" y="386410"/>
                  <a:pt x="370207" y="370208"/>
                </a:cubicBezTo>
                <a:cubicBezTo>
                  <a:pt x="386409" y="354006"/>
                  <a:pt x="417537" y="363417"/>
                  <a:pt x="447674" y="383705"/>
                </a:cubicBezTo>
                <a:cubicBezTo>
                  <a:pt x="470277" y="368482"/>
                  <a:pt x="493432" y="359382"/>
                  <a:pt x="510436" y="362623"/>
                </a:cubicBezTo>
                <a:close/>
                <a:moveTo>
                  <a:pt x="447675" y="323850"/>
                </a:moveTo>
                <a:cubicBezTo>
                  <a:pt x="379400" y="323850"/>
                  <a:pt x="323850" y="379400"/>
                  <a:pt x="323850" y="447675"/>
                </a:cubicBezTo>
                <a:cubicBezTo>
                  <a:pt x="323850" y="515950"/>
                  <a:pt x="379400" y="571500"/>
                  <a:pt x="447675" y="571500"/>
                </a:cubicBezTo>
                <a:cubicBezTo>
                  <a:pt x="515950" y="571500"/>
                  <a:pt x="571500" y="515950"/>
                  <a:pt x="571500" y="447675"/>
                </a:cubicBezTo>
                <a:cubicBezTo>
                  <a:pt x="571500" y="379400"/>
                  <a:pt x="515950" y="323850"/>
                  <a:pt x="447675" y="323850"/>
                </a:cubicBezTo>
                <a:close/>
                <a:moveTo>
                  <a:pt x="304800" y="314325"/>
                </a:moveTo>
                <a:lnTo>
                  <a:pt x="323850" y="314325"/>
                </a:lnTo>
                <a:lnTo>
                  <a:pt x="323850" y="333375"/>
                </a:lnTo>
                <a:lnTo>
                  <a:pt x="304800" y="333375"/>
                </a:lnTo>
                <a:close/>
                <a:moveTo>
                  <a:pt x="266700" y="314325"/>
                </a:moveTo>
                <a:lnTo>
                  <a:pt x="285750" y="314325"/>
                </a:lnTo>
                <a:lnTo>
                  <a:pt x="285750" y="333375"/>
                </a:lnTo>
                <a:lnTo>
                  <a:pt x="266700" y="333375"/>
                </a:lnTo>
                <a:close/>
                <a:moveTo>
                  <a:pt x="228600" y="314325"/>
                </a:moveTo>
                <a:lnTo>
                  <a:pt x="247650" y="314325"/>
                </a:lnTo>
                <a:lnTo>
                  <a:pt x="247650" y="333375"/>
                </a:lnTo>
                <a:lnTo>
                  <a:pt x="228600" y="333375"/>
                </a:lnTo>
                <a:close/>
                <a:moveTo>
                  <a:pt x="190500" y="314325"/>
                </a:moveTo>
                <a:lnTo>
                  <a:pt x="209550" y="314325"/>
                </a:lnTo>
                <a:lnTo>
                  <a:pt x="209550" y="333375"/>
                </a:lnTo>
                <a:lnTo>
                  <a:pt x="190500" y="333375"/>
                </a:lnTo>
                <a:close/>
                <a:moveTo>
                  <a:pt x="372513" y="280702"/>
                </a:moveTo>
                <a:cubicBezTo>
                  <a:pt x="377809" y="293580"/>
                  <a:pt x="380609" y="307343"/>
                  <a:pt x="380905" y="321450"/>
                </a:cubicBezTo>
                <a:cubicBezTo>
                  <a:pt x="386820" y="318306"/>
                  <a:pt x="393030" y="315668"/>
                  <a:pt x="399393" y="313373"/>
                </a:cubicBezTo>
                <a:cubicBezTo>
                  <a:pt x="398621" y="303762"/>
                  <a:pt x="396783" y="294218"/>
                  <a:pt x="393897" y="284845"/>
                </a:cubicBezTo>
                <a:cubicBezTo>
                  <a:pt x="386572" y="284036"/>
                  <a:pt x="379466" y="282569"/>
                  <a:pt x="372513" y="280702"/>
                </a:cubicBezTo>
                <a:close/>
                <a:moveTo>
                  <a:pt x="266700" y="228600"/>
                </a:moveTo>
                <a:cubicBezTo>
                  <a:pt x="214179" y="228600"/>
                  <a:pt x="171450" y="271329"/>
                  <a:pt x="171450" y="323850"/>
                </a:cubicBezTo>
                <a:cubicBezTo>
                  <a:pt x="171450" y="376371"/>
                  <a:pt x="214179" y="419100"/>
                  <a:pt x="266700" y="419100"/>
                </a:cubicBezTo>
                <a:cubicBezTo>
                  <a:pt x="281921" y="419100"/>
                  <a:pt x="296932" y="415233"/>
                  <a:pt x="310477" y="408184"/>
                </a:cubicBezTo>
                <a:cubicBezTo>
                  <a:pt x="319078" y="378343"/>
                  <a:pt x="337147" y="352568"/>
                  <a:pt x="361226" y="334185"/>
                </a:cubicBezTo>
                <a:cubicBezTo>
                  <a:pt x="361664" y="330479"/>
                  <a:pt x="361950" y="327041"/>
                  <a:pt x="361950" y="323850"/>
                </a:cubicBezTo>
                <a:cubicBezTo>
                  <a:pt x="361950" y="304657"/>
                  <a:pt x="356168" y="286207"/>
                  <a:pt x="345300" y="270300"/>
                </a:cubicBezTo>
                <a:cubicBezTo>
                  <a:pt x="328070" y="261576"/>
                  <a:pt x="312811" y="249536"/>
                  <a:pt x="300457" y="234906"/>
                </a:cubicBezTo>
                <a:cubicBezTo>
                  <a:pt x="289598" y="230772"/>
                  <a:pt x="278263" y="228600"/>
                  <a:pt x="266700" y="228600"/>
                </a:cubicBezTo>
                <a:close/>
                <a:moveTo>
                  <a:pt x="266700" y="190500"/>
                </a:moveTo>
                <a:cubicBezTo>
                  <a:pt x="193167" y="190500"/>
                  <a:pt x="133350" y="250317"/>
                  <a:pt x="133350" y="323850"/>
                </a:cubicBezTo>
                <a:cubicBezTo>
                  <a:pt x="133350" y="397383"/>
                  <a:pt x="193167" y="457200"/>
                  <a:pt x="266700" y="457200"/>
                </a:cubicBezTo>
                <a:cubicBezTo>
                  <a:pt x="279559" y="457200"/>
                  <a:pt x="292398" y="455152"/>
                  <a:pt x="304981" y="451333"/>
                </a:cubicBezTo>
                <a:cubicBezTo>
                  <a:pt x="304952" y="450104"/>
                  <a:pt x="304800" y="448913"/>
                  <a:pt x="304800" y="447675"/>
                </a:cubicBezTo>
                <a:cubicBezTo>
                  <a:pt x="304800" y="442017"/>
                  <a:pt x="305219" y="436455"/>
                  <a:pt x="305867" y="430968"/>
                </a:cubicBezTo>
                <a:cubicBezTo>
                  <a:pt x="293322" y="435569"/>
                  <a:pt x="280092" y="438150"/>
                  <a:pt x="266700" y="438150"/>
                </a:cubicBezTo>
                <a:cubicBezTo>
                  <a:pt x="203673" y="438150"/>
                  <a:pt x="152400" y="386877"/>
                  <a:pt x="152400" y="323850"/>
                </a:cubicBezTo>
                <a:cubicBezTo>
                  <a:pt x="152400" y="260823"/>
                  <a:pt x="203673" y="209550"/>
                  <a:pt x="266700" y="209550"/>
                </a:cubicBezTo>
                <a:cubicBezTo>
                  <a:pt x="272539" y="209550"/>
                  <a:pt x="278301" y="210122"/>
                  <a:pt x="284016" y="211007"/>
                </a:cubicBezTo>
                <a:cubicBezTo>
                  <a:pt x="280540" y="204626"/>
                  <a:pt x="277692" y="197891"/>
                  <a:pt x="275206" y="190976"/>
                </a:cubicBezTo>
                <a:cubicBezTo>
                  <a:pt x="272358" y="190786"/>
                  <a:pt x="269424" y="190500"/>
                  <a:pt x="266700" y="190500"/>
                </a:cubicBezTo>
                <a:close/>
                <a:moveTo>
                  <a:pt x="381000" y="142875"/>
                </a:moveTo>
                <a:lnTo>
                  <a:pt x="381000" y="200025"/>
                </a:lnTo>
                <a:lnTo>
                  <a:pt x="400050" y="200025"/>
                </a:lnTo>
                <a:lnTo>
                  <a:pt x="400050" y="142875"/>
                </a:lnTo>
                <a:close/>
                <a:moveTo>
                  <a:pt x="419100" y="123825"/>
                </a:moveTo>
                <a:lnTo>
                  <a:pt x="419100" y="200025"/>
                </a:lnTo>
                <a:lnTo>
                  <a:pt x="438150" y="200025"/>
                </a:lnTo>
                <a:lnTo>
                  <a:pt x="438150" y="123825"/>
                </a:lnTo>
                <a:close/>
                <a:moveTo>
                  <a:pt x="342900" y="104775"/>
                </a:moveTo>
                <a:lnTo>
                  <a:pt x="342900" y="200025"/>
                </a:lnTo>
                <a:lnTo>
                  <a:pt x="361950" y="200025"/>
                </a:lnTo>
                <a:lnTo>
                  <a:pt x="361950" y="104775"/>
                </a:lnTo>
                <a:close/>
                <a:moveTo>
                  <a:pt x="457200" y="85725"/>
                </a:moveTo>
                <a:lnTo>
                  <a:pt x="457200" y="200025"/>
                </a:lnTo>
                <a:lnTo>
                  <a:pt x="476250" y="200025"/>
                </a:lnTo>
                <a:lnTo>
                  <a:pt x="476250" y="85725"/>
                </a:lnTo>
                <a:close/>
                <a:moveTo>
                  <a:pt x="123825" y="76200"/>
                </a:moveTo>
                <a:cubicBezTo>
                  <a:pt x="97565" y="76200"/>
                  <a:pt x="76200" y="97565"/>
                  <a:pt x="76200" y="123825"/>
                </a:cubicBezTo>
                <a:cubicBezTo>
                  <a:pt x="76200" y="150085"/>
                  <a:pt x="97565" y="171450"/>
                  <a:pt x="123825" y="171450"/>
                </a:cubicBezTo>
                <a:cubicBezTo>
                  <a:pt x="150085" y="171450"/>
                  <a:pt x="171450" y="150085"/>
                  <a:pt x="171450" y="123825"/>
                </a:cubicBezTo>
                <a:cubicBezTo>
                  <a:pt x="171450" y="97565"/>
                  <a:pt x="150085" y="76200"/>
                  <a:pt x="123825" y="76200"/>
                </a:cubicBezTo>
                <a:close/>
                <a:moveTo>
                  <a:pt x="438150" y="66675"/>
                </a:moveTo>
                <a:lnTo>
                  <a:pt x="495300" y="66675"/>
                </a:lnTo>
                <a:lnTo>
                  <a:pt x="495300" y="219075"/>
                </a:lnTo>
                <a:lnTo>
                  <a:pt x="323850" y="219075"/>
                </a:lnTo>
                <a:lnTo>
                  <a:pt x="323850" y="85725"/>
                </a:lnTo>
                <a:lnTo>
                  <a:pt x="381000" y="85725"/>
                </a:lnTo>
                <a:lnTo>
                  <a:pt x="381000" y="123825"/>
                </a:lnTo>
                <a:lnTo>
                  <a:pt x="400050" y="123825"/>
                </a:lnTo>
                <a:lnTo>
                  <a:pt x="400050" y="104775"/>
                </a:lnTo>
                <a:lnTo>
                  <a:pt x="438150" y="104775"/>
                </a:lnTo>
                <a:close/>
                <a:moveTo>
                  <a:pt x="123825" y="57150"/>
                </a:moveTo>
                <a:cubicBezTo>
                  <a:pt x="160592" y="57150"/>
                  <a:pt x="190500" y="87068"/>
                  <a:pt x="190500" y="123825"/>
                </a:cubicBezTo>
                <a:cubicBezTo>
                  <a:pt x="190500" y="160582"/>
                  <a:pt x="160592" y="190500"/>
                  <a:pt x="123825" y="190500"/>
                </a:cubicBezTo>
                <a:cubicBezTo>
                  <a:pt x="87059" y="190500"/>
                  <a:pt x="57150" y="160582"/>
                  <a:pt x="57150" y="123825"/>
                </a:cubicBezTo>
                <a:cubicBezTo>
                  <a:pt x="57150" y="87068"/>
                  <a:pt x="87059" y="57150"/>
                  <a:pt x="123825" y="57150"/>
                </a:cubicBezTo>
                <a:close/>
                <a:moveTo>
                  <a:pt x="409575" y="19050"/>
                </a:moveTo>
                <a:cubicBezTo>
                  <a:pt x="341300" y="19050"/>
                  <a:pt x="285750" y="74600"/>
                  <a:pt x="285750" y="142875"/>
                </a:cubicBezTo>
                <a:cubicBezTo>
                  <a:pt x="285750" y="211150"/>
                  <a:pt x="341300" y="266700"/>
                  <a:pt x="409575" y="266700"/>
                </a:cubicBezTo>
                <a:cubicBezTo>
                  <a:pt x="477850" y="266700"/>
                  <a:pt x="533400" y="211150"/>
                  <a:pt x="533400" y="142875"/>
                </a:cubicBezTo>
                <a:cubicBezTo>
                  <a:pt x="533400" y="74600"/>
                  <a:pt x="477850" y="19050"/>
                  <a:pt x="409575" y="19050"/>
                </a:cubicBezTo>
                <a:close/>
                <a:moveTo>
                  <a:pt x="102689" y="19050"/>
                </a:moveTo>
                <a:lnTo>
                  <a:pt x="96860" y="42405"/>
                </a:lnTo>
                <a:lnTo>
                  <a:pt x="85239" y="47130"/>
                </a:lnTo>
                <a:lnTo>
                  <a:pt x="64684" y="34785"/>
                </a:lnTo>
                <a:lnTo>
                  <a:pt x="34795" y="64684"/>
                </a:lnTo>
                <a:lnTo>
                  <a:pt x="47139" y="85249"/>
                </a:lnTo>
                <a:lnTo>
                  <a:pt x="42348" y="96869"/>
                </a:lnTo>
                <a:lnTo>
                  <a:pt x="19050" y="102689"/>
                </a:lnTo>
                <a:lnTo>
                  <a:pt x="19050" y="144961"/>
                </a:lnTo>
                <a:lnTo>
                  <a:pt x="42377" y="150781"/>
                </a:lnTo>
                <a:lnTo>
                  <a:pt x="47139" y="162401"/>
                </a:lnTo>
                <a:lnTo>
                  <a:pt x="34795" y="182966"/>
                </a:lnTo>
                <a:lnTo>
                  <a:pt x="64684" y="212865"/>
                </a:lnTo>
                <a:lnTo>
                  <a:pt x="85239" y="200520"/>
                </a:lnTo>
                <a:lnTo>
                  <a:pt x="96117" y="204940"/>
                </a:lnTo>
                <a:lnTo>
                  <a:pt x="98050" y="210036"/>
                </a:lnTo>
                <a:lnTo>
                  <a:pt x="102689" y="228600"/>
                </a:lnTo>
                <a:lnTo>
                  <a:pt x="147923" y="228600"/>
                </a:lnTo>
                <a:cubicBezTo>
                  <a:pt x="164744" y="207674"/>
                  <a:pt x="186976" y="191357"/>
                  <a:pt x="212455" y="181594"/>
                </a:cubicBezTo>
                <a:lnTo>
                  <a:pt x="200454" y="162506"/>
                </a:lnTo>
                <a:lnTo>
                  <a:pt x="204949" y="151552"/>
                </a:lnTo>
                <a:lnTo>
                  <a:pt x="210036" y="149600"/>
                </a:lnTo>
                <a:lnTo>
                  <a:pt x="228600" y="144961"/>
                </a:lnTo>
                <a:lnTo>
                  <a:pt x="228600" y="102689"/>
                </a:lnTo>
                <a:lnTo>
                  <a:pt x="205302" y="96869"/>
                </a:lnTo>
                <a:lnTo>
                  <a:pt x="200511" y="85249"/>
                </a:lnTo>
                <a:lnTo>
                  <a:pt x="212855" y="64684"/>
                </a:lnTo>
                <a:lnTo>
                  <a:pt x="182966" y="34785"/>
                </a:lnTo>
                <a:lnTo>
                  <a:pt x="162411" y="47130"/>
                </a:lnTo>
                <a:lnTo>
                  <a:pt x="151533" y="42710"/>
                </a:lnTo>
                <a:lnTo>
                  <a:pt x="149600" y="37614"/>
                </a:lnTo>
                <a:lnTo>
                  <a:pt x="144961" y="19050"/>
                </a:lnTo>
                <a:close/>
                <a:moveTo>
                  <a:pt x="87811" y="0"/>
                </a:moveTo>
                <a:lnTo>
                  <a:pt x="159839" y="0"/>
                </a:lnTo>
                <a:lnTo>
                  <a:pt x="165583" y="23003"/>
                </a:lnTo>
                <a:lnTo>
                  <a:pt x="185909" y="10801"/>
                </a:lnTo>
                <a:lnTo>
                  <a:pt x="236839" y="61722"/>
                </a:lnTo>
                <a:lnTo>
                  <a:pt x="224638" y="82067"/>
                </a:lnTo>
                <a:lnTo>
                  <a:pt x="247650" y="87811"/>
                </a:lnTo>
                <a:lnTo>
                  <a:pt x="247650" y="159839"/>
                </a:lnTo>
                <a:lnTo>
                  <a:pt x="224857" y="165535"/>
                </a:lnTo>
                <a:lnTo>
                  <a:pt x="231296" y="175774"/>
                </a:lnTo>
                <a:cubicBezTo>
                  <a:pt x="242678" y="173050"/>
                  <a:pt x="254498" y="171450"/>
                  <a:pt x="266700" y="171450"/>
                </a:cubicBezTo>
                <a:cubicBezTo>
                  <a:pt x="267653" y="171450"/>
                  <a:pt x="268634" y="171517"/>
                  <a:pt x="269596" y="171536"/>
                </a:cubicBezTo>
                <a:cubicBezTo>
                  <a:pt x="267700" y="162268"/>
                  <a:pt x="266700" y="152686"/>
                  <a:pt x="266700" y="142875"/>
                </a:cubicBezTo>
                <a:cubicBezTo>
                  <a:pt x="266700" y="64094"/>
                  <a:pt x="330794" y="0"/>
                  <a:pt x="409575" y="0"/>
                </a:cubicBezTo>
                <a:cubicBezTo>
                  <a:pt x="488356" y="0"/>
                  <a:pt x="552450" y="64094"/>
                  <a:pt x="552450" y="142875"/>
                </a:cubicBezTo>
                <a:cubicBezTo>
                  <a:pt x="552450" y="220180"/>
                  <a:pt x="490699" y="283188"/>
                  <a:pt x="413957" y="285531"/>
                </a:cubicBezTo>
                <a:cubicBezTo>
                  <a:pt x="415890" y="292922"/>
                  <a:pt x="417309" y="300390"/>
                  <a:pt x="418109" y="307915"/>
                </a:cubicBezTo>
                <a:cubicBezTo>
                  <a:pt x="427653" y="305895"/>
                  <a:pt x="437540" y="304800"/>
                  <a:pt x="447675" y="304800"/>
                </a:cubicBezTo>
                <a:cubicBezTo>
                  <a:pt x="526456" y="304800"/>
                  <a:pt x="590550" y="368894"/>
                  <a:pt x="590550" y="447675"/>
                </a:cubicBezTo>
                <a:cubicBezTo>
                  <a:pt x="590550" y="526456"/>
                  <a:pt x="526456" y="590550"/>
                  <a:pt x="447675" y="590550"/>
                </a:cubicBezTo>
                <a:cubicBezTo>
                  <a:pt x="376752" y="590550"/>
                  <a:pt x="317897" y="538544"/>
                  <a:pt x="306829" y="470697"/>
                </a:cubicBezTo>
                <a:cubicBezTo>
                  <a:pt x="293627" y="474345"/>
                  <a:pt x="280178" y="476250"/>
                  <a:pt x="266700" y="476250"/>
                </a:cubicBezTo>
                <a:cubicBezTo>
                  <a:pt x="237887" y="476250"/>
                  <a:pt x="211007" y="468068"/>
                  <a:pt x="188004" y="454114"/>
                </a:cubicBezTo>
                <a:lnTo>
                  <a:pt x="165868" y="476250"/>
                </a:lnTo>
                <a:lnTo>
                  <a:pt x="175393" y="485775"/>
                </a:lnTo>
                <a:lnTo>
                  <a:pt x="85249" y="575929"/>
                </a:lnTo>
                <a:cubicBezTo>
                  <a:pt x="75809" y="585359"/>
                  <a:pt x="63265" y="590550"/>
                  <a:pt x="49940" y="590550"/>
                </a:cubicBezTo>
                <a:cubicBezTo>
                  <a:pt x="22403" y="590550"/>
                  <a:pt x="0" y="568147"/>
                  <a:pt x="0" y="540620"/>
                </a:cubicBezTo>
                <a:cubicBezTo>
                  <a:pt x="0" y="527266"/>
                  <a:pt x="5191" y="514731"/>
                  <a:pt x="14630" y="505301"/>
                </a:cubicBezTo>
                <a:lnTo>
                  <a:pt x="104775" y="415157"/>
                </a:lnTo>
                <a:lnTo>
                  <a:pt x="114300" y="424682"/>
                </a:lnTo>
                <a:lnTo>
                  <a:pt x="136436" y="402536"/>
                </a:lnTo>
                <a:cubicBezTo>
                  <a:pt x="122482" y="379533"/>
                  <a:pt x="114300" y="352663"/>
                  <a:pt x="114300" y="323850"/>
                </a:cubicBezTo>
                <a:cubicBezTo>
                  <a:pt x="114300" y="296075"/>
                  <a:pt x="121891" y="270100"/>
                  <a:pt x="134922" y="247650"/>
                </a:cubicBezTo>
                <a:lnTo>
                  <a:pt x="87811" y="247650"/>
                </a:lnTo>
                <a:lnTo>
                  <a:pt x="82058" y="224647"/>
                </a:lnTo>
                <a:lnTo>
                  <a:pt x="61732" y="236849"/>
                </a:lnTo>
                <a:lnTo>
                  <a:pt x="10801" y="185928"/>
                </a:lnTo>
                <a:lnTo>
                  <a:pt x="23012" y="165583"/>
                </a:lnTo>
                <a:lnTo>
                  <a:pt x="0" y="159839"/>
                </a:lnTo>
                <a:lnTo>
                  <a:pt x="0" y="87811"/>
                </a:lnTo>
                <a:lnTo>
                  <a:pt x="23003" y="82067"/>
                </a:lnTo>
                <a:lnTo>
                  <a:pt x="10801" y="61722"/>
                </a:lnTo>
                <a:lnTo>
                  <a:pt x="61732" y="10811"/>
                </a:lnTo>
                <a:lnTo>
                  <a:pt x="82067" y="23012"/>
                </a:lnTo>
                <a:close/>
              </a:path>
            </a:pathLst>
          </a:custGeom>
          <a:solidFill>
            <a:schemeClr val="tx2"/>
          </a:solidFill>
          <a:ln w="9525" cap="flat">
            <a:noFill/>
            <a:prstDash val="solid"/>
            <a:miter/>
          </a:ln>
        </p:spPr>
        <p:txBody>
          <a:bodyPr rtlCol="0" anchor="ctr"/>
          <a:lstStyle/>
          <a:p>
            <a:endParaRPr lang="en-US" dirty="0"/>
          </a:p>
        </p:txBody>
      </p:sp>
      <p:sp>
        <p:nvSpPr>
          <p:cNvPr id="24" name="Rectangle 23">
            <a:extLst>
              <a:ext uri="{FF2B5EF4-FFF2-40B4-BE49-F238E27FC236}">
                <a16:creationId xmlns:a16="http://schemas.microsoft.com/office/drawing/2014/main" id="{AD89283D-1707-2626-B8F9-AF49F1A904F2}"/>
              </a:ext>
            </a:extLst>
          </p:cNvPr>
          <p:cNvSpPr>
            <a:spLocks/>
          </p:cNvSpPr>
          <p:nvPr/>
        </p:nvSpPr>
        <p:spPr>
          <a:xfrm rot="5400000">
            <a:off x="9373501" y="2617079"/>
            <a:ext cx="1032294"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43" name="Google Shape;1443;p9"/>
          <p:cNvSpPr txBox="1">
            <a:spLocks/>
          </p:cNvSpPr>
          <p:nvPr/>
        </p:nvSpPr>
        <p:spPr>
          <a:xfrm>
            <a:off x="8244841" y="3899209"/>
            <a:ext cx="2673095" cy="938719"/>
          </a:xfrm>
          <a:prstGeom prst="rect">
            <a:avLst/>
          </a:prstGeom>
          <a:noFill/>
          <a:ln>
            <a:noFill/>
          </a:ln>
        </p:spPr>
        <p:txBody>
          <a:bodyPr spcFirstLastPara="1" wrap="square" lIns="0" tIns="0" rIns="0" bIns="0" anchor="ctr" anchorCtr="0">
            <a:spAutoFit/>
          </a:bodyPr>
          <a:lstStyle/>
          <a:p>
            <a:pPr marL="0" lvl="1">
              <a:spcAft>
                <a:spcPts val="300"/>
              </a:spcAft>
              <a:buClr>
                <a:schemeClr val="accent4"/>
              </a:buClr>
              <a:buSzPts val="1400"/>
            </a:pPr>
            <a:r>
              <a:rPr lang="en-US" sz="1400" b="1" i="0" u="none" strike="noStrike" cap="none" dirty="0">
                <a:solidFill>
                  <a:schemeClr val="tx2"/>
                </a:solidFill>
                <a:latin typeface="Calibri"/>
                <a:ea typeface="Calibri"/>
                <a:cs typeface="Calibri"/>
                <a:sym typeface="Calibri"/>
              </a:rPr>
              <a:t>Strategic watch</a:t>
            </a:r>
            <a:endParaRPr lang="en-US" sz="1200" b="0" i="0" u="none" strike="noStrike" cap="none" dirty="0">
              <a:solidFill>
                <a:schemeClr val="tx2"/>
              </a:solidFill>
              <a:latin typeface="Calibri"/>
              <a:ea typeface="Calibri"/>
              <a:cs typeface="Calibri"/>
              <a:sym typeface="Calibri"/>
            </a:endParaRPr>
          </a:p>
          <a:p>
            <a:pPr marL="0" marR="0" lvl="1" indent="0" algn="l" rtl="0">
              <a:spcBef>
                <a:spcPts val="0"/>
              </a:spcBef>
              <a:spcAft>
                <a:spcPts val="30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Preparing </a:t>
            </a:r>
            <a:r>
              <a:rPr lang="en-US" sz="1400" b="1" i="0" u="none" strike="noStrike" cap="none" dirty="0">
                <a:solidFill>
                  <a:srgbClr val="3D3D3D"/>
                </a:solidFill>
                <a:latin typeface="Calibri"/>
                <a:ea typeface="Calibri"/>
                <a:cs typeface="Calibri"/>
                <a:sym typeface="Calibri"/>
              </a:rPr>
              <a:t>newsletters</a:t>
            </a:r>
            <a:r>
              <a:rPr lang="en-US" sz="1400" b="0" i="0" u="none" strike="noStrike" cap="none" dirty="0">
                <a:solidFill>
                  <a:srgbClr val="3D3D3D"/>
                </a:solidFill>
                <a:latin typeface="Calibri"/>
                <a:ea typeface="Calibri"/>
                <a:cs typeface="Calibri"/>
                <a:sym typeface="Calibri"/>
              </a:rPr>
              <a:t>, regular </a:t>
            </a:r>
            <a:r>
              <a:rPr lang="en-US" sz="1400" b="1" i="0" u="none" strike="noStrike" cap="none" dirty="0">
                <a:solidFill>
                  <a:srgbClr val="3D3D3D"/>
                </a:solidFill>
                <a:latin typeface="Calibri"/>
                <a:ea typeface="Calibri"/>
                <a:cs typeface="Calibri"/>
                <a:sym typeface="Calibri"/>
              </a:rPr>
              <a:t>benchmarking</a:t>
            </a:r>
            <a:r>
              <a:rPr lang="en-US" sz="1400" b="0" i="0" u="none" strike="noStrike" cap="none" dirty="0">
                <a:solidFill>
                  <a:srgbClr val="3D3D3D"/>
                </a:solidFill>
                <a:latin typeface="Calibri"/>
                <a:ea typeface="Calibri"/>
                <a:cs typeface="Calibri"/>
                <a:sym typeface="Calibri"/>
              </a:rPr>
              <a:t>, </a:t>
            </a:r>
            <a:r>
              <a:rPr lang="en-US" sz="1400" b="1" i="0" u="none" strike="noStrike" cap="none" dirty="0">
                <a:solidFill>
                  <a:srgbClr val="3D3D3D"/>
                </a:solidFill>
                <a:latin typeface="Calibri"/>
                <a:ea typeface="Calibri"/>
                <a:cs typeface="Calibri"/>
                <a:sym typeface="Calibri"/>
              </a:rPr>
              <a:t>tracking competitive moves</a:t>
            </a:r>
            <a:r>
              <a:rPr lang="en-US" sz="1400" i="0" u="none" strike="noStrike" cap="none" dirty="0">
                <a:solidFill>
                  <a:srgbClr val="3D3D3D"/>
                </a:solidFill>
                <a:latin typeface="Calibri"/>
                <a:ea typeface="Calibri"/>
                <a:cs typeface="Calibri"/>
                <a:sym typeface="Calibri"/>
              </a:rPr>
              <a:t>,</a:t>
            </a:r>
            <a:r>
              <a:rPr lang="en-US" sz="1400" b="1" i="0" u="none" strike="noStrike" cap="none" dirty="0">
                <a:solidFill>
                  <a:srgbClr val="3D3D3D"/>
                </a:solidFill>
                <a:latin typeface="Calibri"/>
                <a:ea typeface="Calibri"/>
                <a:cs typeface="Calibri"/>
                <a:sym typeface="Calibri"/>
              </a:rPr>
              <a:t> </a:t>
            </a:r>
            <a:r>
              <a:rPr lang="en-US" sz="1400" b="0" i="0" u="none" strike="noStrike" cap="none" dirty="0">
                <a:solidFill>
                  <a:srgbClr val="3D3D3D"/>
                </a:solidFill>
                <a:latin typeface="Calibri"/>
                <a:ea typeface="Calibri"/>
                <a:cs typeface="Calibri"/>
                <a:sym typeface="Calibri"/>
              </a:rPr>
              <a:t>etc.</a:t>
            </a:r>
            <a:endParaRPr sz="1400" b="0" i="0" u="none" strike="noStrike" cap="none" dirty="0">
              <a:solidFill>
                <a:srgbClr val="000000"/>
              </a:solidFill>
              <a:latin typeface="Arial"/>
              <a:ea typeface="Arial"/>
              <a:cs typeface="Arial"/>
              <a:sym typeface="Arial"/>
            </a:endParaRPr>
          </a:p>
        </p:txBody>
      </p:sp>
      <p:sp>
        <p:nvSpPr>
          <p:cNvPr id="5" name="Freeform: Shape 4">
            <a:extLst>
              <a:ext uri="{FF2B5EF4-FFF2-40B4-BE49-F238E27FC236}">
                <a16:creationId xmlns:a16="http://schemas.microsoft.com/office/drawing/2014/main" id="{B5AA5D19-11A1-BCF9-26C4-C1615FD5EC26}"/>
              </a:ext>
            </a:extLst>
          </p:cNvPr>
          <p:cNvSpPr>
            <a:spLocks noChangeAspect="1"/>
          </p:cNvSpPr>
          <p:nvPr/>
        </p:nvSpPr>
        <p:spPr>
          <a:xfrm>
            <a:off x="10988533" y="4098068"/>
            <a:ext cx="538304" cy="541000"/>
          </a:xfrm>
          <a:custGeom>
            <a:avLst/>
            <a:gdLst>
              <a:gd name="connsiteX0" fmla="*/ 1973650 w 3366540"/>
              <a:gd name="connsiteY0" fmla="*/ 3242424 h 3383399"/>
              <a:gd name="connsiteX1" fmla="*/ 2114625 w 3366540"/>
              <a:gd name="connsiteY1" fmla="*/ 3242424 h 3383399"/>
              <a:gd name="connsiteX2" fmla="*/ 2114625 w 3366540"/>
              <a:gd name="connsiteY2" fmla="*/ 3383399 h 3383399"/>
              <a:gd name="connsiteX3" fmla="*/ 1973650 w 3366540"/>
              <a:gd name="connsiteY3" fmla="*/ 3383399 h 3383399"/>
              <a:gd name="connsiteX4" fmla="*/ 1973650 w 3366540"/>
              <a:gd name="connsiteY4" fmla="*/ 2960474 h 3383399"/>
              <a:gd name="connsiteX5" fmla="*/ 2114625 w 3366540"/>
              <a:gd name="connsiteY5" fmla="*/ 2960474 h 3383399"/>
              <a:gd name="connsiteX6" fmla="*/ 2114625 w 3366540"/>
              <a:gd name="connsiteY6" fmla="*/ 3101449 h 3383399"/>
              <a:gd name="connsiteX7" fmla="*/ 1973650 w 3366540"/>
              <a:gd name="connsiteY7" fmla="*/ 3101449 h 3383399"/>
              <a:gd name="connsiteX8" fmla="*/ 70488 w 3366540"/>
              <a:gd name="connsiteY8" fmla="*/ 2889987 h 3383399"/>
              <a:gd name="connsiteX9" fmla="*/ 352437 w 3366540"/>
              <a:gd name="connsiteY9" fmla="*/ 2889987 h 3383399"/>
              <a:gd name="connsiteX10" fmla="*/ 422925 w 3366540"/>
              <a:gd name="connsiteY10" fmla="*/ 2960474 h 3383399"/>
              <a:gd name="connsiteX11" fmla="*/ 422925 w 3366540"/>
              <a:gd name="connsiteY11" fmla="*/ 3383399 h 3383399"/>
              <a:gd name="connsiteX12" fmla="*/ 281950 w 3366540"/>
              <a:gd name="connsiteY12" fmla="*/ 3383399 h 3383399"/>
              <a:gd name="connsiteX13" fmla="*/ 281950 w 3366540"/>
              <a:gd name="connsiteY13" fmla="*/ 3030962 h 3383399"/>
              <a:gd name="connsiteX14" fmla="*/ 140975 w 3366540"/>
              <a:gd name="connsiteY14" fmla="*/ 3030962 h 3383399"/>
              <a:gd name="connsiteX15" fmla="*/ 140975 w 3366540"/>
              <a:gd name="connsiteY15" fmla="*/ 3383399 h 3383399"/>
              <a:gd name="connsiteX16" fmla="*/ 0 w 3366540"/>
              <a:gd name="connsiteY16" fmla="*/ 3383399 h 3383399"/>
              <a:gd name="connsiteX17" fmla="*/ 0 w 3366540"/>
              <a:gd name="connsiteY17" fmla="*/ 2960474 h 3383399"/>
              <a:gd name="connsiteX18" fmla="*/ 70488 w 3366540"/>
              <a:gd name="connsiteY18" fmla="*/ 2889987 h 3383399"/>
              <a:gd name="connsiteX19" fmla="*/ 1973650 w 3366540"/>
              <a:gd name="connsiteY19" fmla="*/ 2678525 h 3383399"/>
              <a:gd name="connsiteX20" fmla="*/ 2114625 w 3366540"/>
              <a:gd name="connsiteY20" fmla="*/ 2678525 h 3383399"/>
              <a:gd name="connsiteX21" fmla="*/ 2114625 w 3366540"/>
              <a:gd name="connsiteY21" fmla="*/ 2819499 h 3383399"/>
              <a:gd name="connsiteX22" fmla="*/ 1973650 w 3366540"/>
              <a:gd name="connsiteY22" fmla="*/ 2819499 h 3383399"/>
              <a:gd name="connsiteX23" fmla="*/ 634388 w 3366540"/>
              <a:gd name="connsiteY23" fmla="*/ 2537550 h 3383399"/>
              <a:gd name="connsiteX24" fmla="*/ 916338 w 3366540"/>
              <a:gd name="connsiteY24" fmla="*/ 2537550 h 3383399"/>
              <a:gd name="connsiteX25" fmla="*/ 986826 w 3366540"/>
              <a:gd name="connsiteY25" fmla="*/ 2608037 h 3383399"/>
              <a:gd name="connsiteX26" fmla="*/ 986826 w 3366540"/>
              <a:gd name="connsiteY26" fmla="*/ 3383399 h 3383399"/>
              <a:gd name="connsiteX27" fmla="*/ 845851 w 3366540"/>
              <a:gd name="connsiteY27" fmla="*/ 3383399 h 3383399"/>
              <a:gd name="connsiteX28" fmla="*/ 845851 w 3366540"/>
              <a:gd name="connsiteY28" fmla="*/ 2678525 h 3383399"/>
              <a:gd name="connsiteX29" fmla="*/ 704876 w 3366540"/>
              <a:gd name="connsiteY29" fmla="*/ 2678525 h 3383399"/>
              <a:gd name="connsiteX30" fmla="*/ 704876 w 3366540"/>
              <a:gd name="connsiteY30" fmla="*/ 3383399 h 3383399"/>
              <a:gd name="connsiteX31" fmla="*/ 563900 w 3366540"/>
              <a:gd name="connsiteY31" fmla="*/ 3383399 h 3383399"/>
              <a:gd name="connsiteX32" fmla="*/ 563900 w 3366540"/>
              <a:gd name="connsiteY32" fmla="*/ 2608037 h 3383399"/>
              <a:gd name="connsiteX33" fmla="*/ 634388 w 3366540"/>
              <a:gd name="connsiteY33" fmla="*/ 2537550 h 3383399"/>
              <a:gd name="connsiteX34" fmla="*/ 1198288 w 3366540"/>
              <a:gd name="connsiteY34" fmla="*/ 2185112 h 3383399"/>
              <a:gd name="connsiteX35" fmla="*/ 1480238 w 3366540"/>
              <a:gd name="connsiteY35" fmla="*/ 2185112 h 3383399"/>
              <a:gd name="connsiteX36" fmla="*/ 1550725 w 3366540"/>
              <a:gd name="connsiteY36" fmla="*/ 2255600 h 3383399"/>
              <a:gd name="connsiteX37" fmla="*/ 1550725 w 3366540"/>
              <a:gd name="connsiteY37" fmla="*/ 3383399 h 3383399"/>
              <a:gd name="connsiteX38" fmla="*/ 1409750 w 3366540"/>
              <a:gd name="connsiteY38" fmla="*/ 3383399 h 3383399"/>
              <a:gd name="connsiteX39" fmla="*/ 1409750 w 3366540"/>
              <a:gd name="connsiteY39" fmla="*/ 2326087 h 3383399"/>
              <a:gd name="connsiteX40" fmla="*/ 1268775 w 3366540"/>
              <a:gd name="connsiteY40" fmla="*/ 2326087 h 3383399"/>
              <a:gd name="connsiteX41" fmla="*/ 1268775 w 3366540"/>
              <a:gd name="connsiteY41" fmla="*/ 3383399 h 3383399"/>
              <a:gd name="connsiteX42" fmla="*/ 1127801 w 3366540"/>
              <a:gd name="connsiteY42" fmla="*/ 3383399 h 3383399"/>
              <a:gd name="connsiteX43" fmla="*/ 1127801 w 3366540"/>
              <a:gd name="connsiteY43" fmla="*/ 2255600 h 3383399"/>
              <a:gd name="connsiteX44" fmla="*/ 1198288 w 3366540"/>
              <a:gd name="connsiteY44" fmla="*/ 2185112 h 3383399"/>
              <a:gd name="connsiteX45" fmla="*/ 1762188 w 3366540"/>
              <a:gd name="connsiteY45" fmla="*/ 1832674 h 3383399"/>
              <a:gd name="connsiteX46" fmla="*/ 2044138 w 3366540"/>
              <a:gd name="connsiteY46" fmla="*/ 1832674 h 3383399"/>
              <a:gd name="connsiteX47" fmla="*/ 2114625 w 3366540"/>
              <a:gd name="connsiteY47" fmla="*/ 1903161 h 3383399"/>
              <a:gd name="connsiteX48" fmla="*/ 2114625 w 3366540"/>
              <a:gd name="connsiteY48" fmla="*/ 2537550 h 3383399"/>
              <a:gd name="connsiteX49" fmla="*/ 1973650 w 3366540"/>
              <a:gd name="connsiteY49" fmla="*/ 2537550 h 3383399"/>
              <a:gd name="connsiteX50" fmla="*/ 1973650 w 3366540"/>
              <a:gd name="connsiteY50" fmla="*/ 1973649 h 3383399"/>
              <a:gd name="connsiteX51" fmla="*/ 1832675 w 3366540"/>
              <a:gd name="connsiteY51" fmla="*/ 1973649 h 3383399"/>
              <a:gd name="connsiteX52" fmla="*/ 1832675 w 3366540"/>
              <a:gd name="connsiteY52" fmla="*/ 3383399 h 3383399"/>
              <a:gd name="connsiteX53" fmla="*/ 1691700 w 3366540"/>
              <a:gd name="connsiteY53" fmla="*/ 3383399 h 3383399"/>
              <a:gd name="connsiteX54" fmla="*/ 1691700 w 3366540"/>
              <a:gd name="connsiteY54" fmla="*/ 1903161 h 3383399"/>
              <a:gd name="connsiteX55" fmla="*/ 1762188 w 3366540"/>
              <a:gd name="connsiteY55" fmla="*/ 1832674 h 3383399"/>
              <a:gd name="connsiteX56" fmla="*/ 1480238 w 3366540"/>
              <a:gd name="connsiteY56" fmla="*/ 1550724 h 3383399"/>
              <a:gd name="connsiteX57" fmla="*/ 2114625 w 3366540"/>
              <a:gd name="connsiteY57" fmla="*/ 1550724 h 3383399"/>
              <a:gd name="connsiteX58" fmla="*/ 2114625 w 3366540"/>
              <a:gd name="connsiteY58" fmla="*/ 1691699 h 3383399"/>
              <a:gd name="connsiteX59" fmla="*/ 1550725 w 3366540"/>
              <a:gd name="connsiteY59" fmla="*/ 1691699 h 3383399"/>
              <a:gd name="connsiteX60" fmla="*/ 1550725 w 3366540"/>
              <a:gd name="connsiteY60" fmla="*/ 1973649 h 3383399"/>
              <a:gd name="connsiteX61" fmla="*/ 1480238 w 3366540"/>
              <a:gd name="connsiteY61" fmla="*/ 2044136 h 3383399"/>
              <a:gd name="connsiteX62" fmla="*/ 986826 w 3366540"/>
              <a:gd name="connsiteY62" fmla="*/ 2044136 h 3383399"/>
              <a:gd name="connsiteX63" fmla="*/ 986826 w 3366540"/>
              <a:gd name="connsiteY63" fmla="*/ 2326087 h 3383399"/>
              <a:gd name="connsiteX64" fmla="*/ 916338 w 3366540"/>
              <a:gd name="connsiteY64" fmla="*/ 2396575 h 3383399"/>
              <a:gd name="connsiteX65" fmla="*/ 422925 w 3366540"/>
              <a:gd name="connsiteY65" fmla="*/ 2396575 h 3383399"/>
              <a:gd name="connsiteX66" fmla="*/ 422925 w 3366540"/>
              <a:gd name="connsiteY66" fmla="*/ 2678525 h 3383399"/>
              <a:gd name="connsiteX67" fmla="*/ 352437 w 3366540"/>
              <a:gd name="connsiteY67" fmla="*/ 2749012 h 3383399"/>
              <a:gd name="connsiteX68" fmla="*/ 0 w 3366540"/>
              <a:gd name="connsiteY68" fmla="*/ 2749012 h 3383399"/>
              <a:gd name="connsiteX69" fmla="*/ 0 w 3366540"/>
              <a:gd name="connsiteY69" fmla="*/ 2608037 h 3383399"/>
              <a:gd name="connsiteX70" fmla="*/ 281950 w 3366540"/>
              <a:gd name="connsiteY70" fmla="*/ 2608037 h 3383399"/>
              <a:gd name="connsiteX71" fmla="*/ 281950 w 3366540"/>
              <a:gd name="connsiteY71" fmla="*/ 2326087 h 3383399"/>
              <a:gd name="connsiteX72" fmla="*/ 352437 w 3366540"/>
              <a:gd name="connsiteY72" fmla="*/ 2255600 h 3383399"/>
              <a:gd name="connsiteX73" fmla="*/ 845851 w 3366540"/>
              <a:gd name="connsiteY73" fmla="*/ 2255600 h 3383399"/>
              <a:gd name="connsiteX74" fmla="*/ 845851 w 3366540"/>
              <a:gd name="connsiteY74" fmla="*/ 1973649 h 3383399"/>
              <a:gd name="connsiteX75" fmla="*/ 916338 w 3366540"/>
              <a:gd name="connsiteY75" fmla="*/ 1903161 h 3383399"/>
              <a:gd name="connsiteX76" fmla="*/ 1409750 w 3366540"/>
              <a:gd name="connsiteY76" fmla="*/ 1903161 h 3383399"/>
              <a:gd name="connsiteX77" fmla="*/ 1409750 w 3366540"/>
              <a:gd name="connsiteY77" fmla="*/ 1621212 h 3383399"/>
              <a:gd name="connsiteX78" fmla="*/ 1480238 w 3366540"/>
              <a:gd name="connsiteY78" fmla="*/ 1550724 h 3383399"/>
              <a:gd name="connsiteX79" fmla="*/ 1733992 w 3366540"/>
              <a:gd name="connsiteY79" fmla="*/ 0 h 3383399"/>
              <a:gd name="connsiteX80" fmla="*/ 1741041 w 3366540"/>
              <a:gd name="connsiteY80" fmla="*/ 0 h 3383399"/>
              <a:gd name="connsiteX81" fmla="*/ 1742803 w 3366540"/>
              <a:gd name="connsiteY81" fmla="*/ 0 h 3383399"/>
              <a:gd name="connsiteX82" fmla="*/ 1769236 w 3366540"/>
              <a:gd name="connsiteY82" fmla="*/ 0 h 3383399"/>
              <a:gd name="connsiteX83" fmla="*/ 1797431 w 3366540"/>
              <a:gd name="connsiteY83" fmla="*/ 0 h 3383399"/>
              <a:gd name="connsiteX84" fmla="*/ 2347233 w 3366540"/>
              <a:gd name="connsiteY84" fmla="*/ 77536 h 3383399"/>
              <a:gd name="connsiteX85" fmla="*/ 3002766 w 3366540"/>
              <a:gd name="connsiteY85" fmla="*/ 570948 h 3383399"/>
              <a:gd name="connsiteX86" fmla="*/ 3115547 w 3366540"/>
              <a:gd name="connsiteY86" fmla="*/ 1085506 h 3383399"/>
              <a:gd name="connsiteX87" fmla="*/ 3087351 w 3366540"/>
              <a:gd name="connsiteY87" fmla="*/ 1282871 h 3383399"/>
              <a:gd name="connsiteX88" fmla="*/ 3080303 w 3366540"/>
              <a:gd name="connsiteY88" fmla="*/ 1339261 h 3383399"/>
              <a:gd name="connsiteX89" fmla="*/ 3087351 w 3366540"/>
              <a:gd name="connsiteY89" fmla="*/ 1353359 h 3383399"/>
              <a:gd name="connsiteX90" fmla="*/ 3207180 w 3366540"/>
              <a:gd name="connsiteY90" fmla="*/ 1515480 h 3383399"/>
              <a:gd name="connsiteX91" fmla="*/ 3291765 w 3366540"/>
              <a:gd name="connsiteY91" fmla="*/ 1621211 h 3383399"/>
              <a:gd name="connsiteX92" fmla="*/ 3305863 w 3366540"/>
              <a:gd name="connsiteY92" fmla="*/ 1628260 h 3383399"/>
              <a:gd name="connsiteX93" fmla="*/ 3362253 w 3366540"/>
              <a:gd name="connsiteY93" fmla="*/ 1741040 h 3383399"/>
              <a:gd name="connsiteX94" fmla="*/ 3200132 w 3366540"/>
              <a:gd name="connsiteY94" fmla="*/ 1896112 h 3383399"/>
              <a:gd name="connsiteX95" fmla="*/ 3136693 w 3366540"/>
              <a:gd name="connsiteY95" fmla="*/ 1917259 h 3383399"/>
              <a:gd name="connsiteX96" fmla="*/ 3143741 w 3366540"/>
              <a:gd name="connsiteY96" fmla="*/ 1931356 h 3383399"/>
              <a:gd name="connsiteX97" fmla="*/ 3150790 w 3366540"/>
              <a:gd name="connsiteY97" fmla="*/ 1938405 h 3383399"/>
              <a:gd name="connsiteX98" fmla="*/ 3171936 w 3366540"/>
              <a:gd name="connsiteY98" fmla="*/ 2037087 h 3383399"/>
              <a:gd name="connsiteX99" fmla="*/ 3157839 w 3366540"/>
              <a:gd name="connsiteY99" fmla="*/ 2079380 h 3383399"/>
              <a:gd name="connsiteX100" fmla="*/ 3171936 w 3366540"/>
              <a:gd name="connsiteY100" fmla="*/ 2149867 h 3383399"/>
              <a:gd name="connsiteX101" fmla="*/ 3115547 w 3366540"/>
              <a:gd name="connsiteY101" fmla="*/ 2248550 h 3383399"/>
              <a:gd name="connsiteX102" fmla="*/ 3108498 w 3366540"/>
              <a:gd name="connsiteY102" fmla="*/ 2255598 h 3383399"/>
              <a:gd name="connsiteX103" fmla="*/ 3108498 w 3366540"/>
              <a:gd name="connsiteY103" fmla="*/ 2262647 h 3383399"/>
              <a:gd name="connsiteX104" fmla="*/ 3157839 w 3366540"/>
              <a:gd name="connsiteY104" fmla="*/ 2452963 h 3383399"/>
              <a:gd name="connsiteX105" fmla="*/ 3157839 w 3366540"/>
              <a:gd name="connsiteY105" fmla="*/ 2460012 h 3383399"/>
              <a:gd name="connsiteX106" fmla="*/ 3157839 w 3366540"/>
              <a:gd name="connsiteY106" fmla="*/ 2467061 h 3383399"/>
              <a:gd name="connsiteX107" fmla="*/ 2868840 w 3366540"/>
              <a:gd name="connsiteY107" fmla="*/ 2678523 h 3383399"/>
              <a:gd name="connsiteX108" fmla="*/ 2840645 w 3366540"/>
              <a:gd name="connsiteY108" fmla="*/ 2678523 h 3383399"/>
              <a:gd name="connsiteX109" fmla="*/ 2833597 w 3366540"/>
              <a:gd name="connsiteY109" fmla="*/ 2678523 h 3383399"/>
              <a:gd name="connsiteX110" fmla="*/ 2586891 w 3366540"/>
              <a:gd name="connsiteY110" fmla="*/ 2699669 h 3383399"/>
              <a:gd name="connsiteX111" fmla="*/ 2558695 w 3366540"/>
              <a:gd name="connsiteY111" fmla="*/ 2734913 h 3383399"/>
              <a:gd name="connsiteX112" fmla="*/ 2544598 w 3366540"/>
              <a:gd name="connsiteY112" fmla="*/ 3305862 h 3383399"/>
              <a:gd name="connsiteX113" fmla="*/ 2502305 w 3366540"/>
              <a:gd name="connsiteY113" fmla="*/ 3348154 h 3383399"/>
              <a:gd name="connsiteX114" fmla="*/ 2445916 w 3366540"/>
              <a:gd name="connsiteY114" fmla="*/ 3348154 h 3383399"/>
              <a:gd name="connsiteX115" fmla="*/ 2403623 w 3366540"/>
              <a:gd name="connsiteY115" fmla="*/ 3305862 h 3383399"/>
              <a:gd name="connsiteX116" fmla="*/ 2445916 w 3366540"/>
              <a:gd name="connsiteY116" fmla="*/ 2650328 h 3383399"/>
              <a:gd name="connsiteX117" fmla="*/ 2833597 w 3366540"/>
              <a:gd name="connsiteY117" fmla="*/ 2551646 h 3383399"/>
              <a:gd name="connsiteX118" fmla="*/ 2840645 w 3366540"/>
              <a:gd name="connsiteY118" fmla="*/ 2551646 h 3383399"/>
              <a:gd name="connsiteX119" fmla="*/ 2868840 w 3366540"/>
              <a:gd name="connsiteY119" fmla="*/ 2551646 h 3383399"/>
              <a:gd name="connsiteX120" fmla="*/ 3030961 w 3366540"/>
              <a:gd name="connsiteY120" fmla="*/ 2452963 h 3383399"/>
              <a:gd name="connsiteX121" fmla="*/ 2988669 w 3366540"/>
              <a:gd name="connsiteY121" fmla="*/ 2333134 h 3383399"/>
              <a:gd name="connsiteX122" fmla="*/ 2981620 w 3366540"/>
              <a:gd name="connsiteY122" fmla="*/ 2311988 h 3383399"/>
              <a:gd name="connsiteX123" fmla="*/ 2967523 w 3366540"/>
              <a:gd name="connsiteY123" fmla="*/ 2276745 h 3383399"/>
              <a:gd name="connsiteX124" fmla="*/ 3009815 w 3366540"/>
              <a:gd name="connsiteY124" fmla="*/ 2185111 h 3383399"/>
              <a:gd name="connsiteX125" fmla="*/ 3016864 w 3366540"/>
              <a:gd name="connsiteY125" fmla="*/ 2178062 h 3383399"/>
              <a:gd name="connsiteX126" fmla="*/ 3038010 w 3366540"/>
              <a:gd name="connsiteY126" fmla="*/ 2156916 h 3383399"/>
              <a:gd name="connsiteX127" fmla="*/ 3009815 w 3366540"/>
              <a:gd name="connsiteY127" fmla="*/ 2093477 h 3383399"/>
              <a:gd name="connsiteX128" fmla="*/ 3030961 w 3366540"/>
              <a:gd name="connsiteY128" fmla="*/ 2058234 h 3383399"/>
              <a:gd name="connsiteX129" fmla="*/ 3030961 w 3366540"/>
              <a:gd name="connsiteY129" fmla="*/ 2051185 h 3383399"/>
              <a:gd name="connsiteX130" fmla="*/ 3038010 w 3366540"/>
              <a:gd name="connsiteY130" fmla="*/ 2044136 h 3383399"/>
              <a:gd name="connsiteX131" fmla="*/ 3030961 w 3366540"/>
              <a:gd name="connsiteY131" fmla="*/ 2022990 h 3383399"/>
              <a:gd name="connsiteX132" fmla="*/ 3030961 w 3366540"/>
              <a:gd name="connsiteY132" fmla="*/ 2015941 h 3383399"/>
              <a:gd name="connsiteX133" fmla="*/ 3009815 w 3366540"/>
              <a:gd name="connsiteY133" fmla="*/ 1931356 h 3383399"/>
              <a:gd name="connsiteX134" fmla="*/ 3178985 w 3366540"/>
              <a:gd name="connsiteY134" fmla="*/ 1797430 h 3383399"/>
              <a:gd name="connsiteX135" fmla="*/ 3235375 w 3366540"/>
              <a:gd name="connsiteY135" fmla="*/ 1783332 h 3383399"/>
              <a:gd name="connsiteX136" fmla="*/ 3186034 w 3366540"/>
              <a:gd name="connsiteY136" fmla="*/ 1712845 h 3383399"/>
              <a:gd name="connsiteX137" fmla="*/ 3087351 w 3366540"/>
              <a:gd name="connsiteY137" fmla="*/ 1593016 h 3383399"/>
              <a:gd name="connsiteX138" fmla="*/ 2967523 w 3366540"/>
              <a:gd name="connsiteY138" fmla="*/ 1423846 h 3383399"/>
              <a:gd name="connsiteX139" fmla="*/ 2960474 w 3366540"/>
              <a:gd name="connsiteY139" fmla="*/ 1416798 h 3383399"/>
              <a:gd name="connsiteX140" fmla="*/ 2953425 w 3366540"/>
              <a:gd name="connsiteY140" fmla="*/ 1409749 h 3383399"/>
              <a:gd name="connsiteX141" fmla="*/ 2946376 w 3366540"/>
              <a:gd name="connsiteY141" fmla="*/ 1261725 h 3383399"/>
              <a:gd name="connsiteX142" fmla="*/ 2974572 w 3366540"/>
              <a:gd name="connsiteY142" fmla="*/ 1085506 h 3383399"/>
              <a:gd name="connsiteX143" fmla="*/ 2875889 w 3366540"/>
              <a:gd name="connsiteY143" fmla="*/ 620289 h 3383399"/>
              <a:gd name="connsiteX144" fmla="*/ 2311989 w 3366540"/>
              <a:gd name="connsiteY144" fmla="*/ 204413 h 3383399"/>
              <a:gd name="connsiteX145" fmla="*/ 1797431 w 3366540"/>
              <a:gd name="connsiteY145" fmla="*/ 133926 h 3383399"/>
              <a:gd name="connsiteX146" fmla="*/ 1741041 w 3366540"/>
              <a:gd name="connsiteY146" fmla="*/ 133926 h 3383399"/>
              <a:gd name="connsiteX147" fmla="*/ 859947 w 3366540"/>
              <a:gd name="connsiteY147" fmla="*/ 648484 h 3383399"/>
              <a:gd name="connsiteX148" fmla="*/ 711923 w 3366540"/>
              <a:gd name="connsiteY148" fmla="*/ 1177140 h 3383399"/>
              <a:gd name="connsiteX149" fmla="*/ 711923 w 3366540"/>
              <a:gd name="connsiteY149" fmla="*/ 1191238 h 3383399"/>
              <a:gd name="connsiteX150" fmla="*/ 817654 w 3366540"/>
              <a:gd name="connsiteY150" fmla="*/ 1769235 h 3383399"/>
              <a:gd name="connsiteX151" fmla="*/ 711923 w 3366540"/>
              <a:gd name="connsiteY151" fmla="*/ 1882015 h 3383399"/>
              <a:gd name="connsiteX152" fmla="*/ 577997 w 3366540"/>
              <a:gd name="connsiteY152" fmla="*/ 1198286 h 3383399"/>
              <a:gd name="connsiteX153" fmla="*/ 577997 w 3366540"/>
              <a:gd name="connsiteY153" fmla="*/ 1170091 h 3383399"/>
              <a:gd name="connsiteX154" fmla="*/ 704874 w 3366540"/>
              <a:gd name="connsiteY154" fmla="*/ 662582 h 3383399"/>
              <a:gd name="connsiteX155" fmla="*/ 1733992 w 3366540"/>
              <a:gd name="connsiteY155" fmla="*/ 0 h 338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3366540" h="3383399">
                <a:moveTo>
                  <a:pt x="1973650" y="3242424"/>
                </a:moveTo>
                <a:lnTo>
                  <a:pt x="2114625" y="3242424"/>
                </a:lnTo>
                <a:lnTo>
                  <a:pt x="2114625" y="3383399"/>
                </a:lnTo>
                <a:lnTo>
                  <a:pt x="1973650" y="3383399"/>
                </a:lnTo>
                <a:close/>
                <a:moveTo>
                  <a:pt x="1973650" y="2960474"/>
                </a:moveTo>
                <a:lnTo>
                  <a:pt x="2114625" y="2960474"/>
                </a:lnTo>
                <a:lnTo>
                  <a:pt x="2114625" y="3101449"/>
                </a:lnTo>
                <a:lnTo>
                  <a:pt x="1973650" y="3101449"/>
                </a:lnTo>
                <a:close/>
                <a:moveTo>
                  <a:pt x="70488" y="2889987"/>
                </a:moveTo>
                <a:lnTo>
                  <a:pt x="352437" y="2889987"/>
                </a:lnTo>
                <a:cubicBezTo>
                  <a:pt x="394730" y="2889987"/>
                  <a:pt x="422925" y="2918182"/>
                  <a:pt x="422925" y="2960474"/>
                </a:cubicBezTo>
                <a:lnTo>
                  <a:pt x="422925" y="3383399"/>
                </a:lnTo>
                <a:lnTo>
                  <a:pt x="281950" y="3383399"/>
                </a:lnTo>
                <a:lnTo>
                  <a:pt x="281950" y="3030962"/>
                </a:lnTo>
                <a:lnTo>
                  <a:pt x="140975" y="3030962"/>
                </a:lnTo>
                <a:lnTo>
                  <a:pt x="140975" y="3383399"/>
                </a:lnTo>
                <a:lnTo>
                  <a:pt x="0" y="3383399"/>
                </a:lnTo>
                <a:lnTo>
                  <a:pt x="0" y="2960474"/>
                </a:lnTo>
                <a:cubicBezTo>
                  <a:pt x="0" y="2918182"/>
                  <a:pt x="28195" y="2889987"/>
                  <a:pt x="70488" y="2889987"/>
                </a:cubicBezTo>
                <a:close/>
                <a:moveTo>
                  <a:pt x="1973650" y="2678525"/>
                </a:moveTo>
                <a:lnTo>
                  <a:pt x="2114625" y="2678525"/>
                </a:lnTo>
                <a:lnTo>
                  <a:pt x="2114625" y="2819499"/>
                </a:lnTo>
                <a:lnTo>
                  <a:pt x="1973650" y="2819499"/>
                </a:lnTo>
                <a:close/>
                <a:moveTo>
                  <a:pt x="634388" y="2537550"/>
                </a:moveTo>
                <a:lnTo>
                  <a:pt x="916338" y="2537550"/>
                </a:lnTo>
                <a:cubicBezTo>
                  <a:pt x="958631" y="2537550"/>
                  <a:pt x="986826" y="2565745"/>
                  <a:pt x="986826" y="2608037"/>
                </a:cubicBezTo>
                <a:lnTo>
                  <a:pt x="986826" y="3383399"/>
                </a:lnTo>
                <a:lnTo>
                  <a:pt x="845851" y="3383399"/>
                </a:lnTo>
                <a:lnTo>
                  <a:pt x="845851" y="2678525"/>
                </a:lnTo>
                <a:lnTo>
                  <a:pt x="704876" y="2678525"/>
                </a:lnTo>
                <a:lnTo>
                  <a:pt x="704876" y="3383399"/>
                </a:lnTo>
                <a:lnTo>
                  <a:pt x="563900" y="3383399"/>
                </a:lnTo>
                <a:lnTo>
                  <a:pt x="563900" y="2608037"/>
                </a:lnTo>
                <a:cubicBezTo>
                  <a:pt x="563900" y="2565745"/>
                  <a:pt x="592095" y="2537550"/>
                  <a:pt x="634388" y="2537550"/>
                </a:cubicBezTo>
                <a:close/>
                <a:moveTo>
                  <a:pt x="1198288" y="2185112"/>
                </a:moveTo>
                <a:lnTo>
                  <a:pt x="1480238" y="2185112"/>
                </a:lnTo>
                <a:cubicBezTo>
                  <a:pt x="1522530" y="2185112"/>
                  <a:pt x="1550725" y="2213307"/>
                  <a:pt x="1550725" y="2255600"/>
                </a:cubicBezTo>
                <a:lnTo>
                  <a:pt x="1550725" y="3383399"/>
                </a:lnTo>
                <a:lnTo>
                  <a:pt x="1409750" y="3383399"/>
                </a:lnTo>
                <a:lnTo>
                  <a:pt x="1409750" y="2326087"/>
                </a:lnTo>
                <a:lnTo>
                  <a:pt x="1268775" y="2326087"/>
                </a:lnTo>
                <a:lnTo>
                  <a:pt x="1268775" y="3383399"/>
                </a:lnTo>
                <a:lnTo>
                  <a:pt x="1127801" y="3383399"/>
                </a:lnTo>
                <a:lnTo>
                  <a:pt x="1127801" y="2255600"/>
                </a:lnTo>
                <a:cubicBezTo>
                  <a:pt x="1127801" y="2213307"/>
                  <a:pt x="1155995" y="2185112"/>
                  <a:pt x="1198288" y="2185112"/>
                </a:cubicBezTo>
                <a:close/>
                <a:moveTo>
                  <a:pt x="1762188" y="1832674"/>
                </a:moveTo>
                <a:lnTo>
                  <a:pt x="2044138" y="1832674"/>
                </a:lnTo>
                <a:cubicBezTo>
                  <a:pt x="2086430" y="1832674"/>
                  <a:pt x="2114625" y="1860869"/>
                  <a:pt x="2114625" y="1903161"/>
                </a:cubicBezTo>
                <a:lnTo>
                  <a:pt x="2114625" y="2537550"/>
                </a:lnTo>
                <a:lnTo>
                  <a:pt x="1973650" y="2537550"/>
                </a:lnTo>
                <a:lnTo>
                  <a:pt x="1973650" y="1973649"/>
                </a:lnTo>
                <a:lnTo>
                  <a:pt x="1832675" y="1973649"/>
                </a:lnTo>
                <a:lnTo>
                  <a:pt x="1832675" y="3383399"/>
                </a:lnTo>
                <a:lnTo>
                  <a:pt x="1691700" y="3383399"/>
                </a:lnTo>
                <a:lnTo>
                  <a:pt x="1691700" y="1903161"/>
                </a:lnTo>
                <a:cubicBezTo>
                  <a:pt x="1691700" y="1860869"/>
                  <a:pt x="1719895" y="1832674"/>
                  <a:pt x="1762188" y="1832674"/>
                </a:cubicBezTo>
                <a:close/>
                <a:moveTo>
                  <a:pt x="1480238" y="1550724"/>
                </a:moveTo>
                <a:lnTo>
                  <a:pt x="2114625" y="1550724"/>
                </a:lnTo>
                <a:lnTo>
                  <a:pt x="2114625" y="1691699"/>
                </a:lnTo>
                <a:lnTo>
                  <a:pt x="1550725" y="1691699"/>
                </a:lnTo>
                <a:lnTo>
                  <a:pt x="1550725" y="1973649"/>
                </a:lnTo>
                <a:cubicBezTo>
                  <a:pt x="1550725" y="2015941"/>
                  <a:pt x="1522530" y="2044136"/>
                  <a:pt x="1480238" y="2044136"/>
                </a:cubicBezTo>
                <a:lnTo>
                  <a:pt x="986826" y="2044136"/>
                </a:lnTo>
                <a:lnTo>
                  <a:pt x="986826" y="2326087"/>
                </a:lnTo>
                <a:cubicBezTo>
                  <a:pt x="986826" y="2368380"/>
                  <a:pt x="958631" y="2396575"/>
                  <a:pt x="916338" y="2396575"/>
                </a:cubicBezTo>
                <a:lnTo>
                  <a:pt x="422925" y="2396575"/>
                </a:lnTo>
                <a:lnTo>
                  <a:pt x="422925" y="2678525"/>
                </a:lnTo>
                <a:cubicBezTo>
                  <a:pt x="422925" y="2720817"/>
                  <a:pt x="394730" y="2749012"/>
                  <a:pt x="352437" y="2749012"/>
                </a:cubicBezTo>
                <a:lnTo>
                  <a:pt x="0" y="2749012"/>
                </a:lnTo>
                <a:lnTo>
                  <a:pt x="0" y="2608037"/>
                </a:lnTo>
                <a:lnTo>
                  <a:pt x="281950" y="2608037"/>
                </a:lnTo>
                <a:lnTo>
                  <a:pt x="281950" y="2326087"/>
                </a:lnTo>
                <a:cubicBezTo>
                  <a:pt x="281950" y="2283795"/>
                  <a:pt x="310145" y="2255600"/>
                  <a:pt x="352437" y="2255600"/>
                </a:cubicBezTo>
                <a:lnTo>
                  <a:pt x="845851" y="2255600"/>
                </a:lnTo>
                <a:lnTo>
                  <a:pt x="845851" y="1973649"/>
                </a:lnTo>
                <a:cubicBezTo>
                  <a:pt x="845851" y="1931356"/>
                  <a:pt x="874046" y="1903161"/>
                  <a:pt x="916338" y="1903161"/>
                </a:cubicBezTo>
                <a:lnTo>
                  <a:pt x="1409750" y="1903161"/>
                </a:lnTo>
                <a:lnTo>
                  <a:pt x="1409750" y="1621212"/>
                </a:lnTo>
                <a:cubicBezTo>
                  <a:pt x="1409750" y="1578919"/>
                  <a:pt x="1437945" y="1550724"/>
                  <a:pt x="1480238" y="1550724"/>
                </a:cubicBezTo>
                <a:close/>
                <a:moveTo>
                  <a:pt x="1733992" y="0"/>
                </a:moveTo>
                <a:lnTo>
                  <a:pt x="1741041" y="0"/>
                </a:lnTo>
                <a:cubicBezTo>
                  <a:pt x="1744565" y="0"/>
                  <a:pt x="1744565" y="0"/>
                  <a:pt x="1742803" y="0"/>
                </a:cubicBezTo>
                <a:lnTo>
                  <a:pt x="1769236" y="0"/>
                </a:lnTo>
                <a:cubicBezTo>
                  <a:pt x="1778047" y="0"/>
                  <a:pt x="1786858" y="0"/>
                  <a:pt x="1797431" y="0"/>
                </a:cubicBezTo>
                <a:cubicBezTo>
                  <a:pt x="1931357" y="0"/>
                  <a:pt x="2149868" y="21146"/>
                  <a:pt x="2347233" y="77536"/>
                </a:cubicBezTo>
                <a:cubicBezTo>
                  <a:pt x="2685573" y="169170"/>
                  <a:pt x="2911133" y="338339"/>
                  <a:pt x="3002766" y="570948"/>
                </a:cubicBezTo>
                <a:cubicBezTo>
                  <a:pt x="3087351" y="789459"/>
                  <a:pt x="3122595" y="944532"/>
                  <a:pt x="3115547" y="1085506"/>
                </a:cubicBezTo>
                <a:cubicBezTo>
                  <a:pt x="3108498" y="1170091"/>
                  <a:pt x="3094400" y="1240579"/>
                  <a:pt x="3087351" y="1282871"/>
                </a:cubicBezTo>
                <a:cubicBezTo>
                  <a:pt x="3087351" y="1296969"/>
                  <a:pt x="3080303" y="1325164"/>
                  <a:pt x="3080303" y="1339261"/>
                </a:cubicBezTo>
                <a:cubicBezTo>
                  <a:pt x="3080303" y="1346310"/>
                  <a:pt x="3087351" y="1346310"/>
                  <a:pt x="3087351" y="1353359"/>
                </a:cubicBezTo>
                <a:cubicBezTo>
                  <a:pt x="3101449" y="1367456"/>
                  <a:pt x="3122595" y="1402700"/>
                  <a:pt x="3207180" y="1515480"/>
                </a:cubicBezTo>
                <a:cubicBezTo>
                  <a:pt x="3242424" y="1557773"/>
                  <a:pt x="3270619" y="1593016"/>
                  <a:pt x="3291765" y="1621211"/>
                </a:cubicBezTo>
                <a:lnTo>
                  <a:pt x="3305863" y="1628260"/>
                </a:lnTo>
                <a:cubicBezTo>
                  <a:pt x="3355204" y="1691699"/>
                  <a:pt x="3376350" y="1719894"/>
                  <a:pt x="3362253" y="1741040"/>
                </a:cubicBezTo>
                <a:cubicBezTo>
                  <a:pt x="3376350" y="1853820"/>
                  <a:pt x="3263570" y="1882015"/>
                  <a:pt x="3200132" y="1896112"/>
                </a:cubicBezTo>
                <a:cubicBezTo>
                  <a:pt x="3186034" y="1903161"/>
                  <a:pt x="3150790" y="1910210"/>
                  <a:pt x="3136693" y="1917259"/>
                </a:cubicBezTo>
                <a:cubicBezTo>
                  <a:pt x="3136693" y="1924307"/>
                  <a:pt x="3143741" y="1924307"/>
                  <a:pt x="3143741" y="1931356"/>
                </a:cubicBezTo>
                <a:lnTo>
                  <a:pt x="3150790" y="1938405"/>
                </a:lnTo>
                <a:cubicBezTo>
                  <a:pt x="3164888" y="1980697"/>
                  <a:pt x="3171936" y="2008892"/>
                  <a:pt x="3171936" y="2037087"/>
                </a:cubicBezTo>
                <a:cubicBezTo>
                  <a:pt x="3171936" y="2051185"/>
                  <a:pt x="3164888" y="2065282"/>
                  <a:pt x="3157839" y="2079380"/>
                </a:cubicBezTo>
                <a:cubicBezTo>
                  <a:pt x="3171936" y="2093477"/>
                  <a:pt x="3178985" y="2121672"/>
                  <a:pt x="3171936" y="2149867"/>
                </a:cubicBezTo>
                <a:cubicBezTo>
                  <a:pt x="3164888" y="2192160"/>
                  <a:pt x="3136693" y="2220355"/>
                  <a:pt x="3115547" y="2248550"/>
                </a:cubicBezTo>
                <a:lnTo>
                  <a:pt x="3108498" y="2255598"/>
                </a:lnTo>
                <a:lnTo>
                  <a:pt x="3108498" y="2262647"/>
                </a:lnTo>
                <a:cubicBezTo>
                  <a:pt x="3129644" y="2319037"/>
                  <a:pt x="3164888" y="2389525"/>
                  <a:pt x="3157839" y="2452963"/>
                </a:cubicBezTo>
                <a:lnTo>
                  <a:pt x="3157839" y="2460012"/>
                </a:lnTo>
                <a:lnTo>
                  <a:pt x="3157839" y="2467061"/>
                </a:lnTo>
                <a:cubicBezTo>
                  <a:pt x="3150790" y="2537548"/>
                  <a:pt x="3129644" y="2664426"/>
                  <a:pt x="2868840" y="2678523"/>
                </a:cubicBezTo>
                <a:lnTo>
                  <a:pt x="2840645" y="2678523"/>
                </a:lnTo>
                <a:lnTo>
                  <a:pt x="2833597" y="2678523"/>
                </a:lnTo>
                <a:cubicBezTo>
                  <a:pt x="2741963" y="2685572"/>
                  <a:pt x="2636232" y="2685572"/>
                  <a:pt x="2586891" y="2699669"/>
                </a:cubicBezTo>
                <a:cubicBezTo>
                  <a:pt x="2572793" y="2699669"/>
                  <a:pt x="2558695" y="2720816"/>
                  <a:pt x="2558695" y="2734913"/>
                </a:cubicBezTo>
                <a:cubicBezTo>
                  <a:pt x="2551647" y="2840644"/>
                  <a:pt x="2544598" y="3186033"/>
                  <a:pt x="2544598" y="3305862"/>
                </a:cubicBezTo>
                <a:cubicBezTo>
                  <a:pt x="2544598" y="3334056"/>
                  <a:pt x="2523452" y="3348154"/>
                  <a:pt x="2502305" y="3348154"/>
                </a:cubicBezTo>
                <a:lnTo>
                  <a:pt x="2445916" y="3348154"/>
                </a:lnTo>
                <a:cubicBezTo>
                  <a:pt x="2424769" y="3348154"/>
                  <a:pt x="2403623" y="3327008"/>
                  <a:pt x="2403623" y="3305862"/>
                </a:cubicBezTo>
                <a:cubicBezTo>
                  <a:pt x="2410672" y="3164887"/>
                  <a:pt x="2417720" y="2699669"/>
                  <a:pt x="2445916" y="2650328"/>
                </a:cubicBezTo>
                <a:cubicBezTo>
                  <a:pt x="2495257" y="2565743"/>
                  <a:pt x="2608037" y="2565743"/>
                  <a:pt x="2833597" y="2551646"/>
                </a:cubicBezTo>
                <a:lnTo>
                  <a:pt x="2840645" y="2551646"/>
                </a:lnTo>
                <a:lnTo>
                  <a:pt x="2868840" y="2551646"/>
                </a:lnTo>
                <a:cubicBezTo>
                  <a:pt x="3016864" y="2544597"/>
                  <a:pt x="3023913" y="2509353"/>
                  <a:pt x="3030961" y="2452963"/>
                </a:cubicBezTo>
                <a:cubicBezTo>
                  <a:pt x="3030961" y="2424768"/>
                  <a:pt x="3002766" y="2361330"/>
                  <a:pt x="2988669" y="2333134"/>
                </a:cubicBezTo>
                <a:cubicBezTo>
                  <a:pt x="2988669" y="2326086"/>
                  <a:pt x="2981620" y="2319037"/>
                  <a:pt x="2981620" y="2311988"/>
                </a:cubicBezTo>
                <a:cubicBezTo>
                  <a:pt x="2974572" y="2297891"/>
                  <a:pt x="2967523" y="2290842"/>
                  <a:pt x="2967523" y="2276745"/>
                </a:cubicBezTo>
                <a:cubicBezTo>
                  <a:pt x="2960474" y="2234452"/>
                  <a:pt x="2988669" y="2206257"/>
                  <a:pt x="3009815" y="2185111"/>
                </a:cubicBezTo>
                <a:lnTo>
                  <a:pt x="3016864" y="2178062"/>
                </a:lnTo>
                <a:cubicBezTo>
                  <a:pt x="3023913" y="2171013"/>
                  <a:pt x="3030961" y="2163965"/>
                  <a:pt x="3038010" y="2156916"/>
                </a:cubicBezTo>
                <a:cubicBezTo>
                  <a:pt x="3016864" y="2142818"/>
                  <a:pt x="3002766" y="2121672"/>
                  <a:pt x="3009815" y="2093477"/>
                </a:cubicBezTo>
                <a:cubicBezTo>
                  <a:pt x="3016864" y="2079380"/>
                  <a:pt x="3023913" y="2065282"/>
                  <a:pt x="3030961" y="2058234"/>
                </a:cubicBezTo>
                <a:lnTo>
                  <a:pt x="3030961" y="2051185"/>
                </a:lnTo>
                <a:cubicBezTo>
                  <a:pt x="3038010" y="2044136"/>
                  <a:pt x="3038010" y="2044136"/>
                  <a:pt x="3038010" y="2044136"/>
                </a:cubicBezTo>
                <a:cubicBezTo>
                  <a:pt x="3038010" y="2037087"/>
                  <a:pt x="3030961" y="2030038"/>
                  <a:pt x="3030961" y="2022990"/>
                </a:cubicBezTo>
                <a:lnTo>
                  <a:pt x="3030961" y="2015941"/>
                </a:lnTo>
                <a:cubicBezTo>
                  <a:pt x="3016864" y="1980697"/>
                  <a:pt x="3009815" y="1952502"/>
                  <a:pt x="3009815" y="1931356"/>
                </a:cubicBezTo>
                <a:cubicBezTo>
                  <a:pt x="3016864" y="1839722"/>
                  <a:pt x="3115547" y="1811527"/>
                  <a:pt x="3178985" y="1797430"/>
                </a:cubicBezTo>
                <a:cubicBezTo>
                  <a:pt x="3193083" y="1797430"/>
                  <a:pt x="3221278" y="1790381"/>
                  <a:pt x="3235375" y="1783332"/>
                </a:cubicBezTo>
                <a:cubicBezTo>
                  <a:pt x="3228326" y="1769235"/>
                  <a:pt x="3228326" y="1762186"/>
                  <a:pt x="3186034" y="1712845"/>
                </a:cubicBezTo>
                <a:cubicBezTo>
                  <a:pt x="3157839" y="1684650"/>
                  <a:pt x="3129644" y="1649406"/>
                  <a:pt x="3087351" y="1593016"/>
                </a:cubicBezTo>
                <a:cubicBezTo>
                  <a:pt x="3002766" y="1473188"/>
                  <a:pt x="2981620" y="1437944"/>
                  <a:pt x="2967523" y="1423846"/>
                </a:cubicBezTo>
                <a:lnTo>
                  <a:pt x="2960474" y="1416798"/>
                </a:lnTo>
                <a:cubicBezTo>
                  <a:pt x="2953425" y="1416798"/>
                  <a:pt x="2953425" y="1409749"/>
                  <a:pt x="2953425" y="1409749"/>
                </a:cubicBezTo>
                <a:cubicBezTo>
                  <a:pt x="2925230" y="1374505"/>
                  <a:pt x="2932279" y="1325164"/>
                  <a:pt x="2946376" y="1261725"/>
                </a:cubicBezTo>
                <a:cubicBezTo>
                  <a:pt x="2960474" y="1219433"/>
                  <a:pt x="2974572" y="1155994"/>
                  <a:pt x="2974572" y="1085506"/>
                </a:cubicBezTo>
                <a:cubicBezTo>
                  <a:pt x="2981620" y="958629"/>
                  <a:pt x="2953425" y="810605"/>
                  <a:pt x="2875889" y="620289"/>
                </a:cubicBezTo>
                <a:cubicBezTo>
                  <a:pt x="2784255" y="380632"/>
                  <a:pt x="2523452" y="260803"/>
                  <a:pt x="2311989" y="204413"/>
                </a:cubicBezTo>
                <a:cubicBezTo>
                  <a:pt x="2086430" y="140975"/>
                  <a:pt x="1874967" y="133926"/>
                  <a:pt x="1797431" y="133926"/>
                </a:cubicBezTo>
                <a:cubicBezTo>
                  <a:pt x="1776285" y="133926"/>
                  <a:pt x="1755138" y="133926"/>
                  <a:pt x="1741041" y="133926"/>
                </a:cubicBezTo>
                <a:cubicBezTo>
                  <a:pt x="1219433" y="176218"/>
                  <a:pt x="972727" y="479314"/>
                  <a:pt x="859947" y="648484"/>
                </a:cubicBezTo>
                <a:cubicBezTo>
                  <a:pt x="768313" y="803557"/>
                  <a:pt x="711923" y="986824"/>
                  <a:pt x="711923" y="1177140"/>
                </a:cubicBezTo>
                <a:cubicBezTo>
                  <a:pt x="711923" y="1177140"/>
                  <a:pt x="711923" y="1184189"/>
                  <a:pt x="711923" y="1191238"/>
                </a:cubicBezTo>
                <a:cubicBezTo>
                  <a:pt x="711923" y="1416798"/>
                  <a:pt x="761264" y="1600065"/>
                  <a:pt x="817654" y="1769235"/>
                </a:cubicBezTo>
                <a:cubicBezTo>
                  <a:pt x="768313" y="1790381"/>
                  <a:pt x="733069" y="1832674"/>
                  <a:pt x="711923" y="1882015"/>
                </a:cubicBezTo>
                <a:cubicBezTo>
                  <a:pt x="641436" y="1691699"/>
                  <a:pt x="577997" y="1466139"/>
                  <a:pt x="577997" y="1198286"/>
                </a:cubicBezTo>
                <a:cubicBezTo>
                  <a:pt x="577997" y="1191238"/>
                  <a:pt x="577997" y="1177140"/>
                  <a:pt x="577997" y="1170091"/>
                </a:cubicBezTo>
                <a:cubicBezTo>
                  <a:pt x="570948" y="986824"/>
                  <a:pt x="613241" y="810605"/>
                  <a:pt x="704874" y="662582"/>
                </a:cubicBezTo>
                <a:cubicBezTo>
                  <a:pt x="895190" y="281949"/>
                  <a:pt x="1282871" y="14097"/>
                  <a:pt x="1733992" y="0"/>
                </a:cubicBezTo>
                <a:close/>
              </a:path>
            </a:pathLst>
          </a:custGeom>
          <a:solidFill>
            <a:schemeClr val="tx2"/>
          </a:solidFill>
          <a:ln w="77421" cap="flat">
            <a:noFill/>
            <a:prstDash val="solid"/>
            <a:miter/>
          </a:ln>
        </p:spPr>
        <p:txBody>
          <a:bodyPr rtlCol="0" anchor="ctr"/>
          <a:lstStyle/>
          <a:p>
            <a:endParaRPr lang="en-US" dirty="0"/>
          </a:p>
        </p:txBody>
      </p:sp>
      <p:sp>
        <p:nvSpPr>
          <p:cNvPr id="9" name="Graphic 4">
            <a:extLst>
              <a:ext uri="{FF2B5EF4-FFF2-40B4-BE49-F238E27FC236}">
                <a16:creationId xmlns:a16="http://schemas.microsoft.com/office/drawing/2014/main" id="{F30ED315-7CD8-53B8-3D16-6EE1C671AEBB}"/>
              </a:ext>
            </a:extLst>
          </p:cNvPr>
          <p:cNvSpPr>
            <a:spLocks noChangeAspect="1"/>
          </p:cNvSpPr>
          <p:nvPr/>
        </p:nvSpPr>
        <p:spPr>
          <a:xfrm>
            <a:off x="2175879" y="1398783"/>
            <a:ext cx="384070" cy="391716"/>
          </a:xfrm>
          <a:custGeom>
            <a:avLst/>
            <a:gdLst>
              <a:gd name="connsiteX0" fmla="*/ 171460 w 849849"/>
              <a:gd name="connsiteY0" fmla="*/ 221028 h 866765"/>
              <a:gd name="connsiteX1" fmla="*/ 121949 w 849849"/>
              <a:gd name="connsiteY1" fmla="*/ 171479 h 866765"/>
              <a:gd name="connsiteX2" fmla="*/ 171460 w 849849"/>
              <a:gd name="connsiteY2" fmla="*/ 121939 h 866765"/>
              <a:gd name="connsiteX3" fmla="*/ 221047 w 849849"/>
              <a:gd name="connsiteY3" fmla="*/ 171479 h 866765"/>
              <a:gd name="connsiteX4" fmla="*/ 171460 w 849849"/>
              <a:gd name="connsiteY4" fmla="*/ 221028 h 866765"/>
              <a:gd name="connsiteX5" fmla="*/ 171460 w 849849"/>
              <a:gd name="connsiteY5" fmla="*/ 221028 h 866765"/>
              <a:gd name="connsiteX6" fmla="*/ 171460 w 849849"/>
              <a:gd name="connsiteY6" fmla="*/ 94840 h 866765"/>
              <a:gd name="connsiteX7" fmla="*/ 94879 w 849849"/>
              <a:gd name="connsiteY7" fmla="*/ 171469 h 866765"/>
              <a:gd name="connsiteX8" fmla="*/ 171460 w 849849"/>
              <a:gd name="connsiteY8" fmla="*/ 248107 h 866765"/>
              <a:gd name="connsiteX9" fmla="*/ 248126 w 849849"/>
              <a:gd name="connsiteY9" fmla="*/ 171469 h 866765"/>
              <a:gd name="connsiteX10" fmla="*/ 171460 w 849849"/>
              <a:gd name="connsiteY10" fmla="*/ 94840 h 866765"/>
              <a:gd name="connsiteX11" fmla="*/ 171460 w 849849"/>
              <a:gd name="connsiteY11" fmla="*/ 94840 h 866765"/>
              <a:gd name="connsiteX12" fmla="*/ 711136 w 849849"/>
              <a:gd name="connsiteY12" fmla="*/ 171479 h 866765"/>
              <a:gd name="connsiteX13" fmla="*/ 697563 w 849849"/>
              <a:gd name="connsiteY13" fmla="*/ 185033 h 866765"/>
              <a:gd name="connsiteX14" fmla="*/ 621859 w 849849"/>
              <a:gd name="connsiteY14" fmla="*/ 185033 h 866765"/>
              <a:gd name="connsiteX15" fmla="*/ 608362 w 849849"/>
              <a:gd name="connsiteY15" fmla="*/ 171479 h 866765"/>
              <a:gd name="connsiteX16" fmla="*/ 621859 w 849849"/>
              <a:gd name="connsiteY16" fmla="*/ 157934 h 866765"/>
              <a:gd name="connsiteX17" fmla="*/ 697563 w 849849"/>
              <a:gd name="connsiteY17" fmla="*/ 157934 h 866765"/>
              <a:gd name="connsiteX18" fmla="*/ 711136 w 849849"/>
              <a:gd name="connsiteY18" fmla="*/ 171479 h 866765"/>
              <a:gd name="connsiteX19" fmla="*/ 711136 w 849849"/>
              <a:gd name="connsiteY19" fmla="*/ 171479 h 866765"/>
              <a:gd name="connsiteX20" fmla="*/ 589359 w 849849"/>
              <a:gd name="connsiteY20" fmla="*/ 171479 h 866765"/>
              <a:gd name="connsiteX21" fmla="*/ 575786 w 849849"/>
              <a:gd name="connsiteY21" fmla="*/ 185033 h 866765"/>
              <a:gd name="connsiteX22" fmla="*/ 462220 w 849849"/>
              <a:gd name="connsiteY22" fmla="*/ 185033 h 866765"/>
              <a:gd name="connsiteX23" fmla="*/ 448723 w 849849"/>
              <a:gd name="connsiteY23" fmla="*/ 171479 h 866765"/>
              <a:gd name="connsiteX24" fmla="*/ 462220 w 849849"/>
              <a:gd name="connsiteY24" fmla="*/ 157934 h 866765"/>
              <a:gd name="connsiteX25" fmla="*/ 575777 w 849849"/>
              <a:gd name="connsiteY25" fmla="*/ 157934 h 866765"/>
              <a:gd name="connsiteX26" fmla="*/ 589359 w 849849"/>
              <a:gd name="connsiteY26" fmla="*/ 171479 h 866765"/>
              <a:gd name="connsiteX27" fmla="*/ 589359 w 849849"/>
              <a:gd name="connsiteY27" fmla="*/ 171479 h 866765"/>
              <a:gd name="connsiteX28" fmla="*/ 330613 w 849849"/>
              <a:gd name="connsiteY28" fmla="*/ 750027 h 866765"/>
              <a:gd name="connsiteX29" fmla="*/ 317040 w 849849"/>
              <a:gd name="connsiteY29" fmla="*/ 763572 h 866765"/>
              <a:gd name="connsiteX30" fmla="*/ 189433 w 849849"/>
              <a:gd name="connsiteY30" fmla="*/ 763572 h 866765"/>
              <a:gd name="connsiteX31" fmla="*/ 175860 w 849849"/>
              <a:gd name="connsiteY31" fmla="*/ 750027 h 866765"/>
              <a:gd name="connsiteX32" fmla="*/ 189433 w 849849"/>
              <a:gd name="connsiteY32" fmla="*/ 736483 h 866765"/>
              <a:gd name="connsiteX33" fmla="*/ 317040 w 849849"/>
              <a:gd name="connsiteY33" fmla="*/ 736483 h 866765"/>
              <a:gd name="connsiteX34" fmla="*/ 330613 w 849849"/>
              <a:gd name="connsiteY34" fmla="*/ 750027 h 866765"/>
              <a:gd name="connsiteX35" fmla="*/ 330613 w 849849"/>
              <a:gd name="connsiteY35" fmla="*/ 750027 h 866765"/>
              <a:gd name="connsiteX36" fmla="*/ 467497 w 849849"/>
              <a:gd name="connsiteY36" fmla="*/ 750027 h 866765"/>
              <a:gd name="connsiteX37" fmla="*/ 453923 w 849849"/>
              <a:gd name="connsiteY37" fmla="*/ 763572 h 866765"/>
              <a:gd name="connsiteX38" fmla="*/ 368875 w 849849"/>
              <a:gd name="connsiteY38" fmla="*/ 763572 h 866765"/>
              <a:gd name="connsiteX39" fmla="*/ 355302 w 849849"/>
              <a:gd name="connsiteY39" fmla="*/ 750027 h 866765"/>
              <a:gd name="connsiteX40" fmla="*/ 368875 w 849849"/>
              <a:gd name="connsiteY40" fmla="*/ 736483 h 866765"/>
              <a:gd name="connsiteX41" fmla="*/ 453923 w 849849"/>
              <a:gd name="connsiteY41" fmla="*/ 736483 h 866765"/>
              <a:gd name="connsiteX42" fmla="*/ 467497 w 849849"/>
              <a:gd name="connsiteY42" fmla="*/ 750027 h 866765"/>
              <a:gd name="connsiteX43" fmla="*/ 467497 w 849849"/>
              <a:gd name="connsiteY43" fmla="*/ 750027 h 866765"/>
              <a:gd name="connsiteX44" fmla="*/ 275911 w 849849"/>
              <a:gd name="connsiteY44" fmla="*/ 475478 h 866765"/>
              <a:gd name="connsiteX45" fmla="*/ 289408 w 849849"/>
              <a:gd name="connsiteY45" fmla="*/ 461934 h 866765"/>
              <a:gd name="connsiteX46" fmla="*/ 374533 w 849849"/>
              <a:gd name="connsiteY46" fmla="*/ 461934 h 866765"/>
              <a:gd name="connsiteX47" fmla="*/ 388029 w 849849"/>
              <a:gd name="connsiteY47" fmla="*/ 475478 h 866765"/>
              <a:gd name="connsiteX48" fmla="*/ 374533 w 849849"/>
              <a:gd name="connsiteY48" fmla="*/ 489023 h 866765"/>
              <a:gd name="connsiteX49" fmla="*/ 289408 w 849849"/>
              <a:gd name="connsiteY49" fmla="*/ 489023 h 866765"/>
              <a:gd name="connsiteX50" fmla="*/ 275911 w 849849"/>
              <a:gd name="connsiteY50" fmla="*/ 475478 h 866765"/>
              <a:gd name="connsiteX51" fmla="*/ 275911 w 849849"/>
              <a:gd name="connsiteY51" fmla="*/ 475478 h 866765"/>
              <a:gd name="connsiteX52" fmla="*/ 412794 w 849849"/>
              <a:gd name="connsiteY52" fmla="*/ 475478 h 866765"/>
              <a:gd name="connsiteX53" fmla="*/ 426291 w 849849"/>
              <a:gd name="connsiteY53" fmla="*/ 461934 h 866765"/>
              <a:gd name="connsiteX54" fmla="*/ 553984 w 849849"/>
              <a:gd name="connsiteY54" fmla="*/ 461934 h 866765"/>
              <a:gd name="connsiteX55" fmla="*/ 567557 w 849849"/>
              <a:gd name="connsiteY55" fmla="*/ 475478 h 866765"/>
              <a:gd name="connsiteX56" fmla="*/ 553984 w 849849"/>
              <a:gd name="connsiteY56" fmla="*/ 489023 h 866765"/>
              <a:gd name="connsiteX57" fmla="*/ 426282 w 849849"/>
              <a:gd name="connsiteY57" fmla="*/ 489023 h 866765"/>
              <a:gd name="connsiteX58" fmla="*/ 412794 w 849849"/>
              <a:gd name="connsiteY58" fmla="*/ 475478 h 866765"/>
              <a:gd name="connsiteX59" fmla="*/ 412794 w 849849"/>
              <a:gd name="connsiteY59" fmla="*/ 475478 h 866765"/>
              <a:gd name="connsiteX60" fmla="*/ 787156 w 849849"/>
              <a:gd name="connsiteY60" fmla="*/ 726891 h 866765"/>
              <a:gd name="connsiteX61" fmla="*/ 735968 w 849849"/>
              <a:gd name="connsiteY61" fmla="*/ 790175 h 866765"/>
              <a:gd name="connsiteX62" fmla="*/ 726148 w 849849"/>
              <a:gd name="connsiteY62" fmla="*/ 795185 h 866765"/>
              <a:gd name="connsiteX63" fmla="*/ 725424 w 849849"/>
              <a:gd name="connsiteY63" fmla="*/ 795214 h 866765"/>
              <a:gd name="connsiteX64" fmla="*/ 715842 w 849849"/>
              <a:gd name="connsiteY64" fmla="*/ 791242 h 866765"/>
              <a:gd name="connsiteX65" fmla="*/ 679990 w 849849"/>
              <a:gd name="connsiteY65" fmla="*/ 755361 h 866765"/>
              <a:gd name="connsiteX66" fmla="*/ 679990 w 849849"/>
              <a:gd name="connsiteY66" fmla="*/ 736216 h 866765"/>
              <a:gd name="connsiteX67" fmla="*/ 699154 w 849849"/>
              <a:gd name="connsiteY67" fmla="*/ 736216 h 866765"/>
              <a:gd name="connsiteX68" fmla="*/ 724386 w 849849"/>
              <a:gd name="connsiteY68" fmla="*/ 761448 h 866765"/>
              <a:gd name="connsiteX69" fmla="*/ 766067 w 849849"/>
              <a:gd name="connsiteY69" fmla="*/ 709860 h 866765"/>
              <a:gd name="connsiteX70" fmla="*/ 785155 w 849849"/>
              <a:gd name="connsiteY70" fmla="*/ 707841 h 866765"/>
              <a:gd name="connsiteX71" fmla="*/ 787156 w 849849"/>
              <a:gd name="connsiteY71" fmla="*/ 726891 h 866765"/>
              <a:gd name="connsiteX72" fmla="*/ 787156 w 849849"/>
              <a:gd name="connsiteY72" fmla="*/ 726891 h 866765"/>
              <a:gd name="connsiteX73" fmla="*/ 822779 w 849849"/>
              <a:gd name="connsiteY73" fmla="*/ 831856 h 866765"/>
              <a:gd name="connsiteX74" fmla="*/ 822779 w 849849"/>
              <a:gd name="connsiteY74" fmla="*/ 668188 h 866765"/>
              <a:gd name="connsiteX75" fmla="*/ 814959 w 849849"/>
              <a:gd name="connsiteY75" fmla="*/ 660368 h 866765"/>
              <a:gd name="connsiteX76" fmla="*/ 651243 w 849849"/>
              <a:gd name="connsiteY76" fmla="*/ 660368 h 866765"/>
              <a:gd name="connsiteX77" fmla="*/ 643414 w 849849"/>
              <a:gd name="connsiteY77" fmla="*/ 668188 h 866765"/>
              <a:gd name="connsiteX78" fmla="*/ 643414 w 849849"/>
              <a:gd name="connsiteY78" fmla="*/ 831866 h 866765"/>
              <a:gd name="connsiteX79" fmla="*/ 651243 w 849849"/>
              <a:gd name="connsiteY79" fmla="*/ 839686 h 866765"/>
              <a:gd name="connsiteX80" fmla="*/ 814949 w 849849"/>
              <a:gd name="connsiteY80" fmla="*/ 839686 h 866765"/>
              <a:gd name="connsiteX81" fmla="*/ 822779 w 849849"/>
              <a:gd name="connsiteY81" fmla="*/ 831856 h 866765"/>
              <a:gd name="connsiteX82" fmla="*/ 822779 w 849849"/>
              <a:gd name="connsiteY82" fmla="*/ 831856 h 866765"/>
              <a:gd name="connsiteX83" fmla="*/ 503749 w 849849"/>
              <a:gd name="connsiteY83" fmla="*/ 799690 h 866765"/>
              <a:gd name="connsiteX84" fmla="*/ 503749 w 849849"/>
              <a:gd name="connsiteY84" fmla="*/ 700364 h 866765"/>
              <a:gd name="connsiteX85" fmla="*/ 488252 w 849849"/>
              <a:gd name="connsiteY85" fmla="*/ 684905 h 866765"/>
              <a:gd name="connsiteX86" fmla="*/ 155096 w 849849"/>
              <a:gd name="connsiteY86" fmla="*/ 684905 h 866765"/>
              <a:gd name="connsiteX87" fmla="*/ 139608 w 849849"/>
              <a:gd name="connsiteY87" fmla="*/ 700364 h 866765"/>
              <a:gd name="connsiteX88" fmla="*/ 139608 w 849849"/>
              <a:gd name="connsiteY88" fmla="*/ 799700 h 866765"/>
              <a:gd name="connsiteX89" fmla="*/ 155096 w 849849"/>
              <a:gd name="connsiteY89" fmla="*/ 815159 h 866765"/>
              <a:gd name="connsiteX90" fmla="*/ 488261 w 849849"/>
              <a:gd name="connsiteY90" fmla="*/ 815159 h 866765"/>
              <a:gd name="connsiteX91" fmla="*/ 503749 w 849849"/>
              <a:gd name="connsiteY91" fmla="*/ 799690 h 866765"/>
              <a:gd name="connsiteX92" fmla="*/ 503749 w 849849"/>
              <a:gd name="connsiteY92" fmla="*/ 799690 h 866765"/>
              <a:gd name="connsiteX93" fmla="*/ 259223 w 849849"/>
              <a:gd name="connsiteY93" fmla="*/ 410356 h 866765"/>
              <a:gd name="connsiteX94" fmla="*/ 227524 w 849849"/>
              <a:gd name="connsiteY94" fmla="*/ 540610 h 866765"/>
              <a:gd name="connsiteX95" fmla="*/ 584168 w 849849"/>
              <a:gd name="connsiteY95" fmla="*/ 540610 h 866765"/>
              <a:gd name="connsiteX96" fmla="*/ 615867 w 849849"/>
              <a:gd name="connsiteY96" fmla="*/ 410356 h 866765"/>
              <a:gd name="connsiteX97" fmla="*/ 259223 w 849849"/>
              <a:gd name="connsiteY97" fmla="*/ 410356 h 866765"/>
              <a:gd name="connsiteX98" fmla="*/ 259223 w 849849"/>
              <a:gd name="connsiteY98" fmla="*/ 410356 h 866765"/>
              <a:gd name="connsiteX99" fmla="*/ 740359 w 849849"/>
              <a:gd name="connsiteY99" fmla="*/ 221151 h 866765"/>
              <a:gd name="connsiteX100" fmla="*/ 740359 w 849849"/>
              <a:gd name="connsiteY100" fmla="*/ 121815 h 866765"/>
              <a:gd name="connsiteX101" fmla="*/ 724872 w 849849"/>
              <a:gd name="connsiteY101" fmla="*/ 106356 h 866765"/>
              <a:gd name="connsiteX102" fmla="*/ 434912 w 849849"/>
              <a:gd name="connsiteY102" fmla="*/ 106356 h 866765"/>
              <a:gd name="connsiteX103" fmla="*/ 419500 w 849849"/>
              <a:gd name="connsiteY103" fmla="*/ 121815 h 866765"/>
              <a:gd name="connsiteX104" fmla="*/ 419500 w 849849"/>
              <a:gd name="connsiteY104" fmla="*/ 221151 h 866765"/>
              <a:gd name="connsiteX105" fmla="*/ 434912 w 849849"/>
              <a:gd name="connsiteY105" fmla="*/ 236611 h 866765"/>
              <a:gd name="connsiteX106" fmla="*/ 724872 w 849849"/>
              <a:gd name="connsiteY106" fmla="*/ 236611 h 866765"/>
              <a:gd name="connsiteX107" fmla="*/ 740359 w 849849"/>
              <a:gd name="connsiteY107" fmla="*/ 221151 h 866765"/>
              <a:gd name="connsiteX108" fmla="*/ 740359 w 849849"/>
              <a:gd name="connsiteY108" fmla="*/ 221151 h 866765"/>
              <a:gd name="connsiteX109" fmla="*/ 315925 w 849849"/>
              <a:gd name="connsiteY109" fmla="*/ 181280 h 866765"/>
              <a:gd name="connsiteX110" fmla="*/ 315925 w 849849"/>
              <a:gd name="connsiteY110" fmla="*/ 161677 h 866765"/>
              <a:gd name="connsiteX111" fmla="*/ 281349 w 849849"/>
              <a:gd name="connsiteY111" fmla="*/ 156143 h 866765"/>
              <a:gd name="connsiteX112" fmla="*/ 270329 w 849849"/>
              <a:gd name="connsiteY112" fmla="*/ 146123 h 866765"/>
              <a:gd name="connsiteX113" fmla="*/ 259309 w 849849"/>
              <a:gd name="connsiteY113" fmla="*/ 119539 h 866765"/>
              <a:gd name="connsiteX114" fmla="*/ 260023 w 849849"/>
              <a:gd name="connsiteY114" fmla="*/ 104689 h 866765"/>
              <a:gd name="connsiteX115" fmla="*/ 280549 w 849849"/>
              <a:gd name="connsiteY115" fmla="*/ 76314 h 866765"/>
              <a:gd name="connsiteX116" fmla="*/ 266652 w 849849"/>
              <a:gd name="connsiteY116" fmla="*/ 62455 h 866765"/>
              <a:gd name="connsiteX117" fmla="*/ 238306 w 849849"/>
              <a:gd name="connsiteY117" fmla="*/ 83001 h 866765"/>
              <a:gd name="connsiteX118" fmla="*/ 223457 w 849849"/>
              <a:gd name="connsiteY118" fmla="*/ 83677 h 866765"/>
              <a:gd name="connsiteX119" fmla="*/ 196863 w 849849"/>
              <a:gd name="connsiteY119" fmla="*/ 72657 h 866765"/>
              <a:gd name="connsiteX120" fmla="*/ 186804 w 849849"/>
              <a:gd name="connsiteY120" fmla="*/ 61674 h 866765"/>
              <a:gd name="connsiteX121" fmla="*/ 181289 w 849849"/>
              <a:gd name="connsiteY121" fmla="*/ 27089 h 866765"/>
              <a:gd name="connsiteX122" fmla="*/ 161725 w 849849"/>
              <a:gd name="connsiteY122" fmla="*/ 27089 h 866765"/>
              <a:gd name="connsiteX123" fmla="*/ 156134 w 849849"/>
              <a:gd name="connsiteY123" fmla="*/ 61665 h 866765"/>
              <a:gd name="connsiteX124" fmla="*/ 146152 w 849849"/>
              <a:gd name="connsiteY124" fmla="*/ 72647 h 866765"/>
              <a:gd name="connsiteX125" fmla="*/ 119558 w 849849"/>
              <a:gd name="connsiteY125" fmla="*/ 83668 h 866765"/>
              <a:gd name="connsiteX126" fmla="*/ 104708 w 849849"/>
              <a:gd name="connsiteY126" fmla="*/ 82991 h 866765"/>
              <a:gd name="connsiteX127" fmla="*/ 76362 w 849849"/>
              <a:gd name="connsiteY127" fmla="*/ 62455 h 866765"/>
              <a:gd name="connsiteX128" fmla="*/ 62465 w 849849"/>
              <a:gd name="connsiteY128" fmla="*/ 76314 h 866765"/>
              <a:gd name="connsiteX129" fmla="*/ 82991 w 849849"/>
              <a:gd name="connsiteY129" fmla="*/ 104689 h 866765"/>
              <a:gd name="connsiteX130" fmla="*/ 83706 w 849849"/>
              <a:gd name="connsiteY130" fmla="*/ 119539 h 866765"/>
              <a:gd name="connsiteX131" fmla="*/ 72685 w 849849"/>
              <a:gd name="connsiteY131" fmla="*/ 146133 h 866765"/>
              <a:gd name="connsiteX132" fmla="*/ 61665 w 849849"/>
              <a:gd name="connsiteY132" fmla="*/ 156153 h 866765"/>
              <a:gd name="connsiteX133" fmla="*/ 27089 w 849849"/>
              <a:gd name="connsiteY133" fmla="*/ 161687 h 866765"/>
              <a:gd name="connsiteX134" fmla="*/ 27089 w 849849"/>
              <a:gd name="connsiteY134" fmla="*/ 181289 h 866765"/>
              <a:gd name="connsiteX135" fmla="*/ 61665 w 849849"/>
              <a:gd name="connsiteY135" fmla="*/ 186823 h 866765"/>
              <a:gd name="connsiteX136" fmla="*/ 72685 w 849849"/>
              <a:gd name="connsiteY136" fmla="*/ 196834 h 866765"/>
              <a:gd name="connsiteX137" fmla="*/ 83706 w 849849"/>
              <a:gd name="connsiteY137" fmla="*/ 223428 h 866765"/>
              <a:gd name="connsiteX138" fmla="*/ 82991 w 849849"/>
              <a:gd name="connsiteY138" fmla="*/ 238277 h 866765"/>
              <a:gd name="connsiteX139" fmla="*/ 62465 w 849849"/>
              <a:gd name="connsiteY139" fmla="*/ 266652 h 866765"/>
              <a:gd name="connsiteX140" fmla="*/ 76362 w 849849"/>
              <a:gd name="connsiteY140" fmla="*/ 280521 h 866765"/>
              <a:gd name="connsiteX141" fmla="*/ 104708 w 849849"/>
              <a:gd name="connsiteY141" fmla="*/ 259975 h 866765"/>
              <a:gd name="connsiteX142" fmla="*/ 119558 w 849849"/>
              <a:gd name="connsiteY142" fmla="*/ 259299 h 866765"/>
              <a:gd name="connsiteX143" fmla="*/ 146152 w 849849"/>
              <a:gd name="connsiteY143" fmla="*/ 270329 h 866765"/>
              <a:gd name="connsiteX144" fmla="*/ 156134 w 849849"/>
              <a:gd name="connsiteY144" fmla="*/ 281311 h 866765"/>
              <a:gd name="connsiteX145" fmla="*/ 161725 w 849849"/>
              <a:gd name="connsiteY145" fmla="*/ 315897 h 866765"/>
              <a:gd name="connsiteX146" fmla="*/ 181289 w 849849"/>
              <a:gd name="connsiteY146" fmla="*/ 315897 h 866765"/>
              <a:gd name="connsiteX147" fmla="*/ 186804 w 849849"/>
              <a:gd name="connsiteY147" fmla="*/ 281311 h 866765"/>
              <a:gd name="connsiteX148" fmla="*/ 196863 w 849849"/>
              <a:gd name="connsiteY148" fmla="*/ 270329 h 866765"/>
              <a:gd name="connsiteX149" fmla="*/ 223457 w 849849"/>
              <a:gd name="connsiteY149" fmla="*/ 259299 h 866765"/>
              <a:gd name="connsiteX150" fmla="*/ 238306 w 849849"/>
              <a:gd name="connsiteY150" fmla="*/ 259975 h 866765"/>
              <a:gd name="connsiteX151" fmla="*/ 266652 w 849849"/>
              <a:gd name="connsiteY151" fmla="*/ 280521 h 866765"/>
              <a:gd name="connsiteX152" fmla="*/ 280549 w 849849"/>
              <a:gd name="connsiteY152" fmla="*/ 266652 h 866765"/>
              <a:gd name="connsiteX153" fmla="*/ 260023 w 849849"/>
              <a:gd name="connsiteY153" fmla="*/ 238277 h 866765"/>
              <a:gd name="connsiteX154" fmla="*/ 259309 w 849849"/>
              <a:gd name="connsiteY154" fmla="*/ 223428 h 866765"/>
              <a:gd name="connsiteX155" fmla="*/ 270329 w 849849"/>
              <a:gd name="connsiteY155" fmla="*/ 196834 h 866765"/>
              <a:gd name="connsiteX156" fmla="*/ 281349 w 849849"/>
              <a:gd name="connsiteY156" fmla="*/ 186823 h 866765"/>
              <a:gd name="connsiteX157" fmla="*/ 315925 w 849849"/>
              <a:gd name="connsiteY157" fmla="*/ 181280 h 866765"/>
              <a:gd name="connsiteX158" fmla="*/ 315925 w 849849"/>
              <a:gd name="connsiteY158" fmla="*/ 181280 h 866765"/>
              <a:gd name="connsiteX159" fmla="*/ 814949 w 849849"/>
              <a:gd name="connsiteY159" fmla="*/ 633279 h 866765"/>
              <a:gd name="connsiteX160" fmla="*/ 651243 w 849849"/>
              <a:gd name="connsiteY160" fmla="*/ 633279 h 866765"/>
              <a:gd name="connsiteX161" fmla="*/ 616344 w 849849"/>
              <a:gd name="connsiteY161" fmla="*/ 668188 h 866765"/>
              <a:gd name="connsiteX162" fmla="*/ 616344 w 849849"/>
              <a:gd name="connsiteY162" fmla="*/ 736483 h 866765"/>
              <a:gd name="connsiteX163" fmla="*/ 530819 w 849849"/>
              <a:gd name="connsiteY163" fmla="*/ 736483 h 866765"/>
              <a:gd name="connsiteX164" fmla="*/ 530819 w 849849"/>
              <a:gd name="connsiteY164" fmla="*/ 700364 h 866765"/>
              <a:gd name="connsiteX165" fmla="*/ 488252 w 849849"/>
              <a:gd name="connsiteY165" fmla="*/ 657816 h 866765"/>
              <a:gd name="connsiteX166" fmla="*/ 155096 w 849849"/>
              <a:gd name="connsiteY166" fmla="*/ 657816 h 866765"/>
              <a:gd name="connsiteX167" fmla="*/ 112538 w 849849"/>
              <a:gd name="connsiteY167" fmla="*/ 700364 h 866765"/>
              <a:gd name="connsiteX168" fmla="*/ 112538 w 849849"/>
              <a:gd name="connsiteY168" fmla="*/ 736483 h 866765"/>
              <a:gd name="connsiteX169" fmla="*/ 65342 w 849849"/>
              <a:gd name="connsiteY169" fmla="*/ 736483 h 866765"/>
              <a:gd name="connsiteX170" fmla="*/ 27089 w 849849"/>
              <a:gd name="connsiteY170" fmla="*/ 698240 h 866765"/>
              <a:gd name="connsiteX171" fmla="*/ 27089 w 849849"/>
              <a:gd name="connsiteY171" fmla="*/ 561794 h 866765"/>
              <a:gd name="connsiteX172" fmla="*/ 99841 w 849849"/>
              <a:gd name="connsiteY172" fmla="*/ 489023 h 866765"/>
              <a:gd name="connsiteX173" fmla="*/ 212198 w 849849"/>
              <a:gd name="connsiteY173" fmla="*/ 489023 h 866765"/>
              <a:gd name="connsiteX174" fmla="*/ 197101 w 849849"/>
              <a:gd name="connsiteY174" fmla="*/ 550945 h 866765"/>
              <a:gd name="connsiteX175" fmla="*/ 199654 w 849849"/>
              <a:gd name="connsiteY175" fmla="*/ 562518 h 866765"/>
              <a:gd name="connsiteX176" fmla="*/ 210274 w 849849"/>
              <a:gd name="connsiteY176" fmla="*/ 567690 h 866765"/>
              <a:gd name="connsiteX177" fmla="*/ 594779 w 849849"/>
              <a:gd name="connsiteY177" fmla="*/ 567690 h 866765"/>
              <a:gd name="connsiteX178" fmla="*/ 607952 w 849849"/>
              <a:gd name="connsiteY178" fmla="*/ 557355 h 866765"/>
              <a:gd name="connsiteX179" fmla="*/ 624564 w 849849"/>
              <a:gd name="connsiteY179" fmla="*/ 489023 h 866765"/>
              <a:gd name="connsiteX180" fmla="*/ 743550 w 849849"/>
              <a:gd name="connsiteY180" fmla="*/ 489023 h 866765"/>
              <a:gd name="connsiteX181" fmla="*/ 843372 w 849849"/>
              <a:gd name="connsiteY181" fmla="*/ 389172 h 866765"/>
              <a:gd name="connsiteX182" fmla="*/ 843372 w 849849"/>
              <a:gd name="connsiteY182" fmla="*/ 223266 h 866765"/>
              <a:gd name="connsiteX183" fmla="*/ 778050 w 849849"/>
              <a:gd name="connsiteY183" fmla="*/ 157934 h 866765"/>
              <a:gd name="connsiteX184" fmla="*/ 767429 w 849849"/>
              <a:gd name="connsiteY184" fmla="*/ 157934 h 866765"/>
              <a:gd name="connsiteX185" fmla="*/ 767429 w 849849"/>
              <a:gd name="connsiteY185" fmla="*/ 121815 h 866765"/>
              <a:gd name="connsiteX186" fmla="*/ 724862 w 849849"/>
              <a:gd name="connsiteY186" fmla="*/ 79267 h 866765"/>
              <a:gd name="connsiteX187" fmla="*/ 434912 w 849849"/>
              <a:gd name="connsiteY187" fmla="*/ 79267 h 866765"/>
              <a:gd name="connsiteX188" fmla="*/ 392430 w 849849"/>
              <a:gd name="connsiteY188" fmla="*/ 121815 h 866765"/>
              <a:gd name="connsiteX189" fmla="*/ 392430 w 849849"/>
              <a:gd name="connsiteY189" fmla="*/ 157934 h 866765"/>
              <a:gd name="connsiteX190" fmla="*/ 342995 w 849849"/>
              <a:gd name="connsiteY190" fmla="*/ 157934 h 866765"/>
              <a:gd name="connsiteX191" fmla="*/ 342995 w 849849"/>
              <a:gd name="connsiteY191" fmla="*/ 150133 h 866765"/>
              <a:gd name="connsiteX192" fmla="*/ 331575 w 849849"/>
              <a:gd name="connsiteY192" fmla="*/ 136760 h 866765"/>
              <a:gd name="connsiteX193" fmla="*/ 294046 w 849849"/>
              <a:gd name="connsiteY193" fmla="*/ 130750 h 866765"/>
              <a:gd name="connsiteX194" fmla="*/ 286941 w 849849"/>
              <a:gd name="connsiteY194" fmla="*/ 113643 h 866765"/>
              <a:gd name="connsiteX195" fmla="*/ 309220 w 849849"/>
              <a:gd name="connsiteY195" fmla="*/ 82829 h 866765"/>
              <a:gd name="connsiteX196" fmla="*/ 307858 w 849849"/>
              <a:gd name="connsiteY196" fmla="*/ 65313 h 866765"/>
              <a:gd name="connsiteX197" fmla="*/ 277673 w 849849"/>
              <a:gd name="connsiteY197" fmla="*/ 35119 h 866765"/>
              <a:gd name="connsiteX198" fmla="*/ 260099 w 849849"/>
              <a:gd name="connsiteY198" fmla="*/ 33728 h 866765"/>
              <a:gd name="connsiteX199" fmla="*/ 229352 w 849849"/>
              <a:gd name="connsiteY199" fmla="*/ 56036 h 866765"/>
              <a:gd name="connsiteX200" fmla="*/ 212179 w 849849"/>
              <a:gd name="connsiteY200" fmla="*/ 48949 h 866765"/>
              <a:gd name="connsiteX201" fmla="*/ 206188 w 849849"/>
              <a:gd name="connsiteY201" fmla="*/ 11401 h 866765"/>
              <a:gd name="connsiteX202" fmla="*/ 192853 w 849849"/>
              <a:gd name="connsiteY202" fmla="*/ 0 h 866765"/>
              <a:gd name="connsiteX203" fmla="*/ 150124 w 849849"/>
              <a:gd name="connsiteY203" fmla="*/ 0 h 866765"/>
              <a:gd name="connsiteX204" fmla="*/ 136789 w 849849"/>
              <a:gd name="connsiteY204" fmla="*/ 11401 h 866765"/>
              <a:gd name="connsiteX205" fmla="*/ 130721 w 849849"/>
              <a:gd name="connsiteY205" fmla="*/ 48949 h 866765"/>
              <a:gd name="connsiteX206" fmla="*/ 113633 w 849849"/>
              <a:gd name="connsiteY206" fmla="*/ 56036 h 866765"/>
              <a:gd name="connsiteX207" fmla="*/ 82810 w 849849"/>
              <a:gd name="connsiteY207" fmla="*/ 33728 h 866765"/>
              <a:gd name="connsiteX208" fmla="*/ 65322 w 849849"/>
              <a:gd name="connsiteY208" fmla="*/ 35119 h 866765"/>
              <a:gd name="connsiteX209" fmla="*/ 35138 w 849849"/>
              <a:gd name="connsiteY209" fmla="*/ 65313 h 866765"/>
              <a:gd name="connsiteX210" fmla="*/ 33699 w 849849"/>
              <a:gd name="connsiteY210" fmla="*/ 82829 h 866765"/>
              <a:gd name="connsiteX211" fmla="*/ 56055 w 849849"/>
              <a:gd name="connsiteY211" fmla="*/ 113643 h 866765"/>
              <a:gd name="connsiteX212" fmla="*/ 48949 w 849849"/>
              <a:gd name="connsiteY212" fmla="*/ 130750 h 866765"/>
              <a:gd name="connsiteX213" fmla="*/ 11420 w 849849"/>
              <a:gd name="connsiteY213" fmla="*/ 136760 h 866765"/>
              <a:gd name="connsiteX214" fmla="*/ 0 w 849849"/>
              <a:gd name="connsiteY214" fmla="*/ 150133 h 866765"/>
              <a:gd name="connsiteX215" fmla="*/ 0 w 849849"/>
              <a:gd name="connsiteY215" fmla="*/ 192834 h 866765"/>
              <a:gd name="connsiteX216" fmla="*/ 11420 w 849849"/>
              <a:gd name="connsiteY216" fmla="*/ 206207 h 866765"/>
              <a:gd name="connsiteX217" fmla="*/ 48949 w 849849"/>
              <a:gd name="connsiteY217" fmla="*/ 212207 h 866765"/>
              <a:gd name="connsiteX218" fmla="*/ 56055 w 849849"/>
              <a:gd name="connsiteY218" fmla="*/ 229314 h 866765"/>
              <a:gd name="connsiteX219" fmla="*/ 33699 w 849849"/>
              <a:gd name="connsiteY219" fmla="*/ 260128 h 866765"/>
              <a:gd name="connsiteX220" fmla="*/ 35138 w 849849"/>
              <a:gd name="connsiteY220" fmla="*/ 277644 h 866765"/>
              <a:gd name="connsiteX221" fmla="*/ 65322 w 849849"/>
              <a:gd name="connsiteY221" fmla="*/ 307838 h 866765"/>
              <a:gd name="connsiteX222" fmla="*/ 82810 w 849849"/>
              <a:gd name="connsiteY222" fmla="*/ 309239 h 866765"/>
              <a:gd name="connsiteX223" fmla="*/ 113633 w 849849"/>
              <a:gd name="connsiteY223" fmla="*/ 286931 h 866765"/>
              <a:gd name="connsiteX224" fmla="*/ 130721 w 849849"/>
              <a:gd name="connsiteY224" fmla="*/ 294018 h 866765"/>
              <a:gd name="connsiteX225" fmla="*/ 136789 w 849849"/>
              <a:gd name="connsiteY225" fmla="*/ 331565 h 866765"/>
              <a:gd name="connsiteX226" fmla="*/ 150124 w 849849"/>
              <a:gd name="connsiteY226" fmla="*/ 342967 h 866765"/>
              <a:gd name="connsiteX227" fmla="*/ 192853 w 849849"/>
              <a:gd name="connsiteY227" fmla="*/ 342967 h 866765"/>
              <a:gd name="connsiteX228" fmla="*/ 206188 w 849849"/>
              <a:gd name="connsiteY228" fmla="*/ 331565 h 866765"/>
              <a:gd name="connsiteX229" fmla="*/ 212179 w 849849"/>
              <a:gd name="connsiteY229" fmla="*/ 294008 h 866765"/>
              <a:gd name="connsiteX230" fmla="*/ 229352 w 849849"/>
              <a:gd name="connsiteY230" fmla="*/ 286922 h 866765"/>
              <a:gd name="connsiteX231" fmla="*/ 260099 w 849849"/>
              <a:gd name="connsiteY231" fmla="*/ 309239 h 866765"/>
              <a:gd name="connsiteX232" fmla="*/ 277673 w 849849"/>
              <a:gd name="connsiteY232" fmla="*/ 307838 h 866765"/>
              <a:gd name="connsiteX233" fmla="*/ 307858 w 849849"/>
              <a:gd name="connsiteY233" fmla="*/ 277644 h 866765"/>
              <a:gd name="connsiteX234" fmla="*/ 309220 w 849849"/>
              <a:gd name="connsiteY234" fmla="*/ 260128 h 866765"/>
              <a:gd name="connsiteX235" fmla="*/ 286941 w 849849"/>
              <a:gd name="connsiteY235" fmla="*/ 229314 h 866765"/>
              <a:gd name="connsiteX236" fmla="*/ 294046 w 849849"/>
              <a:gd name="connsiteY236" fmla="*/ 212207 h 866765"/>
              <a:gd name="connsiteX237" fmla="*/ 331575 w 849849"/>
              <a:gd name="connsiteY237" fmla="*/ 206207 h 866765"/>
              <a:gd name="connsiteX238" fmla="*/ 342995 w 849849"/>
              <a:gd name="connsiteY238" fmla="*/ 192834 h 866765"/>
              <a:gd name="connsiteX239" fmla="*/ 342995 w 849849"/>
              <a:gd name="connsiteY239" fmla="*/ 185033 h 866765"/>
              <a:gd name="connsiteX240" fmla="*/ 392430 w 849849"/>
              <a:gd name="connsiteY240" fmla="*/ 185033 h 866765"/>
              <a:gd name="connsiteX241" fmla="*/ 392430 w 849849"/>
              <a:gd name="connsiteY241" fmla="*/ 221151 h 866765"/>
              <a:gd name="connsiteX242" fmla="*/ 434912 w 849849"/>
              <a:gd name="connsiteY242" fmla="*/ 263700 h 866765"/>
              <a:gd name="connsiteX243" fmla="*/ 724872 w 849849"/>
              <a:gd name="connsiteY243" fmla="*/ 263700 h 866765"/>
              <a:gd name="connsiteX244" fmla="*/ 767439 w 849849"/>
              <a:gd name="connsiteY244" fmla="*/ 221151 h 866765"/>
              <a:gd name="connsiteX245" fmla="*/ 767439 w 849849"/>
              <a:gd name="connsiteY245" fmla="*/ 185033 h 866765"/>
              <a:gd name="connsiteX246" fmla="*/ 778059 w 849849"/>
              <a:gd name="connsiteY246" fmla="*/ 185033 h 866765"/>
              <a:gd name="connsiteX247" fmla="*/ 816312 w 849849"/>
              <a:gd name="connsiteY247" fmla="*/ 223266 h 866765"/>
              <a:gd name="connsiteX248" fmla="*/ 816312 w 849849"/>
              <a:gd name="connsiteY248" fmla="*/ 389172 h 866765"/>
              <a:gd name="connsiteX249" fmla="*/ 743560 w 849849"/>
              <a:gd name="connsiteY249" fmla="*/ 461934 h 866765"/>
              <a:gd name="connsiteX250" fmla="*/ 631203 w 849849"/>
              <a:gd name="connsiteY250" fmla="*/ 461934 h 866765"/>
              <a:gd name="connsiteX251" fmla="*/ 646300 w 849849"/>
              <a:gd name="connsiteY251" fmla="*/ 400012 h 866765"/>
              <a:gd name="connsiteX252" fmla="*/ 643747 w 849849"/>
              <a:gd name="connsiteY252" fmla="*/ 388439 h 866765"/>
              <a:gd name="connsiteX253" fmla="*/ 633127 w 849849"/>
              <a:gd name="connsiteY253" fmla="*/ 383267 h 866765"/>
              <a:gd name="connsiteX254" fmla="*/ 248603 w 849849"/>
              <a:gd name="connsiteY254" fmla="*/ 383267 h 866765"/>
              <a:gd name="connsiteX255" fmla="*/ 235429 w 849849"/>
              <a:gd name="connsiteY255" fmla="*/ 393602 h 866765"/>
              <a:gd name="connsiteX256" fmla="*/ 218818 w 849849"/>
              <a:gd name="connsiteY256" fmla="*/ 461934 h 866765"/>
              <a:gd name="connsiteX257" fmla="*/ 99832 w 849849"/>
              <a:gd name="connsiteY257" fmla="*/ 461934 h 866765"/>
              <a:gd name="connsiteX258" fmla="*/ 10 w 849849"/>
              <a:gd name="connsiteY258" fmla="*/ 561785 h 866765"/>
              <a:gd name="connsiteX259" fmla="*/ 10 w 849849"/>
              <a:gd name="connsiteY259" fmla="*/ 698230 h 866765"/>
              <a:gd name="connsiteX260" fmla="*/ 65332 w 849849"/>
              <a:gd name="connsiteY260" fmla="*/ 763562 h 866765"/>
              <a:gd name="connsiteX261" fmla="*/ 112528 w 849849"/>
              <a:gd name="connsiteY261" fmla="*/ 763562 h 866765"/>
              <a:gd name="connsiteX262" fmla="*/ 112528 w 849849"/>
              <a:gd name="connsiteY262" fmla="*/ 799690 h 866765"/>
              <a:gd name="connsiteX263" fmla="*/ 155086 w 849849"/>
              <a:gd name="connsiteY263" fmla="*/ 842239 h 866765"/>
              <a:gd name="connsiteX264" fmla="*/ 488252 w 849849"/>
              <a:gd name="connsiteY264" fmla="*/ 842239 h 866765"/>
              <a:gd name="connsiteX265" fmla="*/ 530819 w 849849"/>
              <a:gd name="connsiteY265" fmla="*/ 799690 h 866765"/>
              <a:gd name="connsiteX266" fmla="*/ 530819 w 849849"/>
              <a:gd name="connsiteY266" fmla="*/ 763562 h 866765"/>
              <a:gd name="connsiteX267" fmla="*/ 616344 w 849849"/>
              <a:gd name="connsiteY267" fmla="*/ 763562 h 866765"/>
              <a:gd name="connsiteX268" fmla="*/ 616344 w 849849"/>
              <a:gd name="connsiteY268" fmla="*/ 831856 h 866765"/>
              <a:gd name="connsiteX269" fmla="*/ 651243 w 849849"/>
              <a:gd name="connsiteY269" fmla="*/ 866766 h 866765"/>
              <a:gd name="connsiteX270" fmla="*/ 814949 w 849849"/>
              <a:gd name="connsiteY270" fmla="*/ 866766 h 866765"/>
              <a:gd name="connsiteX271" fmla="*/ 849849 w 849849"/>
              <a:gd name="connsiteY271" fmla="*/ 831856 h 866765"/>
              <a:gd name="connsiteX272" fmla="*/ 849849 w 849849"/>
              <a:gd name="connsiteY272" fmla="*/ 668188 h 866765"/>
              <a:gd name="connsiteX273" fmla="*/ 814949 w 849849"/>
              <a:gd name="connsiteY273" fmla="*/ 633279 h 86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849849" h="866765">
                <a:moveTo>
                  <a:pt x="171460" y="221028"/>
                </a:moveTo>
                <a:cubicBezTo>
                  <a:pt x="144151" y="221028"/>
                  <a:pt x="121949" y="198806"/>
                  <a:pt x="121949" y="171479"/>
                </a:cubicBezTo>
                <a:cubicBezTo>
                  <a:pt x="121949" y="144161"/>
                  <a:pt x="144151" y="121939"/>
                  <a:pt x="171460" y="121939"/>
                </a:cubicBezTo>
                <a:cubicBezTo>
                  <a:pt x="198853" y="121939"/>
                  <a:pt x="221047" y="144161"/>
                  <a:pt x="221047" y="171479"/>
                </a:cubicBezTo>
                <a:cubicBezTo>
                  <a:pt x="221056" y="198806"/>
                  <a:pt x="198853" y="221028"/>
                  <a:pt x="171460" y="221028"/>
                </a:cubicBezTo>
                <a:lnTo>
                  <a:pt x="171460" y="221028"/>
                </a:lnTo>
                <a:close/>
                <a:moveTo>
                  <a:pt x="171460" y="94840"/>
                </a:moveTo>
                <a:cubicBezTo>
                  <a:pt x="129216" y="94840"/>
                  <a:pt x="94879" y="129216"/>
                  <a:pt x="94879" y="171469"/>
                </a:cubicBezTo>
                <a:cubicBezTo>
                  <a:pt x="94879" y="213731"/>
                  <a:pt x="129216" y="248107"/>
                  <a:pt x="171460" y="248107"/>
                </a:cubicBezTo>
                <a:cubicBezTo>
                  <a:pt x="213789" y="248107"/>
                  <a:pt x="248126" y="213731"/>
                  <a:pt x="248126" y="171469"/>
                </a:cubicBezTo>
                <a:cubicBezTo>
                  <a:pt x="248126" y="129226"/>
                  <a:pt x="213789" y="94840"/>
                  <a:pt x="171460" y="94840"/>
                </a:cubicBezTo>
                <a:lnTo>
                  <a:pt x="171460" y="94840"/>
                </a:lnTo>
                <a:close/>
                <a:moveTo>
                  <a:pt x="711136" y="171479"/>
                </a:moveTo>
                <a:cubicBezTo>
                  <a:pt x="711136" y="178956"/>
                  <a:pt x="704983" y="185033"/>
                  <a:pt x="697563" y="185033"/>
                </a:cubicBezTo>
                <a:lnTo>
                  <a:pt x="621859" y="185033"/>
                </a:lnTo>
                <a:cubicBezTo>
                  <a:pt x="614353" y="185033"/>
                  <a:pt x="608362" y="178965"/>
                  <a:pt x="608362" y="171479"/>
                </a:cubicBezTo>
                <a:cubicBezTo>
                  <a:pt x="608362" y="164001"/>
                  <a:pt x="614353" y="157934"/>
                  <a:pt x="621859" y="157934"/>
                </a:cubicBezTo>
                <a:lnTo>
                  <a:pt x="697563" y="157934"/>
                </a:lnTo>
                <a:cubicBezTo>
                  <a:pt x="704983" y="157934"/>
                  <a:pt x="711136" y="164001"/>
                  <a:pt x="711136" y="171479"/>
                </a:cubicBezTo>
                <a:lnTo>
                  <a:pt x="711136" y="171479"/>
                </a:lnTo>
                <a:close/>
                <a:moveTo>
                  <a:pt x="589359" y="171479"/>
                </a:moveTo>
                <a:cubicBezTo>
                  <a:pt x="589359" y="178956"/>
                  <a:pt x="583292" y="185033"/>
                  <a:pt x="575786" y="185033"/>
                </a:cubicBezTo>
                <a:lnTo>
                  <a:pt x="462220" y="185033"/>
                </a:lnTo>
                <a:cubicBezTo>
                  <a:pt x="454790" y="185033"/>
                  <a:pt x="448723" y="178965"/>
                  <a:pt x="448723" y="171479"/>
                </a:cubicBezTo>
                <a:cubicBezTo>
                  <a:pt x="448723" y="164001"/>
                  <a:pt x="454790" y="157934"/>
                  <a:pt x="462220" y="157934"/>
                </a:cubicBezTo>
                <a:lnTo>
                  <a:pt x="575777" y="157934"/>
                </a:lnTo>
                <a:cubicBezTo>
                  <a:pt x="583282" y="157934"/>
                  <a:pt x="589359" y="164001"/>
                  <a:pt x="589359" y="171479"/>
                </a:cubicBezTo>
                <a:lnTo>
                  <a:pt x="589359" y="171479"/>
                </a:lnTo>
                <a:close/>
                <a:moveTo>
                  <a:pt x="330613" y="750027"/>
                </a:moveTo>
                <a:cubicBezTo>
                  <a:pt x="330613" y="757504"/>
                  <a:pt x="324545" y="763572"/>
                  <a:pt x="317040" y="763572"/>
                </a:cubicBezTo>
                <a:lnTo>
                  <a:pt x="189433" y="763572"/>
                </a:lnTo>
                <a:cubicBezTo>
                  <a:pt x="181928" y="763572"/>
                  <a:pt x="175860" y="757514"/>
                  <a:pt x="175860" y="750027"/>
                </a:cubicBezTo>
                <a:cubicBezTo>
                  <a:pt x="175860" y="742540"/>
                  <a:pt x="181928" y="736483"/>
                  <a:pt x="189433" y="736483"/>
                </a:cubicBezTo>
                <a:lnTo>
                  <a:pt x="317040" y="736483"/>
                </a:lnTo>
                <a:cubicBezTo>
                  <a:pt x="324545" y="736473"/>
                  <a:pt x="330613" y="742540"/>
                  <a:pt x="330613" y="750027"/>
                </a:cubicBezTo>
                <a:lnTo>
                  <a:pt x="330613" y="750027"/>
                </a:lnTo>
                <a:close/>
                <a:moveTo>
                  <a:pt x="467497" y="750027"/>
                </a:moveTo>
                <a:cubicBezTo>
                  <a:pt x="467497" y="757504"/>
                  <a:pt x="461429" y="763572"/>
                  <a:pt x="453923" y="763572"/>
                </a:cubicBezTo>
                <a:lnTo>
                  <a:pt x="368875" y="763572"/>
                </a:lnTo>
                <a:cubicBezTo>
                  <a:pt x="361369" y="763572"/>
                  <a:pt x="355302" y="757514"/>
                  <a:pt x="355302" y="750027"/>
                </a:cubicBezTo>
                <a:cubicBezTo>
                  <a:pt x="355302" y="742540"/>
                  <a:pt x="361369" y="736483"/>
                  <a:pt x="368875" y="736483"/>
                </a:cubicBezTo>
                <a:lnTo>
                  <a:pt x="453923" y="736483"/>
                </a:lnTo>
                <a:cubicBezTo>
                  <a:pt x="461420" y="736473"/>
                  <a:pt x="467497" y="742540"/>
                  <a:pt x="467497" y="750027"/>
                </a:cubicBezTo>
                <a:lnTo>
                  <a:pt x="467497" y="750027"/>
                </a:lnTo>
                <a:close/>
                <a:moveTo>
                  <a:pt x="275911" y="475478"/>
                </a:moveTo>
                <a:cubicBezTo>
                  <a:pt x="275911" y="468001"/>
                  <a:pt x="281902" y="461934"/>
                  <a:pt x="289408" y="461934"/>
                </a:cubicBezTo>
                <a:lnTo>
                  <a:pt x="374533" y="461934"/>
                </a:lnTo>
                <a:cubicBezTo>
                  <a:pt x="381953" y="461934"/>
                  <a:pt x="388029" y="467992"/>
                  <a:pt x="388029" y="475478"/>
                </a:cubicBezTo>
                <a:cubicBezTo>
                  <a:pt x="388029" y="482965"/>
                  <a:pt x="381962" y="489023"/>
                  <a:pt x="374533" y="489023"/>
                </a:cubicBezTo>
                <a:lnTo>
                  <a:pt x="289408" y="489023"/>
                </a:lnTo>
                <a:cubicBezTo>
                  <a:pt x="281902" y="489023"/>
                  <a:pt x="275911" y="482965"/>
                  <a:pt x="275911" y="475478"/>
                </a:cubicBezTo>
                <a:lnTo>
                  <a:pt x="275911" y="475478"/>
                </a:lnTo>
                <a:close/>
                <a:moveTo>
                  <a:pt x="412794" y="475478"/>
                </a:moveTo>
                <a:cubicBezTo>
                  <a:pt x="412794" y="468001"/>
                  <a:pt x="418862" y="461934"/>
                  <a:pt x="426291" y="461934"/>
                </a:cubicBezTo>
                <a:lnTo>
                  <a:pt x="553984" y="461934"/>
                </a:lnTo>
                <a:cubicBezTo>
                  <a:pt x="561413" y="461934"/>
                  <a:pt x="567557" y="467992"/>
                  <a:pt x="567557" y="475478"/>
                </a:cubicBezTo>
                <a:cubicBezTo>
                  <a:pt x="567557" y="482965"/>
                  <a:pt x="561413" y="489023"/>
                  <a:pt x="553984" y="489023"/>
                </a:cubicBezTo>
                <a:lnTo>
                  <a:pt x="426282" y="489023"/>
                </a:lnTo>
                <a:cubicBezTo>
                  <a:pt x="418862" y="489023"/>
                  <a:pt x="412794" y="482965"/>
                  <a:pt x="412794" y="475478"/>
                </a:cubicBezTo>
                <a:lnTo>
                  <a:pt x="412794" y="475478"/>
                </a:lnTo>
                <a:close/>
                <a:moveTo>
                  <a:pt x="787156" y="726891"/>
                </a:moveTo>
                <a:lnTo>
                  <a:pt x="735968" y="790175"/>
                </a:lnTo>
                <a:cubicBezTo>
                  <a:pt x="733577" y="793166"/>
                  <a:pt x="729977" y="794985"/>
                  <a:pt x="726148" y="795185"/>
                </a:cubicBezTo>
                <a:cubicBezTo>
                  <a:pt x="725910" y="795204"/>
                  <a:pt x="725672" y="795214"/>
                  <a:pt x="725424" y="795214"/>
                </a:cubicBezTo>
                <a:cubicBezTo>
                  <a:pt x="721833" y="795214"/>
                  <a:pt x="718395" y="793794"/>
                  <a:pt x="715842" y="791242"/>
                </a:cubicBezTo>
                <a:lnTo>
                  <a:pt x="679990" y="755361"/>
                </a:lnTo>
                <a:cubicBezTo>
                  <a:pt x="674722" y="750075"/>
                  <a:pt x="674722" y="741502"/>
                  <a:pt x="679990" y="736216"/>
                </a:cubicBezTo>
                <a:cubicBezTo>
                  <a:pt x="685257" y="730929"/>
                  <a:pt x="693887" y="730929"/>
                  <a:pt x="699154" y="736216"/>
                </a:cubicBezTo>
                <a:lnTo>
                  <a:pt x="724386" y="761448"/>
                </a:lnTo>
                <a:lnTo>
                  <a:pt x="766067" y="709860"/>
                </a:lnTo>
                <a:cubicBezTo>
                  <a:pt x="770782" y="704050"/>
                  <a:pt x="779326" y="703145"/>
                  <a:pt x="785155" y="707841"/>
                </a:cubicBezTo>
                <a:cubicBezTo>
                  <a:pt x="790994" y="712556"/>
                  <a:pt x="791870" y="721081"/>
                  <a:pt x="787156" y="726891"/>
                </a:cubicBezTo>
                <a:lnTo>
                  <a:pt x="787156" y="726891"/>
                </a:lnTo>
                <a:close/>
                <a:moveTo>
                  <a:pt x="822779" y="831856"/>
                </a:moveTo>
                <a:lnTo>
                  <a:pt x="822779" y="668188"/>
                </a:lnTo>
                <a:cubicBezTo>
                  <a:pt x="822779" y="663959"/>
                  <a:pt x="819188" y="660368"/>
                  <a:pt x="814959" y="660368"/>
                </a:cubicBezTo>
                <a:lnTo>
                  <a:pt x="651243" y="660368"/>
                </a:lnTo>
                <a:cubicBezTo>
                  <a:pt x="647014" y="660368"/>
                  <a:pt x="643414" y="663959"/>
                  <a:pt x="643414" y="668188"/>
                </a:cubicBezTo>
                <a:lnTo>
                  <a:pt x="643414" y="831866"/>
                </a:lnTo>
                <a:cubicBezTo>
                  <a:pt x="643414" y="836105"/>
                  <a:pt x="647005" y="839686"/>
                  <a:pt x="651243" y="839686"/>
                </a:cubicBezTo>
                <a:lnTo>
                  <a:pt x="814949" y="839686"/>
                </a:lnTo>
                <a:cubicBezTo>
                  <a:pt x="819179" y="839676"/>
                  <a:pt x="822779" y="836095"/>
                  <a:pt x="822779" y="831856"/>
                </a:cubicBezTo>
                <a:lnTo>
                  <a:pt x="822779" y="831856"/>
                </a:lnTo>
                <a:close/>
                <a:moveTo>
                  <a:pt x="503749" y="799690"/>
                </a:moveTo>
                <a:lnTo>
                  <a:pt x="503749" y="700364"/>
                </a:lnTo>
                <a:cubicBezTo>
                  <a:pt x="503749" y="691829"/>
                  <a:pt x="496795" y="684905"/>
                  <a:pt x="488252" y="684905"/>
                </a:cubicBezTo>
                <a:lnTo>
                  <a:pt x="155096" y="684905"/>
                </a:lnTo>
                <a:cubicBezTo>
                  <a:pt x="146552" y="684905"/>
                  <a:pt x="139608" y="691839"/>
                  <a:pt x="139608" y="700364"/>
                </a:cubicBezTo>
                <a:lnTo>
                  <a:pt x="139608" y="799700"/>
                </a:lnTo>
                <a:cubicBezTo>
                  <a:pt x="139608" y="808225"/>
                  <a:pt x="146552" y="815159"/>
                  <a:pt x="155096" y="815159"/>
                </a:cubicBezTo>
                <a:lnTo>
                  <a:pt x="488261" y="815159"/>
                </a:lnTo>
                <a:cubicBezTo>
                  <a:pt x="496795" y="815150"/>
                  <a:pt x="503749" y="808215"/>
                  <a:pt x="503749" y="799690"/>
                </a:cubicBezTo>
                <a:lnTo>
                  <a:pt x="503749" y="799690"/>
                </a:lnTo>
                <a:close/>
                <a:moveTo>
                  <a:pt x="259223" y="410356"/>
                </a:moveTo>
                <a:lnTo>
                  <a:pt x="227524" y="540610"/>
                </a:lnTo>
                <a:lnTo>
                  <a:pt x="584168" y="540610"/>
                </a:lnTo>
                <a:lnTo>
                  <a:pt x="615867" y="410356"/>
                </a:lnTo>
                <a:lnTo>
                  <a:pt x="259223" y="410356"/>
                </a:lnTo>
                <a:lnTo>
                  <a:pt x="259223" y="410356"/>
                </a:lnTo>
                <a:close/>
                <a:moveTo>
                  <a:pt x="740359" y="221151"/>
                </a:moveTo>
                <a:lnTo>
                  <a:pt x="740359" y="121815"/>
                </a:lnTo>
                <a:cubicBezTo>
                  <a:pt x="740359" y="113290"/>
                  <a:pt x="733416" y="106356"/>
                  <a:pt x="724872" y="106356"/>
                </a:cubicBezTo>
                <a:lnTo>
                  <a:pt x="434912" y="106356"/>
                </a:lnTo>
                <a:cubicBezTo>
                  <a:pt x="426444" y="106356"/>
                  <a:pt x="419500" y="113290"/>
                  <a:pt x="419500" y="121815"/>
                </a:cubicBezTo>
                <a:lnTo>
                  <a:pt x="419500" y="221151"/>
                </a:lnTo>
                <a:cubicBezTo>
                  <a:pt x="419500" y="229676"/>
                  <a:pt x="426444" y="236611"/>
                  <a:pt x="434912" y="236611"/>
                </a:cubicBezTo>
                <a:lnTo>
                  <a:pt x="724872" y="236611"/>
                </a:lnTo>
                <a:cubicBezTo>
                  <a:pt x="733416" y="236611"/>
                  <a:pt x="740359" y="229667"/>
                  <a:pt x="740359" y="221151"/>
                </a:cubicBezTo>
                <a:lnTo>
                  <a:pt x="740359" y="221151"/>
                </a:lnTo>
                <a:close/>
                <a:moveTo>
                  <a:pt x="315925" y="181280"/>
                </a:moveTo>
                <a:lnTo>
                  <a:pt x="315925" y="161677"/>
                </a:lnTo>
                <a:lnTo>
                  <a:pt x="281349" y="156143"/>
                </a:lnTo>
                <a:cubicBezTo>
                  <a:pt x="275996" y="155286"/>
                  <a:pt x="271691" y="151352"/>
                  <a:pt x="270329" y="146123"/>
                </a:cubicBezTo>
                <a:cubicBezTo>
                  <a:pt x="267938" y="136798"/>
                  <a:pt x="264262" y="127845"/>
                  <a:pt x="259309" y="119539"/>
                </a:cubicBezTo>
                <a:cubicBezTo>
                  <a:pt x="256508" y="114891"/>
                  <a:pt x="256832" y="109061"/>
                  <a:pt x="260023" y="104689"/>
                </a:cubicBezTo>
                <a:lnTo>
                  <a:pt x="280549" y="76314"/>
                </a:lnTo>
                <a:lnTo>
                  <a:pt x="266652" y="62455"/>
                </a:lnTo>
                <a:lnTo>
                  <a:pt x="238306" y="83001"/>
                </a:lnTo>
                <a:cubicBezTo>
                  <a:pt x="233915" y="86163"/>
                  <a:pt x="228086" y="86430"/>
                  <a:pt x="223457" y="83677"/>
                </a:cubicBezTo>
                <a:cubicBezTo>
                  <a:pt x="215151" y="78753"/>
                  <a:pt x="206207" y="75038"/>
                  <a:pt x="196863" y="72657"/>
                </a:cubicBezTo>
                <a:cubicBezTo>
                  <a:pt x="191595" y="71314"/>
                  <a:pt x="187681" y="66999"/>
                  <a:pt x="186804" y="61674"/>
                </a:cubicBezTo>
                <a:lnTo>
                  <a:pt x="181289" y="27089"/>
                </a:lnTo>
                <a:lnTo>
                  <a:pt x="161725" y="27089"/>
                </a:lnTo>
                <a:lnTo>
                  <a:pt x="156134" y="61665"/>
                </a:lnTo>
                <a:cubicBezTo>
                  <a:pt x="155334" y="66989"/>
                  <a:pt x="151343" y="71304"/>
                  <a:pt x="146152" y="72647"/>
                </a:cubicBezTo>
                <a:cubicBezTo>
                  <a:pt x="136808" y="75028"/>
                  <a:pt x="127864" y="78743"/>
                  <a:pt x="119558" y="83668"/>
                </a:cubicBezTo>
                <a:cubicBezTo>
                  <a:pt x="114929" y="86420"/>
                  <a:pt x="109099" y="86154"/>
                  <a:pt x="104708" y="82991"/>
                </a:cubicBezTo>
                <a:lnTo>
                  <a:pt x="76362" y="62455"/>
                </a:lnTo>
                <a:lnTo>
                  <a:pt x="62465" y="76314"/>
                </a:lnTo>
                <a:lnTo>
                  <a:pt x="82991" y="104689"/>
                </a:lnTo>
                <a:cubicBezTo>
                  <a:pt x="86182" y="109061"/>
                  <a:pt x="86430" y="114891"/>
                  <a:pt x="83706" y="119539"/>
                </a:cubicBezTo>
                <a:cubicBezTo>
                  <a:pt x="78753" y="127864"/>
                  <a:pt x="75086" y="136808"/>
                  <a:pt x="72685" y="146133"/>
                </a:cubicBezTo>
                <a:cubicBezTo>
                  <a:pt x="71333" y="151362"/>
                  <a:pt x="67018" y="155305"/>
                  <a:pt x="61665" y="156153"/>
                </a:cubicBezTo>
                <a:lnTo>
                  <a:pt x="27089" y="161687"/>
                </a:lnTo>
                <a:lnTo>
                  <a:pt x="27089" y="181289"/>
                </a:lnTo>
                <a:lnTo>
                  <a:pt x="61665" y="186823"/>
                </a:lnTo>
                <a:cubicBezTo>
                  <a:pt x="67018" y="187681"/>
                  <a:pt x="71333" y="191605"/>
                  <a:pt x="72685" y="196834"/>
                </a:cubicBezTo>
                <a:cubicBezTo>
                  <a:pt x="75086" y="206169"/>
                  <a:pt x="78753" y="215122"/>
                  <a:pt x="83706" y="223428"/>
                </a:cubicBezTo>
                <a:cubicBezTo>
                  <a:pt x="86420" y="228067"/>
                  <a:pt x="86182" y="233905"/>
                  <a:pt x="82991" y="238277"/>
                </a:cubicBezTo>
                <a:lnTo>
                  <a:pt x="62465" y="266652"/>
                </a:lnTo>
                <a:lnTo>
                  <a:pt x="76362" y="280521"/>
                </a:lnTo>
                <a:lnTo>
                  <a:pt x="104708" y="259975"/>
                </a:lnTo>
                <a:cubicBezTo>
                  <a:pt x="109099" y="256813"/>
                  <a:pt x="114929" y="256546"/>
                  <a:pt x="119558" y="259299"/>
                </a:cubicBezTo>
                <a:cubicBezTo>
                  <a:pt x="127864" y="264233"/>
                  <a:pt x="136808" y="267938"/>
                  <a:pt x="146152" y="270329"/>
                </a:cubicBezTo>
                <a:cubicBezTo>
                  <a:pt x="151343" y="271672"/>
                  <a:pt x="155334" y="275987"/>
                  <a:pt x="156134" y="281311"/>
                </a:cubicBezTo>
                <a:lnTo>
                  <a:pt x="161725" y="315897"/>
                </a:lnTo>
                <a:lnTo>
                  <a:pt x="181289" y="315897"/>
                </a:lnTo>
                <a:lnTo>
                  <a:pt x="186804" y="281311"/>
                </a:lnTo>
                <a:cubicBezTo>
                  <a:pt x="187681" y="275987"/>
                  <a:pt x="191595" y="271672"/>
                  <a:pt x="196863" y="270329"/>
                </a:cubicBezTo>
                <a:cubicBezTo>
                  <a:pt x="206207" y="267938"/>
                  <a:pt x="215151" y="264224"/>
                  <a:pt x="223457" y="259299"/>
                </a:cubicBezTo>
                <a:cubicBezTo>
                  <a:pt x="228086" y="256546"/>
                  <a:pt x="233915" y="256823"/>
                  <a:pt x="238306" y="259975"/>
                </a:cubicBezTo>
                <a:lnTo>
                  <a:pt x="266652" y="280521"/>
                </a:lnTo>
                <a:lnTo>
                  <a:pt x="280549" y="266652"/>
                </a:lnTo>
                <a:lnTo>
                  <a:pt x="260023" y="238277"/>
                </a:lnTo>
                <a:cubicBezTo>
                  <a:pt x="256832" y="233905"/>
                  <a:pt x="256508" y="228067"/>
                  <a:pt x="259309" y="223428"/>
                </a:cubicBezTo>
                <a:cubicBezTo>
                  <a:pt x="264262" y="215113"/>
                  <a:pt x="267929" y="206159"/>
                  <a:pt x="270329" y="196834"/>
                </a:cubicBezTo>
                <a:cubicBezTo>
                  <a:pt x="271691" y="191605"/>
                  <a:pt x="275996" y="187671"/>
                  <a:pt x="281349" y="186823"/>
                </a:cubicBezTo>
                <a:lnTo>
                  <a:pt x="315925" y="181280"/>
                </a:lnTo>
                <a:lnTo>
                  <a:pt x="315925" y="181280"/>
                </a:lnTo>
                <a:close/>
                <a:moveTo>
                  <a:pt x="814949" y="633279"/>
                </a:moveTo>
                <a:lnTo>
                  <a:pt x="651243" y="633279"/>
                </a:lnTo>
                <a:cubicBezTo>
                  <a:pt x="631993" y="633279"/>
                  <a:pt x="616344" y="648938"/>
                  <a:pt x="616344" y="668188"/>
                </a:cubicBezTo>
                <a:lnTo>
                  <a:pt x="616344" y="736483"/>
                </a:lnTo>
                <a:lnTo>
                  <a:pt x="530819" y="736483"/>
                </a:lnTo>
                <a:lnTo>
                  <a:pt x="530819" y="700364"/>
                </a:lnTo>
                <a:cubicBezTo>
                  <a:pt x="530819" y="676904"/>
                  <a:pt x="511731" y="657816"/>
                  <a:pt x="488252" y="657816"/>
                </a:cubicBezTo>
                <a:lnTo>
                  <a:pt x="155096" y="657816"/>
                </a:lnTo>
                <a:cubicBezTo>
                  <a:pt x="131616" y="657816"/>
                  <a:pt x="112538" y="676904"/>
                  <a:pt x="112538" y="700364"/>
                </a:cubicBezTo>
                <a:lnTo>
                  <a:pt x="112538" y="736483"/>
                </a:lnTo>
                <a:lnTo>
                  <a:pt x="65342" y="736483"/>
                </a:lnTo>
                <a:cubicBezTo>
                  <a:pt x="44263" y="736483"/>
                  <a:pt x="27089" y="719328"/>
                  <a:pt x="27089" y="698240"/>
                </a:cubicBezTo>
                <a:lnTo>
                  <a:pt x="27089" y="561794"/>
                </a:lnTo>
                <a:cubicBezTo>
                  <a:pt x="27089" y="521665"/>
                  <a:pt x="59750" y="489023"/>
                  <a:pt x="99841" y="489023"/>
                </a:cubicBezTo>
                <a:lnTo>
                  <a:pt x="212198" y="489023"/>
                </a:lnTo>
                <a:lnTo>
                  <a:pt x="197101" y="550945"/>
                </a:lnTo>
                <a:cubicBezTo>
                  <a:pt x="196139" y="554984"/>
                  <a:pt x="197101" y="559251"/>
                  <a:pt x="199654" y="562518"/>
                </a:cubicBezTo>
                <a:cubicBezTo>
                  <a:pt x="202206" y="565785"/>
                  <a:pt x="206121" y="567690"/>
                  <a:pt x="210274" y="567690"/>
                </a:cubicBezTo>
                <a:lnTo>
                  <a:pt x="594779" y="567690"/>
                </a:lnTo>
                <a:cubicBezTo>
                  <a:pt x="601008" y="567690"/>
                  <a:pt x="606438" y="563423"/>
                  <a:pt x="607952" y="557355"/>
                </a:cubicBezTo>
                <a:lnTo>
                  <a:pt x="624564" y="489023"/>
                </a:lnTo>
                <a:lnTo>
                  <a:pt x="743550" y="489023"/>
                </a:lnTo>
                <a:cubicBezTo>
                  <a:pt x="798566" y="489023"/>
                  <a:pt x="843372" y="444236"/>
                  <a:pt x="843372" y="389172"/>
                </a:cubicBezTo>
                <a:lnTo>
                  <a:pt x="843372" y="223266"/>
                </a:lnTo>
                <a:cubicBezTo>
                  <a:pt x="843372" y="187242"/>
                  <a:pt x="814064" y="157934"/>
                  <a:pt x="778050" y="157934"/>
                </a:cubicBezTo>
                <a:lnTo>
                  <a:pt x="767429" y="157934"/>
                </a:lnTo>
                <a:lnTo>
                  <a:pt x="767429" y="121815"/>
                </a:lnTo>
                <a:cubicBezTo>
                  <a:pt x="767429" y="98355"/>
                  <a:pt x="748341" y="79267"/>
                  <a:pt x="724862" y="79267"/>
                </a:cubicBezTo>
                <a:lnTo>
                  <a:pt x="434912" y="79267"/>
                </a:lnTo>
                <a:cubicBezTo>
                  <a:pt x="411518" y="79267"/>
                  <a:pt x="392430" y="98355"/>
                  <a:pt x="392430" y="121815"/>
                </a:cubicBezTo>
                <a:lnTo>
                  <a:pt x="392430" y="157934"/>
                </a:lnTo>
                <a:lnTo>
                  <a:pt x="342995" y="157934"/>
                </a:lnTo>
                <a:lnTo>
                  <a:pt x="342995" y="150133"/>
                </a:lnTo>
                <a:cubicBezTo>
                  <a:pt x="342995" y="143485"/>
                  <a:pt x="338128" y="137808"/>
                  <a:pt x="331575" y="136760"/>
                </a:cubicBezTo>
                <a:lnTo>
                  <a:pt x="294046" y="130750"/>
                </a:lnTo>
                <a:cubicBezTo>
                  <a:pt x="292046" y="124892"/>
                  <a:pt x="289731" y="119167"/>
                  <a:pt x="286941" y="113643"/>
                </a:cubicBezTo>
                <a:lnTo>
                  <a:pt x="309220" y="82829"/>
                </a:lnTo>
                <a:cubicBezTo>
                  <a:pt x="313134" y="77438"/>
                  <a:pt x="312572" y="70009"/>
                  <a:pt x="307858" y="65313"/>
                </a:cubicBezTo>
                <a:lnTo>
                  <a:pt x="277673" y="35119"/>
                </a:lnTo>
                <a:cubicBezTo>
                  <a:pt x="272958" y="30413"/>
                  <a:pt x="265538" y="29832"/>
                  <a:pt x="260099" y="33728"/>
                </a:cubicBezTo>
                <a:lnTo>
                  <a:pt x="229352" y="56036"/>
                </a:lnTo>
                <a:cubicBezTo>
                  <a:pt x="223761" y="53264"/>
                  <a:pt x="218094" y="50892"/>
                  <a:pt x="212179" y="48949"/>
                </a:cubicBezTo>
                <a:lnTo>
                  <a:pt x="206188" y="11401"/>
                </a:lnTo>
                <a:cubicBezTo>
                  <a:pt x="205149" y="4829"/>
                  <a:pt x="199482" y="0"/>
                  <a:pt x="192853" y="0"/>
                </a:cubicBezTo>
                <a:lnTo>
                  <a:pt x="150124" y="0"/>
                </a:lnTo>
                <a:cubicBezTo>
                  <a:pt x="143494" y="0"/>
                  <a:pt x="137827" y="4839"/>
                  <a:pt x="136789" y="11401"/>
                </a:cubicBezTo>
                <a:lnTo>
                  <a:pt x="130721" y="48949"/>
                </a:lnTo>
                <a:cubicBezTo>
                  <a:pt x="124892" y="50892"/>
                  <a:pt x="119148" y="53273"/>
                  <a:pt x="113633" y="56036"/>
                </a:cubicBezTo>
                <a:lnTo>
                  <a:pt x="82810" y="33728"/>
                </a:lnTo>
                <a:cubicBezTo>
                  <a:pt x="77457" y="29832"/>
                  <a:pt x="70037" y="30423"/>
                  <a:pt x="65322" y="35119"/>
                </a:cubicBezTo>
                <a:lnTo>
                  <a:pt x="35138" y="65313"/>
                </a:lnTo>
                <a:cubicBezTo>
                  <a:pt x="30423" y="70018"/>
                  <a:pt x="29870" y="77438"/>
                  <a:pt x="33699" y="82829"/>
                </a:cubicBezTo>
                <a:lnTo>
                  <a:pt x="56055" y="113643"/>
                </a:lnTo>
                <a:cubicBezTo>
                  <a:pt x="53264" y="119167"/>
                  <a:pt x="50863" y="124882"/>
                  <a:pt x="48949" y="130750"/>
                </a:cubicBezTo>
                <a:lnTo>
                  <a:pt x="11420" y="136760"/>
                </a:lnTo>
                <a:cubicBezTo>
                  <a:pt x="4867" y="137808"/>
                  <a:pt x="0" y="143485"/>
                  <a:pt x="0" y="150133"/>
                </a:cubicBezTo>
                <a:lnTo>
                  <a:pt x="0" y="192834"/>
                </a:lnTo>
                <a:cubicBezTo>
                  <a:pt x="0" y="199482"/>
                  <a:pt x="4867" y="205149"/>
                  <a:pt x="11420" y="206207"/>
                </a:cubicBezTo>
                <a:lnTo>
                  <a:pt x="48949" y="212207"/>
                </a:lnTo>
                <a:cubicBezTo>
                  <a:pt x="50863" y="218065"/>
                  <a:pt x="53264" y="223780"/>
                  <a:pt x="56055" y="229314"/>
                </a:cubicBezTo>
                <a:lnTo>
                  <a:pt x="33699" y="260128"/>
                </a:lnTo>
                <a:cubicBezTo>
                  <a:pt x="29870" y="265509"/>
                  <a:pt x="30423" y="272939"/>
                  <a:pt x="35138" y="277644"/>
                </a:cubicBezTo>
                <a:lnTo>
                  <a:pt x="65322" y="307838"/>
                </a:lnTo>
                <a:cubicBezTo>
                  <a:pt x="70037" y="312553"/>
                  <a:pt x="77457" y="313134"/>
                  <a:pt x="82810" y="309239"/>
                </a:cubicBezTo>
                <a:lnTo>
                  <a:pt x="113633" y="286931"/>
                </a:lnTo>
                <a:cubicBezTo>
                  <a:pt x="119148" y="289703"/>
                  <a:pt x="124892" y="292075"/>
                  <a:pt x="130721" y="294018"/>
                </a:cubicBezTo>
                <a:lnTo>
                  <a:pt x="136789" y="331565"/>
                </a:lnTo>
                <a:cubicBezTo>
                  <a:pt x="137827" y="338128"/>
                  <a:pt x="143494" y="342967"/>
                  <a:pt x="150124" y="342967"/>
                </a:cubicBezTo>
                <a:lnTo>
                  <a:pt x="192853" y="342967"/>
                </a:lnTo>
                <a:cubicBezTo>
                  <a:pt x="199482" y="342967"/>
                  <a:pt x="205149" y="338138"/>
                  <a:pt x="206188" y="331565"/>
                </a:cubicBezTo>
                <a:lnTo>
                  <a:pt x="212179" y="294008"/>
                </a:lnTo>
                <a:cubicBezTo>
                  <a:pt x="218094" y="292065"/>
                  <a:pt x="223761" y="289693"/>
                  <a:pt x="229352" y="286922"/>
                </a:cubicBezTo>
                <a:lnTo>
                  <a:pt x="260099" y="309239"/>
                </a:lnTo>
                <a:cubicBezTo>
                  <a:pt x="265528" y="313134"/>
                  <a:pt x="272958" y="312553"/>
                  <a:pt x="277673" y="307838"/>
                </a:cubicBezTo>
                <a:lnTo>
                  <a:pt x="307858" y="277644"/>
                </a:lnTo>
                <a:cubicBezTo>
                  <a:pt x="312572" y="272939"/>
                  <a:pt x="313125" y="265509"/>
                  <a:pt x="309220" y="260128"/>
                </a:cubicBezTo>
                <a:lnTo>
                  <a:pt x="286941" y="229314"/>
                </a:lnTo>
                <a:cubicBezTo>
                  <a:pt x="289731" y="223780"/>
                  <a:pt x="292056" y="218075"/>
                  <a:pt x="294046" y="212207"/>
                </a:cubicBezTo>
                <a:lnTo>
                  <a:pt x="331575" y="206207"/>
                </a:lnTo>
                <a:cubicBezTo>
                  <a:pt x="338128" y="205149"/>
                  <a:pt x="342995" y="199482"/>
                  <a:pt x="342995" y="192834"/>
                </a:cubicBezTo>
                <a:lnTo>
                  <a:pt x="342995" y="185033"/>
                </a:lnTo>
                <a:lnTo>
                  <a:pt x="392430" y="185033"/>
                </a:lnTo>
                <a:lnTo>
                  <a:pt x="392430" y="221151"/>
                </a:lnTo>
                <a:cubicBezTo>
                  <a:pt x="392430" y="244612"/>
                  <a:pt x="411518" y="263700"/>
                  <a:pt x="434912" y="263700"/>
                </a:cubicBezTo>
                <a:lnTo>
                  <a:pt x="724872" y="263700"/>
                </a:lnTo>
                <a:cubicBezTo>
                  <a:pt x="748351" y="263700"/>
                  <a:pt x="767439" y="244612"/>
                  <a:pt x="767439" y="221151"/>
                </a:cubicBezTo>
                <a:lnTo>
                  <a:pt x="767439" y="185033"/>
                </a:lnTo>
                <a:lnTo>
                  <a:pt x="778059" y="185033"/>
                </a:lnTo>
                <a:cubicBezTo>
                  <a:pt x="799148" y="185033"/>
                  <a:pt x="816312" y="202187"/>
                  <a:pt x="816312" y="223266"/>
                </a:cubicBezTo>
                <a:lnTo>
                  <a:pt x="816312" y="389172"/>
                </a:lnTo>
                <a:cubicBezTo>
                  <a:pt x="816312" y="429301"/>
                  <a:pt x="783650" y="461934"/>
                  <a:pt x="743560" y="461934"/>
                </a:cubicBezTo>
                <a:lnTo>
                  <a:pt x="631203" y="461934"/>
                </a:lnTo>
                <a:lnTo>
                  <a:pt x="646300" y="400012"/>
                </a:lnTo>
                <a:cubicBezTo>
                  <a:pt x="647262" y="395983"/>
                  <a:pt x="646376" y="391706"/>
                  <a:pt x="643747" y="388439"/>
                </a:cubicBezTo>
                <a:cubicBezTo>
                  <a:pt x="641194" y="385172"/>
                  <a:pt x="637280" y="383267"/>
                  <a:pt x="633127" y="383267"/>
                </a:cubicBezTo>
                <a:lnTo>
                  <a:pt x="248603" y="383267"/>
                </a:lnTo>
                <a:cubicBezTo>
                  <a:pt x="242373" y="383267"/>
                  <a:pt x="236944" y="387544"/>
                  <a:pt x="235429" y="393602"/>
                </a:cubicBezTo>
                <a:lnTo>
                  <a:pt x="218818" y="461934"/>
                </a:lnTo>
                <a:lnTo>
                  <a:pt x="99832" y="461934"/>
                </a:lnTo>
                <a:cubicBezTo>
                  <a:pt x="44815" y="461934"/>
                  <a:pt x="10" y="506730"/>
                  <a:pt x="10" y="561785"/>
                </a:cubicBezTo>
                <a:lnTo>
                  <a:pt x="10" y="698230"/>
                </a:lnTo>
                <a:cubicBezTo>
                  <a:pt x="10" y="734254"/>
                  <a:pt x="29318" y="763562"/>
                  <a:pt x="65332" y="763562"/>
                </a:cubicBezTo>
                <a:lnTo>
                  <a:pt x="112528" y="763562"/>
                </a:lnTo>
                <a:lnTo>
                  <a:pt x="112528" y="799690"/>
                </a:lnTo>
                <a:cubicBezTo>
                  <a:pt x="112528" y="823151"/>
                  <a:pt x="131616" y="842239"/>
                  <a:pt x="155086" y="842239"/>
                </a:cubicBezTo>
                <a:lnTo>
                  <a:pt x="488252" y="842239"/>
                </a:lnTo>
                <a:cubicBezTo>
                  <a:pt x="511731" y="842239"/>
                  <a:pt x="530819" y="823151"/>
                  <a:pt x="530819" y="799690"/>
                </a:cubicBezTo>
                <a:lnTo>
                  <a:pt x="530819" y="763562"/>
                </a:lnTo>
                <a:lnTo>
                  <a:pt x="616344" y="763562"/>
                </a:lnTo>
                <a:lnTo>
                  <a:pt x="616344" y="831856"/>
                </a:lnTo>
                <a:cubicBezTo>
                  <a:pt x="616344" y="851106"/>
                  <a:pt x="631993" y="866766"/>
                  <a:pt x="651243" y="866766"/>
                </a:cubicBezTo>
                <a:lnTo>
                  <a:pt x="814949" y="866766"/>
                </a:lnTo>
                <a:cubicBezTo>
                  <a:pt x="834200" y="866766"/>
                  <a:pt x="849849" y="851106"/>
                  <a:pt x="849849" y="831856"/>
                </a:cubicBezTo>
                <a:lnTo>
                  <a:pt x="849849" y="668188"/>
                </a:lnTo>
                <a:cubicBezTo>
                  <a:pt x="849849" y="648938"/>
                  <a:pt x="834200" y="633279"/>
                  <a:pt x="814949" y="633279"/>
                </a:cubicBezTo>
                <a:close/>
              </a:path>
            </a:pathLst>
          </a:custGeom>
          <a:solidFill>
            <a:schemeClr val="tx2"/>
          </a:solidFill>
          <a:ln w="9525"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F81BF68F-54E2-CF5B-ADA1-B89C8A46F971}"/>
              </a:ext>
            </a:extLst>
          </p:cNvPr>
          <p:cNvSpPr>
            <a:spLocks noChangeAspect="1"/>
          </p:cNvSpPr>
          <p:nvPr/>
        </p:nvSpPr>
        <p:spPr>
          <a:xfrm>
            <a:off x="5916940" y="1430769"/>
            <a:ext cx="357818" cy="357818"/>
          </a:xfrm>
          <a:custGeom>
            <a:avLst/>
            <a:gdLst>
              <a:gd name="connsiteX0" fmla="*/ 57636 w 590550"/>
              <a:gd name="connsiteY0" fmla="*/ 447675 h 590550"/>
              <a:gd name="connsiteX1" fmla="*/ 152400 w 590550"/>
              <a:gd name="connsiteY1" fmla="*/ 533400 h 590550"/>
              <a:gd name="connsiteX2" fmla="*/ 212636 w 590550"/>
              <a:gd name="connsiteY2" fmla="*/ 511854 h 590550"/>
              <a:gd name="connsiteX3" fmla="*/ 148457 w 590550"/>
              <a:gd name="connsiteY3" fmla="*/ 447675 h 590550"/>
              <a:gd name="connsiteX4" fmla="*/ 323850 w 590550"/>
              <a:gd name="connsiteY4" fmla="*/ 400050 h 590550"/>
              <a:gd name="connsiteX5" fmla="*/ 342900 w 590550"/>
              <a:gd name="connsiteY5" fmla="*/ 400050 h 590550"/>
              <a:gd name="connsiteX6" fmla="*/ 342900 w 590550"/>
              <a:gd name="connsiteY6" fmla="*/ 552450 h 590550"/>
              <a:gd name="connsiteX7" fmla="*/ 323850 w 590550"/>
              <a:gd name="connsiteY7" fmla="*/ 552450 h 590550"/>
              <a:gd name="connsiteX8" fmla="*/ 323850 w 590550"/>
              <a:gd name="connsiteY8" fmla="*/ 361950 h 590550"/>
              <a:gd name="connsiteX9" fmla="*/ 342900 w 590550"/>
              <a:gd name="connsiteY9" fmla="*/ 361950 h 590550"/>
              <a:gd name="connsiteX10" fmla="*/ 342900 w 590550"/>
              <a:gd name="connsiteY10" fmla="*/ 381000 h 590550"/>
              <a:gd name="connsiteX11" fmla="*/ 323850 w 590550"/>
              <a:gd name="connsiteY11" fmla="*/ 381000 h 590550"/>
              <a:gd name="connsiteX12" fmla="*/ 161925 w 590550"/>
              <a:gd name="connsiteY12" fmla="*/ 343386 h 590550"/>
              <a:gd name="connsiteX13" fmla="*/ 161925 w 590550"/>
              <a:gd name="connsiteY13" fmla="*/ 434207 h 590550"/>
              <a:gd name="connsiteX14" fmla="*/ 226104 w 590550"/>
              <a:gd name="connsiteY14" fmla="*/ 498386 h 590550"/>
              <a:gd name="connsiteX15" fmla="*/ 247650 w 590550"/>
              <a:gd name="connsiteY15" fmla="*/ 438150 h 590550"/>
              <a:gd name="connsiteX16" fmla="*/ 161925 w 590550"/>
              <a:gd name="connsiteY16" fmla="*/ 343386 h 590550"/>
              <a:gd name="connsiteX17" fmla="*/ 142875 w 590550"/>
              <a:gd name="connsiteY17" fmla="*/ 343386 h 590550"/>
              <a:gd name="connsiteX18" fmla="*/ 57636 w 590550"/>
              <a:gd name="connsiteY18" fmla="*/ 428625 h 590550"/>
              <a:gd name="connsiteX19" fmla="*/ 142875 w 590550"/>
              <a:gd name="connsiteY19" fmla="*/ 428625 h 590550"/>
              <a:gd name="connsiteX20" fmla="*/ 323850 w 590550"/>
              <a:gd name="connsiteY20" fmla="*/ 323850 h 590550"/>
              <a:gd name="connsiteX21" fmla="*/ 342900 w 590550"/>
              <a:gd name="connsiteY21" fmla="*/ 323850 h 590550"/>
              <a:gd name="connsiteX22" fmla="*/ 342900 w 590550"/>
              <a:gd name="connsiteY22" fmla="*/ 342900 h 590550"/>
              <a:gd name="connsiteX23" fmla="*/ 323850 w 590550"/>
              <a:gd name="connsiteY23" fmla="*/ 342900 h 590550"/>
              <a:gd name="connsiteX24" fmla="*/ 285750 w 590550"/>
              <a:gd name="connsiteY24" fmla="*/ 323850 h 590550"/>
              <a:gd name="connsiteX25" fmla="*/ 304800 w 590550"/>
              <a:gd name="connsiteY25" fmla="*/ 323850 h 590550"/>
              <a:gd name="connsiteX26" fmla="*/ 304800 w 590550"/>
              <a:gd name="connsiteY26" fmla="*/ 552450 h 590550"/>
              <a:gd name="connsiteX27" fmla="*/ 285750 w 590550"/>
              <a:gd name="connsiteY27" fmla="*/ 552450 h 590550"/>
              <a:gd name="connsiteX28" fmla="*/ 152400 w 590550"/>
              <a:gd name="connsiteY28" fmla="*/ 323850 h 590550"/>
              <a:gd name="connsiteX29" fmla="*/ 266700 w 590550"/>
              <a:gd name="connsiteY29" fmla="*/ 438150 h 590550"/>
              <a:gd name="connsiteX30" fmla="*/ 152400 w 590550"/>
              <a:gd name="connsiteY30" fmla="*/ 552450 h 590550"/>
              <a:gd name="connsiteX31" fmla="*/ 38100 w 590550"/>
              <a:gd name="connsiteY31" fmla="*/ 438150 h 590550"/>
              <a:gd name="connsiteX32" fmla="*/ 152400 w 590550"/>
              <a:gd name="connsiteY32" fmla="*/ 323850 h 590550"/>
              <a:gd name="connsiteX33" fmla="*/ 533400 w 590550"/>
              <a:gd name="connsiteY33" fmla="*/ 304800 h 590550"/>
              <a:gd name="connsiteX34" fmla="*/ 533400 w 590550"/>
              <a:gd name="connsiteY34" fmla="*/ 571500 h 590550"/>
              <a:gd name="connsiteX35" fmla="*/ 571500 w 590550"/>
              <a:gd name="connsiteY35" fmla="*/ 571500 h 590550"/>
              <a:gd name="connsiteX36" fmla="*/ 571500 w 590550"/>
              <a:gd name="connsiteY36" fmla="*/ 304800 h 590550"/>
              <a:gd name="connsiteX37" fmla="*/ 476250 w 590550"/>
              <a:gd name="connsiteY37" fmla="*/ 304800 h 590550"/>
              <a:gd name="connsiteX38" fmla="*/ 476250 w 590550"/>
              <a:gd name="connsiteY38" fmla="*/ 571500 h 590550"/>
              <a:gd name="connsiteX39" fmla="*/ 514350 w 590550"/>
              <a:gd name="connsiteY39" fmla="*/ 571500 h 590550"/>
              <a:gd name="connsiteX40" fmla="*/ 514350 w 590550"/>
              <a:gd name="connsiteY40" fmla="*/ 304800 h 590550"/>
              <a:gd name="connsiteX41" fmla="*/ 419100 w 590550"/>
              <a:gd name="connsiteY41" fmla="*/ 304800 h 590550"/>
              <a:gd name="connsiteX42" fmla="*/ 419100 w 590550"/>
              <a:gd name="connsiteY42" fmla="*/ 419100 h 590550"/>
              <a:gd name="connsiteX43" fmla="*/ 381000 w 590550"/>
              <a:gd name="connsiteY43" fmla="*/ 419100 h 590550"/>
              <a:gd name="connsiteX44" fmla="*/ 381000 w 590550"/>
              <a:gd name="connsiteY44" fmla="*/ 571500 h 590550"/>
              <a:gd name="connsiteX45" fmla="*/ 457200 w 590550"/>
              <a:gd name="connsiteY45" fmla="*/ 571500 h 590550"/>
              <a:gd name="connsiteX46" fmla="*/ 457200 w 590550"/>
              <a:gd name="connsiteY46" fmla="*/ 304800 h 590550"/>
              <a:gd name="connsiteX47" fmla="*/ 19050 w 590550"/>
              <a:gd name="connsiteY47" fmla="*/ 304800 h 590550"/>
              <a:gd name="connsiteX48" fmla="*/ 19050 w 590550"/>
              <a:gd name="connsiteY48" fmla="*/ 571500 h 590550"/>
              <a:gd name="connsiteX49" fmla="*/ 361950 w 590550"/>
              <a:gd name="connsiteY49" fmla="*/ 571500 h 590550"/>
              <a:gd name="connsiteX50" fmla="*/ 361950 w 590550"/>
              <a:gd name="connsiteY50" fmla="*/ 304800 h 590550"/>
              <a:gd name="connsiteX51" fmla="*/ 76200 w 590550"/>
              <a:gd name="connsiteY51" fmla="*/ 228600 h 590550"/>
              <a:gd name="connsiteX52" fmla="*/ 95250 w 590550"/>
              <a:gd name="connsiteY52" fmla="*/ 228600 h 590550"/>
              <a:gd name="connsiteX53" fmla="*/ 95250 w 590550"/>
              <a:gd name="connsiteY53" fmla="*/ 247650 h 590550"/>
              <a:gd name="connsiteX54" fmla="*/ 76200 w 590550"/>
              <a:gd name="connsiteY54" fmla="*/ 247650 h 590550"/>
              <a:gd name="connsiteX55" fmla="*/ 76200 w 590550"/>
              <a:gd name="connsiteY55" fmla="*/ 190500 h 590550"/>
              <a:gd name="connsiteX56" fmla="*/ 95250 w 590550"/>
              <a:gd name="connsiteY56" fmla="*/ 190500 h 590550"/>
              <a:gd name="connsiteX57" fmla="*/ 95250 w 590550"/>
              <a:gd name="connsiteY57" fmla="*/ 209550 h 590550"/>
              <a:gd name="connsiteX58" fmla="*/ 76200 w 590550"/>
              <a:gd name="connsiteY58" fmla="*/ 209550 h 590550"/>
              <a:gd name="connsiteX59" fmla="*/ 209550 w 590550"/>
              <a:gd name="connsiteY59" fmla="*/ 171450 h 590550"/>
              <a:gd name="connsiteX60" fmla="*/ 209550 w 590550"/>
              <a:gd name="connsiteY60" fmla="*/ 247650 h 590550"/>
              <a:gd name="connsiteX61" fmla="*/ 293151 w 590550"/>
              <a:gd name="connsiteY61" fmla="*/ 247650 h 590550"/>
              <a:gd name="connsiteX62" fmla="*/ 285750 w 590550"/>
              <a:gd name="connsiteY62" fmla="*/ 223495 h 590550"/>
              <a:gd name="connsiteX63" fmla="*/ 298409 w 590550"/>
              <a:gd name="connsiteY63" fmla="*/ 192948 h 590550"/>
              <a:gd name="connsiteX64" fmla="*/ 319907 w 590550"/>
              <a:gd name="connsiteY64" fmla="*/ 171450 h 590550"/>
              <a:gd name="connsiteX65" fmla="*/ 152400 w 590550"/>
              <a:gd name="connsiteY65" fmla="*/ 152400 h 590550"/>
              <a:gd name="connsiteX66" fmla="*/ 171450 w 590550"/>
              <a:gd name="connsiteY66" fmla="*/ 152400 h 590550"/>
              <a:gd name="connsiteX67" fmla="*/ 171450 w 590550"/>
              <a:gd name="connsiteY67" fmla="*/ 266700 h 590550"/>
              <a:gd name="connsiteX68" fmla="*/ 152400 w 590550"/>
              <a:gd name="connsiteY68" fmla="*/ 266700 h 590550"/>
              <a:gd name="connsiteX69" fmla="*/ 114300 w 590550"/>
              <a:gd name="connsiteY69" fmla="*/ 152400 h 590550"/>
              <a:gd name="connsiteX70" fmla="*/ 133350 w 590550"/>
              <a:gd name="connsiteY70" fmla="*/ 152400 h 590550"/>
              <a:gd name="connsiteX71" fmla="*/ 133350 w 590550"/>
              <a:gd name="connsiteY71" fmla="*/ 266700 h 590550"/>
              <a:gd name="connsiteX72" fmla="*/ 114300 w 590550"/>
              <a:gd name="connsiteY72" fmla="*/ 266700 h 590550"/>
              <a:gd name="connsiteX73" fmla="*/ 76200 w 590550"/>
              <a:gd name="connsiteY73" fmla="*/ 152400 h 590550"/>
              <a:gd name="connsiteX74" fmla="*/ 95250 w 590550"/>
              <a:gd name="connsiteY74" fmla="*/ 152400 h 590550"/>
              <a:gd name="connsiteX75" fmla="*/ 95250 w 590550"/>
              <a:gd name="connsiteY75" fmla="*/ 171450 h 590550"/>
              <a:gd name="connsiteX76" fmla="*/ 76200 w 590550"/>
              <a:gd name="connsiteY76" fmla="*/ 171450 h 590550"/>
              <a:gd name="connsiteX77" fmla="*/ 57150 w 590550"/>
              <a:gd name="connsiteY77" fmla="*/ 133350 h 590550"/>
              <a:gd name="connsiteX78" fmla="*/ 57150 w 590550"/>
              <a:gd name="connsiteY78" fmla="*/ 285750 h 590550"/>
              <a:gd name="connsiteX79" fmla="*/ 381000 w 590550"/>
              <a:gd name="connsiteY79" fmla="*/ 285750 h 590550"/>
              <a:gd name="connsiteX80" fmla="*/ 381000 w 590550"/>
              <a:gd name="connsiteY80" fmla="*/ 400050 h 590550"/>
              <a:gd name="connsiteX81" fmla="*/ 400050 w 590550"/>
              <a:gd name="connsiteY81" fmla="*/ 400050 h 590550"/>
              <a:gd name="connsiteX82" fmla="*/ 400050 w 590550"/>
              <a:gd name="connsiteY82" fmla="*/ 213493 h 590550"/>
              <a:gd name="connsiteX83" fmla="*/ 359502 w 590550"/>
              <a:gd name="connsiteY83" fmla="*/ 254041 h 590550"/>
              <a:gd name="connsiteX84" fmla="*/ 328955 w 590550"/>
              <a:gd name="connsiteY84" fmla="*/ 266700 h 590550"/>
              <a:gd name="connsiteX85" fmla="*/ 328451 w 590550"/>
              <a:gd name="connsiteY85" fmla="*/ 266652 h 590550"/>
              <a:gd name="connsiteX86" fmla="*/ 328451 w 590550"/>
              <a:gd name="connsiteY86" fmla="*/ 266700 h 590550"/>
              <a:gd name="connsiteX87" fmla="*/ 190500 w 590550"/>
              <a:gd name="connsiteY87" fmla="*/ 266700 h 590550"/>
              <a:gd name="connsiteX88" fmla="*/ 190500 w 590550"/>
              <a:gd name="connsiteY88" fmla="*/ 152400 h 590550"/>
              <a:gd name="connsiteX89" fmla="*/ 338957 w 590550"/>
              <a:gd name="connsiteY89" fmla="*/ 152400 h 590550"/>
              <a:gd name="connsiteX90" fmla="*/ 344062 w 590550"/>
              <a:gd name="connsiteY90" fmla="*/ 147295 h 590550"/>
              <a:gd name="connsiteX91" fmla="*/ 351663 w 590550"/>
              <a:gd name="connsiteY91" fmla="*/ 133350 h 590550"/>
              <a:gd name="connsiteX92" fmla="*/ 304505 w 590550"/>
              <a:gd name="connsiteY92" fmla="*/ 38100 h 590550"/>
              <a:gd name="connsiteX93" fmla="*/ 230429 w 590550"/>
              <a:gd name="connsiteY93" fmla="*/ 68790 h 590550"/>
              <a:gd name="connsiteX94" fmla="*/ 184918 w 590550"/>
              <a:gd name="connsiteY94" fmla="*/ 114300 h 590550"/>
              <a:gd name="connsiteX95" fmla="*/ 352425 w 590550"/>
              <a:gd name="connsiteY95" fmla="*/ 114300 h 590550"/>
              <a:gd name="connsiteX96" fmla="*/ 352425 w 590550"/>
              <a:gd name="connsiteY96" fmla="*/ 95250 h 590550"/>
              <a:gd name="connsiteX97" fmla="*/ 371475 w 590550"/>
              <a:gd name="connsiteY97" fmla="*/ 95250 h 590550"/>
              <a:gd name="connsiteX98" fmla="*/ 371475 w 590550"/>
              <a:gd name="connsiteY98" fmla="*/ 127092 h 590550"/>
              <a:gd name="connsiteX99" fmla="*/ 357530 w 590550"/>
              <a:gd name="connsiteY99" fmla="*/ 160763 h 590550"/>
              <a:gd name="connsiteX100" fmla="*/ 311877 w 590550"/>
              <a:gd name="connsiteY100" fmla="*/ 206416 h 590550"/>
              <a:gd name="connsiteX101" fmla="*/ 304800 w 590550"/>
              <a:gd name="connsiteY101" fmla="*/ 223495 h 590550"/>
              <a:gd name="connsiteX102" fmla="*/ 328955 w 590550"/>
              <a:gd name="connsiteY102" fmla="*/ 247650 h 590550"/>
              <a:gd name="connsiteX103" fmla="*/ 346034 w 590550"/>
              <a:gd name="connsiteY103" fmla="*/ 240573 h 590550"/>
              <a:gd name="connsiteX104" fmla="*/ 420262 w 590550"/>
              <a:gd name="connsiteY104" fmla="*/ 166345 h 590550"/>
              <a:gd name="connsiteX105" fmla="*/ 453933 w 590550"/>
              <a:gd name="connsiteY105" fmla="*/ 152400 h 590550"/>
              <a:gd name="connsiteX106" fmla="*/ 476250 w 590550"/>
              <a:gd name="connsiteY106" fmla="*/ 152400 h 590550"/>
              <a:gd name="connsiteX107" fmla="*/ 476250 w 590550"/>
              <a:gd name="connsiteY107" fmla="*/ 38129 h 590550"/>
              <a:gd name="connsiteX108" fmla="*/ 304524 w 590550"/>
              <a:gd name="connsiteY108" fmla="*/ 38100 h 590550"/>
              <a:gd name="connsiteX109" fmla="*/ 304505 w 590550"/>
              <a:gd name="connsiteY109" fmla="*/ 38100 h 590550"/>
              <a:gd name="connsiteX110" fmla="*/ 495300 w 590550"/>
              <a:gd name="connsiteY110" fmla="*/ 19050 h 590550"/>
              <a:gd name="connsiteX111" fmla="*/ 495300 w 590550"/>
              <a:gd name="connsiteY111" fmla="*/ 171450 h 590550"/>
              <a:gd name="connsiteX112" fmla="*/ 514350 w 590550"/>
              <a:gd name="connsiteY112" fmla="*/ 171450 h 590550"/>
              <a:gd name="connsiteX113" fmla="*/ 514350 w 590550"/>
              <a:gd name="connsiteY113" fmla="*/ 57150 h 590550"/>
              <a:gd name="connsiteX114" fmla="*/ 533400 w 590550"/>
              <a:gd name="connsiteY114" fmla="*/ 57150 h 590550"/>
              <a:gd name="connsiteX115" fmla="*/ 533400 w 590550"/>
              <a:gd name="connsiteY115" fmla="*/ 171450 h 590550"/>
              <a:gd name="connsiteX116" fmla="*/ 571500 w 590550"/>
              <a:gd name="connsiteY116" fmla="*/ 171450 h 590550"/>
              <a:gd name="connsiteX117" fmla="*/ 571500 w 590550"/>
              <a:gd name="connsiteY117" fmla="*/ 19050 h 590550"/>
              <a:gd name="connsiteX118" fmla="*/ 533400 w 590550"/>
              <a:gd name="connsiteY118" fmla="*/ 19050 h 590550"/>
              <a:gd name="connsiteX119" fmla="*/ 533400 w 590550"/>
              <a:gd name="connsiteY119" fmla="*/ 38100 h 590550"/>
              <a:gd name="connsiteX120" fmla="*/ 514350 w 590550"/>
              <a:gd name="connsiteY120" fmla="*/ 38100 h 590550"/>
              <a:gd name="connsiteX121" fmla="*/ 514350 w 590550"/>
              <a:gd name="connsiteY121" fmla="*/ 19050 h 590550"/>
              <a:gd name="connsiteX122" fmla="*/ 476250 w 590550"/>
              <a:gd name="connsiteY122" fmla="*/ 0 h 590550"/>
              <a:gd name="connsiteX123" fmla="*/ 590550 w 590550"/>
              <a:gd name="connsiteY123" fmla="*/ 0 h 590550"/>
              <a:gd name="connsiteX124" fmla="*/ 590550 w 590550"/>
              <a:gd name="connsiteY124" fmla="*/ 190500 h 590550"/>
              <a:gd name="connsiteX125" fmla="*/ 476250 w 590550"/>
              <a:gd name="connsiteY125" fmla="*/ 190500 h 590550"/>
              <a:gd name="connsiteX126" fmla="*/ 476250 w 590550"/>
              <a:gd name="connsiteY126" fmla="*/ 171450 h 590550"/>
              <a:gd name="connsiteX127" fmla="*/ 453933 w 590550"/>
              <a:gd name="connsiteY127" fmla="*/ 171450 h 590550"/>
              <a:gd name="connsiteX128" fmla="*/ 433730 w 590550"/>
              <a:gd name="connsiteY128" fmla="*/ 179813 h 590550"/>
              <a:gd name="connsiteX129" fmla="*/ 419100 w 590550"/>
              <a:gd name="connsiteY129" fmla="*/ 194443 h 590550"/>
              <a:gd name="connsiteX130" fmla="*/ 419100 w 590550"/>
              <a:gd name="connsiteY130" fmla="*/ 285750 h 590550"/>
              <a:gd name="connsiteX131" fmla="*/ 590550 w 590550"/>
              <a:gd name="connsiteY131" fmla="*/ 285750 h 590550"/>
              <a:gd name="connsiteX132" fmla="*/ 590550 w 590550"/>
              <a:gd name="connsiteY132" fmla="*/ 590550 h 590550"/>
              <a:gd name="connsiteX133" fmla="*/ 381000 w 590550"/>
              <a:gd name="connsiteY133" fmla="*/ 590550 h 590550"/>
              <a:gd name="connsiteX134" fmla="*/ 371475 w 590550"/>
              <a:gd name="connsiteY134" fmla="*/ 590550 h 590550"/>
              <a:gd name="connsiteX135" fmla="*/ 0 w 590550"/>
              <a:gd name="connsiteY135" fmla="*/ 590550 h 590550"/>
              <a:gd name="connsiteX136" fmla="*/ 0 w 590550"/>
              <a:gd name="connsiteY136" fmla="*/ 285750 h 590550"/>
              <a:gd name="connsiteX137" fmla="*/ 38100 w 590550"/>
              <a:gd name="connsiteY137" fmla="*/ 285750 h 590550"/>
              <a:gd name="connsiteX138" fmla="*/ 38100 w 590550"/>
              <a:gd name="connsiteY138" fmla="*/ 114300 h 590550"/>
              <a:gd name="connsiteX139" fmla="*/ 157982 w 590550"/>
              <a:gd name="connsiteY139" fmla="*/ 114300 h 590550"/>
              <a:gd name="connsiteX140" fmla="*/ 216960 w 590550"/>
              <a:gd name="connsiteY140" fmla="*/ 55321 h 590550"/>
              <a:gd name="connsiteX141" fmla="*/ 304505 w 590550"/>
              <a:gd name="connsiteY141" fmla="*/ 19050 h 590550"/>
              <a:gd name="connsiteX142" fmla="*/ 304524 w 590550"/>
              <a:gd name="connsiteY142" fmla="*/ 19050 h 590550"/>
              <a:gd name="connsiteX143" fmla="*/ 476250 w 590550"/>
              <a:gd name="connsiteY143" fmla="*/ 19079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590550" h="590550">
                <a:moveTo>
                  <a:pt x="57636" y="447675"/>
                </a:moveTo>
                <a:cubicBezTo>
                  <a:pt x="62427" y="495738"/>
                  <a:pt x="103089" y="533400"/>
                  <a:pt x="152400" y="533400"/>
                </a:cubicBezTo>
                <a:cubicBezTo>
                  <a:pt x="175241" y="533400"/>
                  <a:pt x="196215" y="525304"/>
                  <a:pt x="212636" y="511854"/>
                </a:cubicBezTo>
                <a:lnTo>
                  <a:pt x="148457" y="447675"/>
                </a:lnTo>
                <a:close/>
                <a:moveTo>
                  <a:pt x="323850" y="400050"/>
                </a:moveTo>
                <a:lnTo>
                  <a:pt x="342900" y="400050"/>
                </a:lnTo>
                <a:lnTo>
                  <a:pt x="342900" y="552450"/>
                </a:lnTo>
                <a:lnTo>
                  <a:pt x="323850" y="552450"/>
                </a:lnTo>
                <a:close/>
                <a:moveTo>
                  <a:pt x="323850" y="361950"/>
                </a:moveTo>
                <a:lnTo>
                  <a:pt x="342900" y="361950"/>
                </a:lnTo>
                <a:lnTo>
                  <a:pt x="342900" y="381000"/>
                </a:lnTo>
                <a:lnTo>
                  <a:pt x="323850" y="381000"/>
                </a:lnTo>
                <a:close/>
                <a:moveTo>
                  <a:pt x="161925" y="343386"/>
                </a:moveTo>
                <a:lnTo>
                  <a:pt x="161925" y="434207"/>
                </a:lnTo>
                <a:lnTo>
                  <a:pt x="226104" y="498386"/>
                </a:lnTo>
                <a:cubicBezTo>
                  <a:pt x="239554" y="481965"/>
                  <a:pt x="247650" y="460991"/>
                  <a:pt x="247650" y="438150"/>
                </a:cubicBezTo>
                <a:cubicBezTo>
                  <a:pt x="247650" y="388839"/>
                  <a:pt x="209988" y="348177"/>
                  <a:pt x="161925" y="343386"/>
                </a:cubicBezTo>
                <a:close/>
                <a:moveTo>
                  <a:pt x="142875" y="343386"/>
                </a:moveTo>
                <a:cubicBezTo>
                  <a:pt x="97946" y="347863"/>
                  <a:pt x="62113" y="383696"/>
                  <a:pt x="57636" y="428625"/>
                </a:cubicBezTo>
                <a:lnTo>
                  <a:pt x="142875" y="428625"/>
                </a:lnTo>
                <a:close/>
                <a:moveTo>
                  <a:pt x="323850" y="323850"/>
                </a:moveTo>
                <a:lnTo>
                  <a:pt x="342900" y="323850"/>
                </a:lnTo>
                <a:lnTo>
                  <a:pt x="342900" y="342900"/>
                </a:lnTo>
                <a:lnTo>
                  <a:pt x="323850" y="342900"/>
                </a:lnTo>
                <a:close/>
                <a:moveTo>
                  <a:pt x="285750" y="323850"/>
                </a:moveTo>
                <a:lnTo>
                  <a:pt x="304800" y="323850"/>
                </a:lnTo>
                <a:lnTo>
                  <a:pt x="304800" y="552450"/>
                </a:lnTo>
                <a:lnTo>
                  <a:pt x="285750" y="552450"/>
                </a:lnTo>
                <a:close/>
                <a:moveTo>
                  <a:pt x="152400" y="323850"/>
                </a:moveTo>
                <a:cubicBezTo>
                  <a:pt x="215427" y="323850"/>
                  <a:pt x="266700" y="375123"/>
                  <a:pt x="266700" y="438150"/>
                </a:cubicBezTo>
                <a:cubicBezTo>
                  <a:pt x="266700" y="501177"/>
                  <a:pt x="215427" y="552450"/>
                  <a:pt x="152400" y="552450"/>
                </a:cubicBezTo>
                <a:cubicBezTo>
                  <a:pt x="89373" y="552450"/>
                  <a:pt x="38100" y="501177"/>
                  <a:pt x="38100" y="438150"/>
                </a:cubicBezTo>
                <a:cubicBezTo>
                  <a:pt x="38100" y="375123"/>
                  <a:pt x="89373" y="323850"/>
                  <a:pt x="152400" y="323850"/>
                </a:cubicBezTo>
                <a:close/>
                <a:moveTo>
                  <a:pt x="533400" y="304800"/>
                </a:moveTo>
                <a:lnTo>
                  <a:pt x="533400" y="571500"/>
                </a:lnTo>
                <a:lnTo>
                  <a:pt x="571500" y="571500"/>
                </a:lnTo>
                <a:lnTo>
                  <a:pt x="571500" y="304800"/>
                </a:lnTo>
                <a:close/>
                <a:moveTo>
                  <a:pt x="476250" y="304800"/>
                </a:moveTo>
                <a:lnTo>
                  <a:pt x="476250" y="571500"/>
                </a:lnTo>
                <a:lnTo>
                  <a:pt x="514350" y="571500"/>
                </a:lnTo>
                <a:lnTo>
                  <a:pt x="514350" y="304800"/>
                </a:lnTo>
                <a:close/>
                <a:moveTo>
                  <a:pt x="419100" y="304800"/>
                </a:moveTo>
                <a:lnTo>
                  <a:pt x="419100" y="419100"/>
                </a:lnTo>
                <a:lnTo>
                  <a:pt x="381000" y="419100"/>
                </a:lnTo>
                <a:lnTo>
                  <a:pt x="381000" y="571500"/>
                </a:lnTo>
                <a:lnTo>
                  <a:pt x="457200" y="571500"/>
                </a:lnTo>
                <a:lnTo>
                  <a:pt x="457200" y="304800"/>
                </a:lnTo>
                <a:close/>
                <a:moveTo>
                  <a:pt x="19050" y="304800"/>
                </a:moveTo>
                <a:lnTo>
                  <a:pt x="19050" y="571500"/>
                </a:lnTo>
                <a:lnTo>
                  <a:pt x="361950" y="571500"/>
                </a:lnTo>
                <a:lnTo>
                  <a:pt x="361950" y="304800"/>
                </a:lnTo>
                <a:close/>
                <a:moveTo>
                  <a:pt x="76200" y="228600"/>
                </a:moveTo>
                <a:lnTo>
                  <a:pt x="95250" y="228600"/>
                </a:lnTo>
                <a:lnTo>
                  <a:pt x="95250" y="247650"/>
                </a:lnTo>
                <a:lnTo>
                  <a:pt x="76200" y="247650"/>
                </a:lnTo>
                <a:close/>
                <a:moveTo>
                  <a:pt x="76200" y="190500"/>
                </a:moveTo>
                <a:lnTo>
                  <a:pt x="95250" y="190500"/>
                </a:lnTo>
                <a:lnTo>
                  <a:pt x="95250" y="209550"/>
                </a:lnTo>
                <a:lnTo>
                  <a:pt x="76200" y="209550"/>
                </a:lnTo>
                <a:close/>
                <a:moveTo>
                  <a:pt x="209550" y="171450"/>
                </a:moveTo>
                <a:lnTo>
                  <a:pt x="209550" y="247650"/>
                </a:lnTo>
                <a:lnTo>
                  <a:pt x="293151" y="247650"/>
                </a:lnTo>
                <a:cubicBezTo>
                  <a:pt x="288484" y="240754"/>
                  <a:pt x="285750" y="232439"/>
                  <a:pt x="285750" y="223495"/>
                </a:cubicBezTo>
                <a:cubicBezTo>
                  <a:pt x="285750" y="211960"/>
                  <a:pt x="290246" y="201111"/>
                  <a:pt x="298409" y="192948"/>
                </a:cubicBezTo>
                <a:lnTo>
                  <a:pt x="319907" y="171450"/>
                </a:lnTo>
                <a:close/>
                <a:moveTo>
                  <a:pt x="152400" y="152400"/>
                </a:moveTo>
                <a:lnTo>
                  <a:pt x="171450" y="152400"/>
                </a:lnTo>
                <a:lnTo>
                  <a:pt x="171450" y="266700"/>
                </a:lnTo>
                <a:lnTo>
                  <a:pt x="152400" y="266700"/>
                </a:lnTo>
                <a:close/>
                <a:moveTo>
                  <a:pt x="114300" y="152400"/>
                </a:moveTo>
                <a:lnTo>
                  <a:pt x="133350" y="152400"/>
                </a:lnTo>
                <a:lnTo>
                  <a:pt x="133350" y="266700"/>
                </a:lnTo>
                <a:lnTo>
                  <a:pt x="114300" y="266700"/>
                </a:lnTo>
                <a:close/>
                <a:moveTo>
                  <a:pt x="76200" y="152400"/>
                </a:moveTo>
                <a:lnTo>
                  <a:pt x="95250" y="152400"/>
                </a:lnTo>
                <a:lnTo>
                  <a:pt x="95250" y="171450"/>
                </a:lnTo>
                <a:lnTo>
                  <a:pt x="76200" y="171450"/>
                </a:lnTo>
                <a:close/>
                <a:moveTo>
                  <a:pt x="57150" y="133350"/>
                </a:moveTo>
                <a:lnTo>
                  <a:pt x="57150" y="285750"/>
                </a:lnTo>
                <a:lnTo>
                  <a:pt x="381000" y="285750"/>
                </a:lnTo>
                <a:lnTo>
                  <a:pt x="381000" y="400050"/>
                </a:lnTo>
                <a:lnTo>
                  <a:pt x="400050" y="400050"/>
                </a:lnTo>
                <a:lnTo>
                  <a:pt x="400050" y="213493"/>
                </a:lnTo>
                <a:lnTo>
                  <a:pt x="359502" y="254041"/>
                </a:lnTo>
                <a:cubicBezTo>
                  <a:pt x="351349" y="262204"/>
                  <a:pt x="340490" y="266700"/>
                  <a:pt x="328955" y="266700"/>
                </a:cubicBezTo>
                <a:cubicBezTo>
                  <a:pt x="328784" y="266700"/>
                  <a:pt x="328622" y="266652"/>
                  <a:pt x="328451" y="266652"/>
                </a:cubicBezTo>
                <a:lnTo>
                  <a:pt x="328451" y="266700"/>
                </a:lnTo>
                <a:lnTo>
                  <a:pt x="190500" y="266700"/>
                </a:lnTo>
                <a:lnTo>
                  <a:pt x="190500" y="152400"/>
                </a:lnTo>
                <a:lnTo>
                  <a:pt x="338957" y="152400"/>
                </a:lnTo>
                <a:lnTo>
                  <a:pt x="344062" y="147295"/>
                </a:lnTo>
                <a:cubicBezTo>
                  <a:pt x="347882" y="143475"/>
                  <a:pt x="350472" y="138579"/>
                  <a:pt x="351663" y="133350"/>
                </a:cubicBezTo>
                <a:close/>
                <a:moveTo>
                  <a:pt x="304505" y="38100"/>
                </a:moveTo>
                <a:cubicBezTo>
                  <a:pt x="276530" y="38100"/>
                  <a:pt x="250222" y="49006"/>
                  <a:pt x="230429" y="68790"/>
                </a:cubicBezTo>
                <a:lnTo>
                  <a:pt x="184918" y="114300"/>
                </a:lnTo>
                <a:lnTo>
                  <a:pt x="352425" y="114300"/>
                </a:lnTo>
                <a:lnTo>
                  <a:pt x="352425" y="95250"/>
                </a:lnTo>
                <a:lnTo>
                  <a:pt x="371475" y="95250"/>
                </a:lnTo>
                <a:lnTo>
                  <a:pt x="371475" y="127092"/>
                </a:lnTo>
                <a:cubicBezTo>
                  <a:pt x="371475" y="139817"/>
                  <a:pt x="366522" y="151771"/>
                  <a:pt x="357530" y="160763"/>
                </a:cubicBezTo>
                <a:lnTo>
                  <a:pt x="311877" y="206416"/>
                </a:lnTo>
                <a:cubicBezTo>
                  <a:pt x="307315" y="210979"/>
                  <a:pt x="304800" y="217046"/>
                  <a:pt x="304800" y="223495"/>
                </a:cubicBezTo>
                <a:cubicBezTo>
                  <a:pt x="304800" y="236811"/>
                  <a:pt x="315639" y="247650"/>
                  <a:pt x="328955" y="247650"/>
                </a:cubicBezTo>
                <a:cubicBezTo>
                  <a:pt x="335404" y="247650"/>
                  <a:pt x="341471" y="245135"/>
                  <a:pt x="346034" y="240573"/>
                </a:cubicBezTo>
                <a:lnTo>
                  <a:pt x="420262" y="166345"/>
                </a:lnTo>
                <a:cubicBezTo>
                  <a:pt x="429254" y="157353"/>
                  <a:pt x="441217" y="152400"/>
                  <a:pt x="453933" y="152400"/>
                </a:cubicBezTo>
                <a:lnTo>
                  <a:pt x="476250" y="152400"/>
                </a:lnTo>
                <a:lnTo>
                  <a:pt x="476250" y="38129"/>
                </a:lnTo>
                <a:lnTo>
                  <a:pt x="304524" y="38100"/>
                </a:lnTo>
                <a:cubicBezTo>
                  <a:pt x="304514" y="38100"/>
                  <a:pt x="304505" y="38100"/>
                  <a:pt x="304505" y="38100"/>
                </a:cubicBezTo>
                <a:close/>
                <a:moveTo>
                  <a:pt x="495300" y="19050"/>
                </a:moveTo>
                <a:lnTo>
                  <a:pt x="495300" y="171450"/>
                </a:lnTo>
                <a:lnTo>
                  <a:pt x="514350" y="171450"/>
                </a:lnTo>
                <a:lnTo>
                  <a:pt x="514350" y="57150"/>
                </a:lnTo>
                <a:lnTo>
                  <a:pt x="533400" y="57150"/>
                </a:lnTo>
                <a:lnTo>
                  <a:pt x="533400" y="171450"/>
                </a:lnTo>
                <a:lnTo>
                  <a:pt x="571500" y="171450"/>
                </a:lnTo>
                <a:lnTo>
                  <a:pt x="571500" y="19050"/>
                </a:lnTo>
                <a:lnTo>
                  <a:pt x="533400" y="19050"/>
                </a:lnTo>
                <a:lnTo>
                  <a:pt x="533400" y="38100"/>
                </a:lnTo>
                <a:lnTo>
                  <a:pt x="514350" y="38100"/>
                </a:lnTo>
                <a:lnTo>
                  <a:pt x="514350" y="19050"/>
                </a:lnTo>
                <a:close/>
                <a:moveTo>
                  <a:pt x="476250" y="0"/>
                </a:moveTo>
                <a:lnTo>
                  <a:pt x="590550" y="0"/>
                </a:lnTo>
                <a:lnTo>
                  <a:pt x="590550" y="190500"/>
                </a:lnTo>
                <a:lnTo>
                  <a:pt x="476250" y="190500"/>
                </a:lnTo>
                <a:lnTo>
                  <a:pt x="476250" y="171450"/>
                </a:lnTo>
                <a:lnTo>
                  <a:pt x="453933" y="171450"/>
                </a:lnTo>
                <a:cubicBezTo>
                  <a:pt x="446408" y="171450"/>
                  <a:pt x="439045" y="174498"/>
                  <a:pt x="433730" y="179813"/>
                </a:cubicBezTo>
                <a:lnTo>
                  <a:pt x="419100" y="194443"/>
                </a:lnTo>
                <a:lnTo>
                  <a:pt x="419100" y="285750"/>
                </a:lnTo>
                <a:lnTo>
                  <a:pt x="590550" y="285750"/>
                </a:lnTo>
                <a:lnTo>
                  <a:pt x="590550" y="590550"/>
                </a:lnTo>
                <a:lnTo>
                  <a:pt x="381000" y="590550"/>
                </a:lnTo>
                <a:lnTo>
                  <a:pt x="371475" y="590550"/>
                </a:lnTo>
                <a:lnTo>
                  <a:pt x="0" y="590550"/>
                </a:lnTo>
                <a:lnTo>
                  <a:pt x="0" y="285750"/>
                </a:lnTo>
                <a:lnTo>
                  <a:pt x="38100" y="285750"/>
                </a:lnTo>
                <a:lnTo>
                  <a:pt x="38100" y="114300"/>
                </a:lnTo>
                <a:lnTo>
                  <a:pt x="157982" y="114300"/>
                </a:lnTo>
                <a:lnTo>
                  <a:pt x="216960" y="55321"/>
                </a:lnTo>
                <a:cubicBezTo>
                  <a:pt x="240344" y="31928"/>
                  <a:pt x="271434" y="19050"/>
                  <a:pt x="304505" y="19050"/>
                </a:cubicBezTo>
                <a:cubicBezTo>
                  <a:pt x="304514" y="19050"/>
                  <a:pt x="304524" y="19050"/>
                  <a:pt x="304524" y="19050"/>
                </a:cubicBezTo>
                <a:lnTo>
                  <a:pt x="476250" y="19079"/>
                </a:lnTo>
                <a:close/>
              </a:path>
            </a:pathLst>
          </a:custGeom>
          <a:solidFill>
            <a:schemeClr val="tx2"/>
          </a:solidFill>
          <a:ln w="9525"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5C341120-A3FF-69C9-585F-03929B645700}"/>
              </a:ext>
            </a:extLst>
          </p:cNvPr>
          <p:cNvSpPr>
            <a:spLocks noChangeAspect="1"/>
          </p:cNvSpPr>
          <p:nvPr/>
        </p:nvSpPr>
        <p:spPr>
          <a:xfrm>
            <a:off x="9682246" y="1433136"/>
            <a:ext cx="283076" cy="361374"/>
          </a:xfrm>
          <a:custGeom>
            <a:avLst/>
            <a:gdLst>
              <a:gd name="connsiteX0" fmla="*/ 887840 w 1545499"/>
              <a:gd name="connsiteY0" fmla="*/ 1545497 h 1972975"/>
              <a:gd name="connsiteX1" fmla="*/ 1183787 w 1545499"/>
              <a:gd name="connsiteY1" fmla="*/ 1545497 h 1972975"/>
              <a:gd name="connsiteX2" fmla="*/ 1216670 w 1545499"/>
              <a:gd name="connsiteY2" fmla="*/ 1578381 h 1972975"/>
              <a:gd name="connsiteX3" fmla="*/ 1183787 w 1545499"/>
              <a:gd name="connsiteY3" fmla="*/ 1611264 h 1972975"/>
              <a:gd name="connsiteX4" fmla="*/ 887840 w 1545499"/>
              <a:gd name="connsiteY4" fmla="*/ 1611264 h 1972975"/>
              <a:gd name="connsiteX5" fmla="*/ 854957 w 1545499"/>
              <a:gd name="connsiteY5" fmla="*/ 1578381 h 1972975"/>
              <a:gd name="connsiteX6" fmla="*/ 887840 w 1545499"/>
              <a:gd name="connsiteY6" fmla="*/ 1545497 h 1972975"/>
              <a:gd name="connsiteX7" fmla="*/ 657659 w 1545499"/>
              <a:gd name="connsiteY7" fmla="*/ 1545497 h 1972975"/>
              <a:gd name="connsiteX8" fmla="*/ 756309 w 1545499"/>
              <a:gd name="connsiteY8" fmla="*/ 1545497 h 1972975"/>
              <a:gd name="connsiteX9" fmla="*/ 789192 w 1545499"/>
              <a:gd name="connsiteY9" fmla="*/ 1578381 h 1972975"/>
              <a:gd name="connsiteX10" fmla="*/ 756309 w 1545499"/>
              <a:gd name="connsiteY10" fmla="*/ 1611264 h 1972975"/>
              <a:gd name="connsiteX11" fmla="*/ 657659 w 1545499"/>
              <a:gd name="connsiteY11" fmla="*/ 1611264 h 1972975"/>
              <a:gd name="connsiteX12" fmla="*/ 624776 w 1545499"/>
              <a:gd name="connsiteY12" fmla="*/ 1578381 h 1972975"/>
              <a:gd name="connsiteX13" fmla="*/ 657659 w 1545499"/>
              <a:gd name="connsiteY13" fmla="*/ 1545497 h 1972975"/>
              <a:gd name="connsiteX14" fmla="*/ 361713 w 1545499"/>
              <a:gd name="connsiteY14" fmla="*/ 1446848 h 1972975"/>
              <a:gd name="connsiteX15" fmla="*/ 295946 w 1545499"/>
              <a:gd name="connsiteY15" fmla="*/ 1512614 h 1972975"/>
              <a:gd name="connsiteX16" fmla="*/ 361713 w 1545499"/>
              <a:gd name="connsiteY16" fmla="*/ 1578380 h 1972975"/>
              <a:gd name="connsiteX17" fmla="*/ 427479 w 1545499"/>
              <a:gd name="connsiteY17" fmla="*/ 1512614 h 1972975"/>
              <a:gd name="connsiteX18" fmla="*/ 361713 w 1545499"/>
              <a:gd name="connsiteY18" fmla="*/ 1446848 h 1972975"/>
              <a:gd name="connsiteX19" fmla="*/ 1118020 w 1545499"/>
              <a:gd name="connsiteY19" fmla="*/ 1413965 h 1972975"/>
              <a:gd name="connsiteX20" fmla="*/ 1183787 w 1545499"/>
              <a:gd name="connsiteY20" fmla="*/ 1413965 h 1972975"/>
              <a:gd name="connsiteX21" fmla="*/ 1216670 w 1545499"/>
              <a:gd name="connsiteY21" fmla="*/ 1446849 h 1972975"/>
              <a:gd name="connsiteX22" fmla="*/ 1183787 w 1545499"/>
              <a:gd name="connsiteY22" fmla="*/ 1479732 h 1972975"/>
              <a:gd name="connsiteX23" fmla="*/ 1118020 w 1545499"/>
              <a:gd name="connsiteY23" fmla="*/ 1479732 h 1972975"/>
              <a:gd name="connsiteX24" fmla="*/ 1085137 w 1545499"/>
              <a:gd name="connsiteY24" fmla="*/ 1446849 h 1972975"/>
              <a:gd name="connsiteX25" fmla="*/ 1118020 w 1545499"/>
              <a:gd name="connsiteY25" fmla="*/ 1413965 h 1972975"/>
              <a:gd name="connsiteX26" fmla="*/ 657659 w 1545499"/>
              <a:gd name="connsiteY26" fmla="*/ 1413965 h 1972975"/>
              <a:gd name="connsiteX27" fmla="*/ 986489 w 1545499"/>
              <a:gd name="connsiteY27" fmla="*/ 1413965 h 1972975"/>
              <a:gd name="connsiteX28" fmla="*/ 1019372 w 1545499"/>
              <a:gd name="connsiteY28" fmla="*/ 1446849 h 1972975"/>
              <a:gd name="connsiteX29" fmla="*/ 986489 w 1545499"/>
              <a:gd name="connsiteY29" fmla="*/ 1479732 h 1972975"/>
              <a:gd name="connsiteX30" fmla="*/ 657659 w 1545499"/>
              <a:gd name="connsiteY30" fmla="*/ 1479732 h 1972975"/>
              <a:gd name="connsiteX31" fmla="*/ 624776 w 1545499"/>
              <a:gd name="connsiteY31" fmla="*/ 1446849 h 1972975"/>
              <a:gd name="connsiteX32" fmla="*/ 657659 w 1545499"/>
              <a:gd name="connsiteY32" fmla="*/ 1413965 h 1972975"/>
              <a:gd name="connsiteX33" fmla="*/ 361713 w 1545499"/>
              <a:gd name="connsiteY33" fmla="*/ 1381082 h 1972975"/>
              <a:gd name="connsiteX34" fmla="*/ 493245 w 1545499"/>
              <a:gd name="connsiteY34" fmla="*/ 1512614 h 1972975"/>
              <a:gd name="connsiteX35" fmla="*/ 361713 w 1545499"/>
              <a:gd name="connsiteY35" fmla="*/ 1644146 h 1972975"/>
              <a:gd name="connsiteX36" fmla="*/ 230180 w 1545499"/>
              <a:gd name="connsiteY36" fmla="*/ 1512614 h 1972975"/>
              <a:gd name="connsiteX37" fmla="*/ 361713 w 1545499"/>
              <a:gd name="connsiteY37" fmla="*/ 1381082 h 1972975"/>
              <a:gd name="connsiteX38" fmla="*/ 887840 w 1545499"/>
              <a:gd name="connsiteY38" fmla="*/ 1150902 h 1972975"/>
              <a:gd name="connsiteX39" fmla="*/ 1183787 w 1545499"/>
              <a:gd name="connsiteY39" fmla="*/ 1150902 h 1972975"/>
              <a:gd name="connsiteX40" fmla="*/ 1216670 w 1545499"/>
              <a:gd name="connsiteY40" fmla="*/ 1183786 h 1972975"/>
              <a:gd name="connsiteX41" fmla="*/ 1183787 w 1545499"/>
              <a:gd name="connsiteY41" fmla="*/ 1216669 h 1972975"/>
              <a:gd name="connsiteX42" fmla="*/ 887840 w 1545499"/>
              <a:gd name="connsiteY42" fmla="*/ 1216669 h 1972975"/>
              <a:gd name="connsiteX43" fmla="*/ 854957 w 1545499"/>
              <a:gd name="connsiteY43" fmla="*/ 1183786 h 1972975"/>
              <a:gd name="connsiteX44" fmla="*/ 887840 w 1545499"/>
              <a:gd name="connsiteY44" fmla="*/ 1150902 h 1972975"/>
              <a:gd name="connsiteX45" fmla="*/ 657659 w 1545499"/>
              <a:gd name="connsiteY45" fmla="*/ 1150902 h 1972975"/>
              <a:gd name="connsiteX46" fmla="*/ 756309 w 1545499"/>
              <a:gd name="connsiteY46" fmla="*/ 1150902 h 1972975"/>
              <a:gd name="connsiteX47" fmla="*/ 789192 w 1545499"/>
              <a:gd name="connsiteY47" fmla="*/ 1183786 h 1972975"/>
              <a:gd name="connsiteX48" fmla="*/ 756309 w 1545499"/>
              <a:gd name="connsiteY48" fmla="*/ 1216669 h 1972975"/>
              <a:gd name="connsiteX49" fmla="*/ 657659 w 1545499"/>
              <a:gd name="connsiteY49" fmla="*/ 1216669 h 1972975"/>
              <a:gd name="connsiteX50" fmla="*/ 624776 w 1545499"/>
              <a:gd name="connsiteY50" fmla="*/ 1183786 h 1972975"/>
              <a:gd name="connsiteX51" fmla="*/ 657659 w 1545499"/>
              <a:gd name="connsiteY51" fmla="*/ 1150902 h 1972975"/>
              <a:gd name="connsiteX52" fmla="*/ 361713 w 1545499"/>
              <a:gd name="connsiteY52" fmla="*/ 1052253 h 1972975"/>
              <a:gd name="connsiteX53" fmla="*/ 295946 w 1545499"/>
              <a:gd name="connsiteY53" fmla="*/ 1118019 h 1972975"/>
              <a:gd name="connsiteX54" fmla="*/ 361713 w 1545499"/>
              <a:gd name="connsiteY54" fmla="*/ 1183785 h 1972975"/>
              <a:gd name="connsiteX55" fmla="*/ 427479 w 1545499"/>
              <a:gd name="connsiteY55" fmla="*/ 1118019 h 1972975"/>
              <a:gd name="connsiteX56" fmla="*/ 361713 w 1545499"/>
              <a:gd name="connsiteY56" fmla="*/ 1052253 h 1972975"/>
              <a:gd name="connsiteX57" fmla="*/ 1118020 w 1545499"/>
              <a:gd name="connsiteY57" fmla="*/ 1019370 h 1972975"/>
              <a:gd name="connsiteX58" fmla="*/ 1183787 w 1545499"/>
              <a:gd name="connsiteY58" fmla="*/ 1019370 h 1972975"/>
              <a:gd name="connsiteX59" fmla="*/ 1216670 w 1545499"/>
              <a:gd name="connsiteY59" fmla="*/ 1052254 h 1972975"/>
              <a:gd name="connsiteX60" fmla="*/ 1183787 w 1545499"/>
              <a:gd name="connsiteY60" fmla="*/ 1085137 h 1972975"/>
              <a:gd name="connsiteX61" fmla="*/ 1118020 w 1545499"/>
              <a:gd name="connsiteY61" fmla="*/ 1085137 h 1972975"/>
              <a:gd name="connsiteX62" fmla="*/ 1085137 w 1545499"/>
              <a:gd name="connsiteY62" fmla="*/ 1052254 h 1972975"/>
              <a:gd name="connsiteX63" fmla="*/ 1118020 w 1545499"/>
              <a:gd name="connsiteY63" fmla="*/ 1019370 h 1972975"/>
              <a:gd name="connsiteX64" fmla="*/ 657659 w 1545499"/>
              <a:gd name="connsiteY64" fmla="*/ 1019370 h 1972975"/>
              <a:gd name="connsiteX65" fmla="*/ 986489 w 1545499"/>
              <a:gd name="connsiteY65" fmla="*/ 1019370 h 1972975"/>
              <a:gd name="connsiteX66" fmla="*/ 1019372 w 1545499"/>
              <a:gd name="connsiteY66" fmla="*/ 1052254 h 1972975"/>
              <a:gd name="connsiteX67" fmla="*/ 986489 w 1545499"/>
              <a:gd name="connsiteY67" fmla="*/ 1085137 h 1972975"/>
              <a:gd name="connsiteX68" fmla="*/ 657659 w 1545499"/>
              <a:gd name="connsiteY68" fmla="*/ 1085137 h 1972975"/>
              <a:gd name="connsiteX69" fmla="*/ 624776 w 1545499"/>
              <a:gd name="connsiteY69" fmla="*/ 1052254 h 1972975"/>
              <a:gd name="connsiteX70" fmla="*/ 657659 w 1545499"/>
              <a:gd name="connsiteY70" fmla="*/ 1019370 h 1972975"/>
              <a:gd name="connsiteX71" fmla="*/ 361713 w 1545499"/>
              <a:gd name="connsiteY71" fmla="*/ 986487 h 1972975"/>
              <a:gd name="connsiteX72" fmla="*/ 493245 w 1545499"/>
              <a:gd name="connsiteY72" fmla="*/ 1118019 h 1972975"/>
              <a:gd name="connsiteX73" fmla="*/ 361713 w 1545499"/>
              <a:gd name="connsiteY73" fmla="*/ 1249551 h 1972975"/>
              <a:gd name="connsiteX74" fmla="*/ 230180 w 1545499"/>
              <a:gd name="connsiteY74" fmla="*/ 1118019 h 1972975"/>
              <a:gd name="connsiteX75" fmla="*/ 361713 w 1545499"/>
              <a:gd name="connsiteY75" fmla="*/ 986487 h 1972975"/>
              <a:gd name="connsiteX76" fmla="*/ 221927 w 1545499"/>
              <a:gd name="connsiteY76" fmla="*/ 724444 h 1972975"/>
              <a:gd name="connsiteX77" fmla="*/ 262011 w 1545499"/>
              <a:gd name="connsiteY77" fmla="*/ 748054 h 1972975"/>
              <a:gd name="connsiteX78" fmla="*/ 361713 w 1545499"/>
              <a:gd name="connsiteY78" fmla="*/ 822074 h 1972975"/>
              <a:gd name="connsiteX79" fmla="*/ 461414 w 1545499"/>
              <a:gd name="connsiteY79" fmla="*/ 748086 h 1972975"/>
              <a:gd name="connsiteX80" fmla="*/ 501499 w 1545499"/>
              <a:gd name="connsiteY80" fmla="*/ 724476 h 1972975"/>
              <a:gd name="connsiteX81" fmla="*/ 525076 w 1545499"/>
              <a:gd name="connsiteY81" fmla="*/ 764561 h 1972975"/>
              <a:gd name="connsiteX82" fmla="*/ 361713 w 1545499"/>
              <a:gd name="connsiteY82" fmla="*/ 887840 h 1972975"/>
              <a:gd name="connsiteX83" fmla="*/ 198350 w 1545499"/>
              <a:gd name="connsiteY83" fmla="*/ 764528 h 1972975"/>
              <a:gd name="connsiteX84" fmla="*/ 221927 w 1545499"/>
              <a:gd name="connsiteY84" fmla="*/ 724444 h 1972975"/>
              <a:gd name="connsiteX85" fmla="*/ 887840 w 1545499"/>
              <a:gd name="connsiteY85" fmla="*/ 690541 h 1972975"/>
              <a:gd name="connsiteX86" fmla="*/ 1183787 w 1545499"/>
              <a:gd name="connsiteY86" fmla="*/ 690541 h 1972975"/>
              <a:gd name="connsiteX87" fmla="*/ 1216670 w 1545499"/>
              <a:gd name="connsiteY87" fmla="*/ 723425 h 1972975"/>
              <a:gd name="connsiteX88" fmla="*/ 1183787 w 1545499"/>
              <a:gd name="connsiteY88" fmla="*/ 756308 h 1972975"/>
              <a:gd name="connsiteX89" fmla="*/ 887840 w 1545499"/>
              <a:gd name="connsiteY89" fmla="*/ 756308 h 1972975"/>
              <a:gd name="connsiteX90" fmla="*/ 854957 w 1545499"/>
              <a:gd name="connsiteY90" fmla="*/ 723425 h 1972975"/>
              <a:gd name="connsiteX91" fmla="*/ 887840 w 1545499"/>
              <a:gd name="connsiteY91" fmla="*/ 690541 h 1972975"/>
              <a:gd name="connsiteX92" fmla="*/ 657659 w 1545499"/>
              <a:gd name="connsiteY92" fmla="*/ 690541 h 1972975"/>
              <a:gd name="connsiteX93" fmla="*/ 756309 w 1545499"/>
              <a:gd name="connsiteY93" fmla="*/ 690541 h 1972975"/>
              <a:gd name="connsiteX94" fmla="*/ 789192 w 1545499"/>
              <a:gd name="connsiteY94" fmla="*/ 723425 h 1972975"/>
              <a:gd name="connsiteX95" fmla="*/ 756309 w 1545499"/>
              <a:gd name="connsiteY95" fmla="*/ 756308 h 1972975"/>
              <a:gd name="connsiteX96" fmla="*/ 657659 w 1545499"/>
              <a:gd name="connsiteY96" fmla="*/ 756308 h 1972975"/>
              <a:gd name="connsiteX97" fmla="*/ 624776 w 1545499"/>
              <a:gd name="connsiteY97" fmla="*/ 723425 h 1972975"/>
              <a:gd name="connsiteX98" fmla="*/ 657659 w 1545499"/>
              <a:gd name="connsiteY98" fmla="*/ 690541 h 1972975"/>
              <a:gd name="connsiteX99" fmla="*/ 1118020 w 1545499"/>
              <a:gd name="connsiteY99" fmla="*/ 559009 h 1972975"/>
              <a:gd name="connsiteX100" fmla="*/ 1183787 w 1545499"/>
              <a:gd name="connsiteY100" fmla="*/ 559009 h 1972975"/>
              <a:gd name="connsiteX101" fmla="*/ 1216670 w 1545499"/>
              <a:gd name="connsiteY101" fmla="*/ 591893 h 1972975"/>
              <a:gd name="connsiteX102" fmla="*/ 1183787 w 1545499"/>
              <a:gd name="connsiteY102" fmla="*/ 624776 h 1972975"/>
              <a:gd name="connsiteX103" fmla="*/ 1118020 w 1545499"/>
              <a:gd name="connsiteY103" fmla="*/ 624776 h 1972975"/>
              <a:gd name="connsiteX104" fmla="*/ 1085137 w 1545499"/>
              <a:gd name="connsiteY104" fmla="*/ 591893 h 1972975"/>
              <a:gd name="connsiteX105" fmla="*/ 1118020 w 1545499"/>
              <a:gd name="connsiteY105" fmla="*/ 559009 h 1972975"/>
              <a:gd name="connsiteX106" fmla="*/ 657659 w 1545499"/>
              <a:gd name="connsiteY106" fmla="*/ 559009 h 1972975"/>
              <a:gd name="connsiteX107" fmla="*/ 986489 w 1545499"/>
              <a:gd name="connsiteY107" fmla="*/ 559009 h 1972975"/>
              <a:gd name="connsiteX108" fmla="*/ 1019372 w 1545499"/>
              <a:gd name="connsiteY108" fmla="*/ 591893 h 1972975"/>
              <a:gd name="connsiteX109" fmla="*/ 986489 w 1545499"/>
              <a:gd name="connsiteY109" fmla="*/ 624776 h 1972975"/>
              <a:gd name="connsiteX110" fmla="*/ 657659 w 1545499"/>
              <a:gd name="connsiteY110" fmla="*/ 624776 h 1972975"/>
              <a:gd name="connsiteX111" fmla="*/ 624776 w 1545499"/>
              <a:gd name="connsiteY111" fmla="*/ 591893 h 1972975"/>
              <a:gd name="connsiteX112" fmla="*/ 657659 w 1545499"/>
              <a:gd name="connsiteY112" fmla="*/ 559009 h 1972975"/>
              <a:gd name="connsiteX113" fmla="*/ 339547 w 1545499"/>
              <a:gd name="connsiteY113" fmla="*/ 462009 h 1972975"/>
              <a:gd name="connsiteX114" fmla="*/ 402883 w 1545499"/>
              <a:gd name="connsiteY114" fmla="*/ 465589 h 1972975"/>
              <a:gd name="connsiteX115" fmla="*/ 426428 w 1545499"/>
              <a:gd name="connsiteY115" fmla="*/ 505674 h 1972975"/>
              <a:gd name="connsiteX116" fmla="*/ 386343 w 1545499"/>
              <a:gd name="connsiteY116" fmla="*/ 529219 h 1972975"/>
              <a:gd name="connsiteX117" fmla="*/ 312554 w 1545499"/>
              <a:gd name="connsiteY117" fmla="*/ 539379 h 1972975"/>
              <a:gd name="connsiteX118" fmla="*/ 295980 w 1545499"/>
              <a:gd name="connsiteY118" fmla="*/ 543884 h 1972975"/>
              <a:gd name="connsiteX119" fmla="*/ 267569 w 1545499"/>
              <a:gd name="connsiteY119" fmla="*/ 527607 h 1972975"/>
              <a:gd name="connsiteX120" fmla="*/ 279341 w 1545499"/>
              <a:gd name="connsiteY120" fmla="*/ 482622 h 1972975"/>
              <a:gd name="connsiteX121" fmla="*/ 339547 w 1545499"/>
              <a:gd name="connsiteY121" fmla="*/ 462009 h 1972975"/>
              <a:gd name="connsiteX122" fmla="*/ 520707 w 1545499"/>
              <a:gd name="connsiteY122" fmla="*/ 460813 h 1972975"/>
              <a:gd name="connsiteX123" fmla="*/ 545233 w 1545499"/>
              <a:gd name="connsiteY123" fmla="*/ 466477 h 1972975"/>
              <a:gd name="connsiteX124" fmla="*/ 552862 w 1545499"/>
              <a:gd name="connsiteY124" fmla="*/ 512349 h 1972975"/>
              <a:gd name="connsiteX125" fmla="*/ 388446 w 1545499"/>
              <a:gd name="connsiteY125" fmla="*/ 742529 h 1972975"/>
              <a:gd name="connsiteX126" fmla="*/ 386202 w 1545499"/>
              <a:gd name="connsiteY126" fmla="*/ 743685 h 1972975"/>
              <a:gd name="connsiteX127" fmla="*/ 384962 w 1545499"/>
              <a:gd name="connsiteY127" fmla="*/ 746673 h 1972975"/>
              <a:gd name="connsiteX128" fmla="*/ 361713 w 1545499"/>
              <a:gd name="connsiteY128" fmla="*/ 756308 h 1972975"/>
              <a:gd name="connsiteX129" fmla="*/ 361693 w 1545499"/>
              <a:gd name="connsiteY129" fmla="*/ 756300 h 1972975"/>
              <a:gd name="connsiteX130" fmla="*/ 361679 w 1545499"/>
              <a:gd name="connsiteY130" fmla="*/ 756307 h 1972975"/>
              <a:gd name="connsiteX131" fmla="*/ 342574 w 1545499"/>
              <a:gd name="connsiteY131" fmla="*/ 750191 h 1972975"/>
              <a:gd name="connsiteX132" fmla="*/ 341050 w 1545499"/>
              <a:gd name="connsiteY132" fmla="*/ 747744 h 1972975"/>
              <a:gd name="connsiteX133" fmla="*/ 338465 w 1545499"/>
              <a:gd name="connsiteY133" fmla="*/ 746673 h 1972975"/>
              <a:gd name="connsiteX134" fmla="*/ 239815 w 1545499"/>
              <a:gd name="connsiteY134" fmla="*/ 648025 h 1972975"/>
              <a:gd name="connsiteX135" fmla="*/ 239815 w 1545499"/>
              <a:gd name="connsiteY135" fmla="*/ 601527 h 1972975"/>
              <a:gd name="connsiteX136" fmla="*/ 263064 w 1545499"/>
              <a:gd name="connsiteY136" fmla="*/ 591884 h 1972975"/>
              <a:gd name="connsiteX137" fmla="*/ 286313 w 1545499"/>
              <a:gd name="connsiteY137" fmla="*/ 601527 h 1972975"/>
              <a:gd name="connsiteX138" fmla="*/ 357512 w 1545499"/>
              <a:gd name="connsiteY138" fmla="*/ 672726 h 1972975"/>
              <a:gd name="connsiteX139" fmla="*/ 499361 w 1545499"/>
              <a:gd name="connsiteY139" fmla="*/ 474139 h 1972975"/>
              <a:gd name="connsiteX140" fmla="*/ 520707 w 1545499"/>
              <a:gd name="connsiteY140" fmla="*/ 460813 h 1972975"/>
              <a:gd name="connsiteX141" fmla="*/ 1284119 w 1545499"/>
              <a:gd name="connsiteY141" fmla="*/ 197297 h 1972975"/>
              <a:gd name="connsiteX142" fmla="*/ 1403082 w 1545499"/>
              <a:gd name="connsiteY142" fmla="*/ 304364 h 1972975"/>
              <a:gd name="connsiteX143" fmla="*/ 1413062 w 1545499"/>
              <a:gd name="connsiteY143" fmla="*/ 321127 h 1972975"/>
              <a:gd name="connsiteX144" fmla="*/ 1412741 w 1545499"/>
              <a:gd name="connsiteY144" fmla="*/ 326074 h 1972975"/>
              <a:gd name="connsiteX145" fmla="*/ 1413968 w 1545499"/>
              <a:gd name="connsiteY145" fmla="*/ 328829 h 1972975"/>
              <a:gd name="connsiteX146" fmla="*/ 1413968 w 1545499"/>
              <a:gd name="connsiteY146" fmla="*/ 1808560 h 1972975"/>
              <a:gd name="connsiteX147" fmla="*/ 1404333 w 1545499"/>
              <a:gd name="connsiteY147" fmla="*/ 1831808 h 1972975"/>
              <a:gd name="connsiteX148" fmla="*/ 1404333 w 1545499"/>
              <a:gd name="connsiteY148" fmla="*/ 1831808 h 1972975"/>
              <a:gd name="connsiteX149" fmla="*/ 1404333 w 1545499"/>
              <a:gd name="connsiteY149" fmla="*/ 1831809 h 1972975"/>
              <a:gd name="connsiteX150" fmla="*/ 1381084 w 1545499"/>
              <a:gd name="connsiteY150" fmla="*/ 1841444 h 1972975"/>
              <a:gd name="connsiteX151" fmla="*/ 197298 w 1545499"/>
              <a:gd name="connsiteY151" fmla="*/ 1841444 h 1972975"/>
              <a:gd name="connsiteX152" fmla="*/ 197298 w 1545499"/>
              <a:gd name="connsiteY152" fmla="*/ 1907209 h 1972975"/>
              <a:gd name="connsiteX153" fmla="*/ 1479734 w 1545499"/>
              <a:gd name="connsiteY153" fmla="*/ 1907209 h 1972975"/>
              <a:gd name="connsiteX154" fmla="*/ 1479734 w 1545499"/>
              <a:gd name="connsiteY154" fmla="*/ 197297 h 1972975"/>
              <a:gd name="connsiteX155" fmla="*/ 1085137 w 1545499"/>
              <a:gd name="connsiteY155" fmla="*/ 106726 h 1972975"/>
              <a:gd name="connsiteX156" fmla="*/ 1085137 w 1545499"/>
              <a:gd name="connsiteY156" fmla="*/ 295946 h 1972975"/>
              <a:gd name="connsiteX157" fmla="*/ 1295372 w 1545499"/>
              <a:gd name="connsiteY157" fmla="*/ 295946 h 1972975"/>
              <a:gd name="connsiteX158" fmla="*/ 65766 w 1545499"/>
              <a:gd name="connsiteY158" fmla="*/ 65766 h 1972975"/>
              <a:gd name="connsiteX159" fmla="*/ 65766 w 1545499"/>
              <a:gd name="connsiteY159" fmla="*/ 1775678 h 1972975"/>
              <a:gd name="connsiteX160" fmla="*/ 164413 w 1545499"/>
              <a:gd name="connsiteY160" fmla="*/ 1775678 h 1972975"/>
              <a:gd name="connsiteX161" fmla="*/ 164415 w 1545499"/>
              <a:gd name="connsiteY161" fmla="*/ 1775677 h 1972975"/>
              <a:gd name="connsiteX162" fmla="*/ 1348202 w 1545499"/>
              <a:gd name="connsiteY162" fmla="*/ 1775677 h 1972975"/>
              <a:gd name="connsiteX163" fmla="*/ 1348202 w 1545499"/>
              <a:gd name="connsiteY163" fmla="*/ 361712 h 1972975"/>
              <a:gd name="connsiteX164" fmla="*/ 1052254 w 1545499"/>
              <a:gd name="connsiteY164" fmla="*/ 361712 h 1972975"/>
              <a:gd name="connsiteX165" fmla="*/ 1019371 w 1545499"/>
              <a:gd name="connsiteY165" fmla="*/ 328829 h 1972975"/>
              <a:gd name="connsiteX166" fmla="*/ 1019371 w 1545499"/>
              <a:gd name="connsiteY166" fmla="*/ 65766 h 1972975"/>
              <a:gd name="connsiteX167" fmla="*/ 32883 w 1545499"/>
              <a:gd name="connsiteY167" fmla="*/ 0 h 1972975"/>
              <a:gd name="connsiteX168" fmla="*/ 1052255 w 1545499"/>
              <a:gd name="connsiteY168" fmla="*/ 0 h 1972975"/>
              <a:gd name="connsiteX169" fmla="*/ 1054332 w 1545499"/>
              <a:gd name="connsiteY169" fmla="*/ 798 h 1972975"/>
              <a:gd name="connsiteX170" fmla="*/ 1057401 w 1545499"/>
              <a:gd name="connsiteY170" fmla="*/ 395 h 1972975"/>
              <a:gd name="connsiteX171" fmla="*/ 1074253 w 1545499"/>
              <a:gd name="connsiteY171" fmla="*/ 8418 h 1972975"/>
              <a:gd name="connsiteX172" fmla="*/ 1211045 w 1545499"/>
              <a:gd name="connsiteY172" fmla="*/ 131531 h 1972975"/>
              <a:gd name="connsiteX173" fmla="*/ 1512616 w 1545499"/>
              <a:gd name="connsiteY173" fmla="*/ 131531 h 1972975"/>
              <a:gd name="connsiteX174" fmla="*/ 1545499 w 1545499"/>
              <a:gd name="connsiteY174" fmla="*/ 164414 h 1972975"/>
              <a:gd name="connsiteX175" fmla="*/ 1545499 w 1545499"/>
              <a:gd name="connsiteY175" fmla="*/ 1940092 h 1972975"/>
              <a:gd name="connsiteX176" fmla="*/ 1512616 w 1545499"/>
              <a:gd name="connsiteY176" fmla="*/ 1972975 h 1972975"/>
              <a:gd name="connsiteX177" fmla="*/ 164415 w 1545499"/>
              <a:gd name="connsiteY177" fmla="*/ 1972975 h 1972975"/>
              <a:gd name="connsiteX178" fmla="*/ 131532 w 1545499"/>
              <a:gd name="connsiteY178" fmla="*/ 1940092 h 1972975"/>
              <a:gd name="connsiteX179" fmla="*/ 131532 w 1545499"/>
              <a:gd name="connsiteY179" fmla="*/ 1841444 h 1972975"/>
              <a:gd name="connsiteX180" fmla="*/ 32883 w 1545499"/>
              <a:gd name="connsiteY180" fmla="*/ 1841444 h 1972975"/>
              <a:gd name="connsiteX181" fmla="*/ 0 w 1545499"/>
              <a:gd name="connsiteY181" fmla="*/ 1808561 h 1972975"/>
              <a:gd name="connsiteX182" fmla="*/ 0 w 1545499"/>
              <a:gd name="connsiteY182" fmla="*/ 32883 h 1972975"/>
              <a:gd name="connsiteX183" fmla="*/ 32883 w 1545499"/>
              <a:gd name="connsiteY183" fmla="*/ 0 h 197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1545499" h="1972975">
                <a:moveTo>
                  <a:pt x="887840" y="1545497"/>
                </a:moveTo>
                <a:lnTo>
                  <a:pt x="1183787" y="1545497"/>
                </a:lnTo>
                <a:cubicBezTo>
                  <a:pt x="1201938" y="1545497"/>
                  <a:pt x="1216670" y="1560230"/>
                  <a:pt x="1216670" y="1578381"/>
                </a:cubicBezTo>
                <a:cubicBezTo>
                  <a:pt x="1216670" y="1596532"/>
                  <a:pt x="1201938" y="1611264"/>
                  <a:pt x="1183787" y="1611264"/>
                </a:cubicBezTo>
                <a:lnTo>
                  <a:pt x="887840" y="1611264"/>
                </a:lnTo>
                <a:cubicBezTo>
                  <a:pt x="869689" y="1611264"/>
                  <a:pt x="854957" y="1596532"/>
                  <a:pt x="854957" y="1578381"/>
                </a:cubicBezTo>
                <a:cubicBezTo>
                  <a:pt x="854957" y="1560230"/>
                  <a:pt x="869689" y="1545497"/>
                  <a:pt x="887840" y="1545497"/>
                </a:cubicBezTo>
                <a:close/>
                <a:moveTo>
                  <a:pt x="657659" y="1545497"/>
                </a:moveTo>
                <a:lnTo>
                  <a:pt x="756309" y="1545497"/>
                </a:lnTo>
                <a:cubicBezTo>
                  <a:pt x="774460" y="1545497"/>
                  <a:pt x="789192" y="1560230"/>
                  <a:pt x="789192" y="1578381"/>
                </a:cubicBezTo>
                <a:cubicBezTo>
                  <a:pt x="789192" y="1596532"/>
                  <a:pt x="774460" y="1611264"/>
                  <a:pt x="756309" y="1611264"/>
                </a:cubicBezTo>
                <a:lnTo>
                  <a:pt x="657659" y="1611264"/>
                </a:lnTo>
                <a:cubicBezTo>
                  <a:pt x="639508" y="1611264"/>
                  <a:pt x="624776" y="1596532"/>
                  <a:pt x="624776" y="1578381"/>
                </a:cubicBezTo>
                <a:cubicBezTo>
                  <a:pt x="624776" y="1560230"/>
                  <a:pt x="639508" y="1545497"/>
                  <a:pt x="657659" y="1545497"/>
                </a:cubicBezTo>
                <a:close/>
                <a:moveTo>
                  <a:pt x="361713" y="1446848"/>
                </a:moveTo>
                <a:cubicBezTo>
                  <a:pt x="325443" y="1446848"/>
                  <a:pt x="295946" y="1476344"/>
                  <a:pt x="295946" y="1512614"/>
                </a:cubicBezTo>
                <a:cubicBezTo>
                  <a:pt x="295946" y="1548884"/>
                  <a:pt x="325443" y="1578380"/>
                  <a:pt x="361713" y="1578380"/>
                </a:cubicBezTo>
                <a:cubicBezTo>
                  <a:pt x="397983" y="1578380"/>
                  <a:pt x="427479" y="1548884"/>
                  <a:pt x="427479" y="1512614"/>
                </a:cubicBezTo>
                <a:cubicBezTo>
                  <a:pt x="427479" y="1476344"/>
                  <a:pt x="397983" y="1446848"/>
                  <a:pt x="361713" y="1446848"/>
                </a:cubicBezTo>
                <a:close/>
                <a:moveTo>
                  <a:pt x="1118020" y="1413965"/>
                </a:moveTo>
                <a:lnTo>
                  <a:pt x="1183787" y="1413965"/>
                </a:lnTo>
                <a:cubicBezTo>
                  <a:pt x="1201938" y="1413965"/>
                  <a:pt x="1216670" y="1428698"/>
                  <a:pt x="1216670" y="1446849"/>
                </a:cubicBezTo>
                <a:cubicBezTo>
                  <a:pt x="1216670" y="1465000"/>
                  <a:pt x="1201938" y="1479732"/>
                  <a:pt x="1183787" y="1479732"/>
                </a:cubicBezTo>
                <a:lnTo>
                  <a:pt x="1118020" y="1479732"/>
                </a:lnTo>
                <a:cubicBezTo>
                  <a:pt x="1099869" y="1479732"/>
                  <a:pt x="1085137" y="1465000"/>
                  <a:pt x="1085137" y="1446849"/>
                </a:cubicBezTo>
                <a:cubicBezTo>
                  <a:pt x="1085137" y="1428698"/>
                  <a:pt x="1099869" y="1413965"/>
                  <a:pt x="1118020" y="1413965"/>
                </a:cubicBezTo>
                <a:close/>
                <a:moveTo>
                  <a:pt x="657659" y="1413965"/>
                </a:moveTo>
                <a:lnTo>
                  <a:pt x="986489" y="1413965"/>
                </a:lnTo>
                <a:cubicBezTo>
                  <a:pt x="1004640" y="1413965"/>
                  <a:pt x="1019372" y="1428698"/>
                  <a:pt x="1019372" y="1446849"/>
                </a:cubicBezTo>
                <a:cubicBezTo>
                  <a:pt x="1019372" y="1465000"/>
                  <a:pt x="1004640" y="1479732"/>
                  <a:pt x="986489" y="1479732"/>
                </a:cubicBezTo>
                <a:lnTo>
                  <a:pt x="657659" y="1479732"/>
                </a:lnTo>
                <a:cubicBezTo>
                  <a:pt x="639508" y="1479732"/>
                  <a:pt x="624776" y="1465000"/>
                  <a:pt x="624776" y="1446849"/>
                </a:cubicBezTo>
                <a:cubicBezTo>
                  <a:pt x="624776" y="1428698"/>
                  <a:pt x="639508" y="1413965"/>
                  <a:pt x="657659" y="1413965"/>
                </a:cubicBezTo>
                <a:close/>
                <a:moveTo>
                  <a:pt x="361713" y="1381082"/>
                </a:moveTo>
                <a:cubicBezTo>
                  <a:pt x="434253" y="1381082"/>
                  <a:pt x="493245" y="1440074"/>
                  <a:pt x="493245" y="1512614"/>
                </a:cubicBezTo>
                <a:cubicBezTo>
                  <a:pt x="493245" y="1585154"/>
                  <a:pt x="434253" y="1644146"/>
                  <a:pt x="361713" y="1644146"/>
                </a:cubicBezTo>
                <a:cubicBezTo>
                  <a:pt x="289172" y="1644146"/>
                  <a:pt x="230180" y="1585154"/>
                  <a:pt x="230180" y="1512614"/>
                </a:cubicBezTo>
                <a:cubicBezTo>
                  <a:pt x="230180" y="1440074"/>
                  <a:pt x="289172" y="1381082"/>
                  <a:pt x="361713" y="1381082"/>
                </a:cubicBezTo>
                <a:close/>
                <a:moveTo>
                  <a:pt x="887840" y="1150902"/>
                </a:moveTo>
                <a:lnTo>
                  <a:pt x="1183787" y="1150902"/>
                </a:lnTo>
                <a:cubicBezTo>
                  <a:pt x="1201938" y="1150902"/>
                  <a:pt x="1216670" y="1165635"/>
                  <a:pt x="1216670" y="1183786"/>
                </a:cubicBezTo>
                <a:cubicBezTo>
                  <a:pt x="1216670" y="1201937"/>
                  <a:pt x="1201938" y="1216669"/>
                  <a:pt x="1183787" y="1216669"/>
                </a:cubicBezTo>
                <a:lnTo>
                  <a:pt x="887840" y="1216669"/>
                </a:lnTo>
                <a:cubicBezTo>
                  <a:pt x="869689" y="1216669"/>
                  <a:pt x="854957" y="1201937"/>
                  <a:pt x="854957" y="1183786"/>
                </a:cubicBezTo>
                <a:cubicBezTo>
                  <a:pt x="854957" y="1165635"/>
                  <a:pt x="869689" y="1150902"/>
                  <a:pt x="887840" y="1150902"/>
                </a:cubicBezTo>
                <a:close/>
                <a:moveTo>
                  <a:pt x="657659" y="1150902"/>
                </a:moveTo>
                <a:lnTo>
                  <a:pt x="756309" y="1150902"/>
                </a:lnTo>
                <a:cubicBezTo>
                  <a:pt x="774460" y="1150902"/>
                  <a:pt x="789192" y="1165635"/>
                  <a:pt x="789192" y="1183786"/>
                </a:cubicBezTo>
                <a:cubicBezTo>
                  <a:pt x="789192" y="1201937"/>
                  <a:pt x="774460" y="1216669"/>
                  <a:pt x="756309" y="1216669"/>
                </a:cubicBezTo>
                <a:lnTo>
                  <a:pt x="657659" y="1216669"/>
                </a:lnTo>
                <a:cubicBezTo>
                  <a:pt x="639508" y="1216669"/>
                  <a:pt x="624776" y="1201937"/>
                  <a:pt x="624776" y="1183786"/>
                </a:cubicBezTo>
                <a:cubicBezTo>
                  <a:pt x="624776" y="1165635"/>
                  <a:pt x="639508" y="1150902"/>
                  <a:pt x="657659" y="1150902"/>
                </a:cubicBezTo>
                <a:close/>
                <a:moveTo>
                  <a:pt x="361713" y="1052253"/>
                </a:moveTo>
                <a:cubicBezTo>
                  <a:pt x="325443" y="1052253"/>
                  <a:pt x="295946" y="1081749"/>
                  <a:pt x="295946" y="1118019"/>
                </a:cubicBezTo>
                <a:cubicBezTo>
                  <a:pt x="295946" y="1154289"/>
                  <a:pt x="325443" y="1183785"/>
                  <a:pt x="361713" y="1183785"/>
                </a:cubicBezTo>
                <a:cubicBezTo>
                  <a:pt x="397983" y="1183785"/>
                  <a:pt x="427479" y="1154289"/>
                  <a:pt x="427479" y="1118019"/>
                </a:cubicBezTo>
                <a:cubicBezTo>
                  <a:pt x="427479" y="1081749"/>
                  <a:pt x="397983" y="1052253"/>
                  <a:pt x="361713" y="1052253"/>
                </a:cubicBezTo>
                <a:close/>
                <a:moveTo>
                  <a:pt x="1118020" y="1019370"/>
                </a:moveTo>
                <a:lnTo>
                  <a:pt x="1183787" y="1019370"/>
                </a:lnTo>
                <a:cubicBezTo>
                  <a:pt x="1201938" y="1019370"/>
                  <a:pt x="1216670" y="1034103"/>
                  <a:pt x="1216670" y="1052254"/>
                </a:cubicBezTo>
                <a:cubicBezTo>
                  <a:pt x="1216670" y="1070405"/>
                  <a:pt x="1201938" y="1085137"/>
                  <a:pt x="1183787" y="1085137"/>
                </a:cubicBezTo>
                <a:lnTo>
                  <a:pt x="1118020" y="1085137"/>
                </a:lnTo>
                <a:cubicBezTo>
                  <a:pt x="1099869" y="1085137"/>
                  <a:pt x="1085137" y="1070405"/>
                  <a:pt x="1085137" y="1052254"/>
                </a:cubicBezTo>
                <a:cubicBezTo>
                  <a:pt x="1085137" y="1034103"/>
                  <a:pt x="1099869" y="1019370"/>
                  <a:pt x="1118020" y="1019370"/>
                </a:cubicBezTo>
                <a:close/>
                <a:moveTo>
                  <a:pt x="657659" y="1019370"/>
                </a:moveTo>
                <a:lnTo>
                  <a:pt x="986489" y="1019370"/>
                </a:lnTo>
                <a:cubicBezTo>
                  <a:pt x="1004640" y="1019370"/>
                  <a:pt x="1019372" y="1034103"/>
                  <a:pt x="1019372" y="1052254"/>
                </a:cubicBezTo>
                <a:cubicBezTo>
                  <a:pt x="1019372" y="1070405"/>
                  <a:pt x="1004640" y="1085137"/>
                  <a:pt x="986489" y="1085137"/>
                </a:cubicBezTo>
                <a:lnTo>
                  <a:pt x="657659" y="1085137"/>
                </a:lnTo>
                <a:cubicBezTo>
                  <a:pt x="639508" y="1085137"/>
                  <a:pt x="624776" y="1070405"/>
                  <a:pt x="624776" y="1052254"/>
                </a:cubicBezTo>
                <a:cubicBezTo>
                  <a:pt x="624776" y="1034103"/>
                  <a:pt x="639508" y="1019370"/>
                  <a:pt x="657659" y="1019370"/>
                </a:cubicBezTo>
                <a:close/>
                <a:moveTo>
                  <a:pt x="361713" y="986487"/>
                </a:moveTo>
                <a:cubicBezTo>
                  <a:pt x="434253" y="986487"/>
                  <a:pt x="493245" y="1045479"/>
                  <a:pt x="493245" y="1118019"/>
                </a:cubicBezTo>
                <a:cubicBezTo>
                  <a:pt x="493245" y="1190559"/>
                  <a:pt x="434253" y="1249551"/>
                  <a:pt x="361713" y="1249551"/>
                </a:cubicBezTo>
                <a:cubicBezTo>
                  <a:pt x="289172" y="1249551"/>
                  <a:pt x="230180" y="1190559"/>
                  <a:pt x="230180" y="1118019"/>
                </a:cubicBezTo>
                <a:cubicBezTo>
                  <a:pt x="230180" y="1045479"/>
                  <a:pt x="289172" y="986487"/>
                  <a:pt x="361713" y="986487"/>
                </a:cubicBezTo>
                <a:close/>
                <a:moveTo>
                  <a:pt x="221927" y="724444"/>
                </a:moveTo>
                <a:cubicBezTo>
                  <a:pt x="239453" y="719906"/>
                  <a:pt x="257440" y="730461"/>
                  <a:pt x="262011" y="748054"/>
                </a:cubicBezTo>
                <a:cubicBezTo>
                  <a:pt x="272928" y="790243"/>
                  <a:pt x="315809" y="822074"/>
                  <a:pt x="361713" y="822074"/>
                </a:cubicBezTo>
                <a:cubicBezTo>
                  <a:pt x="407618" y="822074"/>
                  <a:pt x="450497" y="790243"/>
                  <a:pt x="461414" y="748086"/>
                </a:cubicBezTo>
                <a:cubicBezTo>
                  <a:pt x="465985" y="730494"/>
                  <a:pt x="483906" y="719972"/>
                  <a:pt x="501499" y="724476"/>
                </a:cubicBezTo>
                <a:cubicBezTo>
                  <a:pt x="519091" y="729047"/>
                  <a:pt x="529647" y="747001"/>
                  <a:pt x="525076" y="764561"/>
                </a:cubicBezTo>
                <a:cubicBezTo>
                  <a:pt x="506563" y="835983"/>
                  <a:pt x="437870" y="887840"/>
                  <a:pt x="361713" y="887840"/>
                </a:cubicBezTo>
                <a:cubicBezTo>
                  <a:pt x="285555" y="887840"/>
                  <a:pt x="216863" y="835983"/>
                  <a:pt x="198350" y="764528"/>
                </a:cubicBezTo>
                <a:cubicBezTo>
                  <a:pt x="193812" y="746968"/>
                  <a:pt x="204367" y="729014"/>
                  <a:pt x="221927" y="724444"/>
                </a:cubicBezTo>
                <a:close/>
                <a:moveTo>
                  <a:pt x="887840" y="690541"/>
                </a:moveTo>
                <a:lnTo>
                  <a:pt x="1183787" y="690541"/>
                </a:lnTo>
                <a:cubicBezTo>
                  <a:pt x="1201938" y="690541"/>
                  <a:pt x="1216670" y="705274"/>
                  <a:pt x="1216670" y="723425"/>
                </a:cubicBezTo>
                <a:cubicBezTo>
                  <a:pt x="1216670" y="741576"/>
                  <a:pt x="1201938" y="756308"/>
                  <a:pt x="1183787" y="756308"/>
                </a:cubicBezTo>
                <a:lnTo>
                  <a:pt x="887840" y="756308"/>
                </a:lnTo>
                <a:cubicBezTo>
                  <a:pt x="869689" y="756308"/>
                  <a:pt x="854957" y="741576"/>
                  <a:pt x="854957" y="723425"/>
                </a:cubicBezTo>
                <a:cubicBezTo>
                  <a:pt x="854957" y="705274"/>
                  <a:pt x="869689" y="690541"/>
                  <a:pt x="887840" y="690541"/>
                </a:cubicBezTo>
                <a:close/>
                <a:moveTo>
                  <a:pt x="657659" y="690541"/>
                </a:moveTo>
                <a:lnTo>
                  <a:pt x="756309" y="690541"/>
                </a:lnTo>
                <a:cubicBezTo>
                  <a:pt x="774460" y="690541"/>
                  <a:pt x="789192" y="705274"/>
                  <a:pt x="789192" y="723425"/>
                </a:cubicBezTo>
                <a:cubicBezTo>
                  <a:pt x="789192" y="741576"/>
                  <a:pt x="774460" y="756308"/>
                  <a:pt x="756309" y="756308"/>
                </a:cubicBezTo>
                <a:lnTo>
                  <a:pt x="657659" y="756308"/>
                </a:lnTo>
                <a:cubicBezTo>
                  <a:pt x="639508" y="756308"/>
                  <a:pt x="624776" y="741576"/>
                  <a:pt x="624776" y="723425"/>
                </a:cubicBezTo>
                <a:cubicBezTo>
                  <a:pt x="624776" y="705274"/>
                  <a:pt x="639508" y="690541"/>
                  <a:pt x="657659" y="690541"/>
                </a:cubicBezTo>
                <a:close/>
                <a:moveTo>
                  <a:pt x="1118020" y="559009"/>
                </a:moveTo>
                <a:lnTo>
                  <a:pt x="1183787" y="559009"/>
                </a:lnTo>
                <a:cubicBezTo>
                  <a:pt x="1201938" y="559009"/>
                  <a:pt x="1216670" y="573742"/>
                  <a:pt x="1216670" y="591893"/>
                </a:cubicBezTo>
                <a:cubicBezTo>
                  <a:pt x="1216670" y="610044"/>
                  <a:pt x="1201938" y="624776"/>
                  <a:pt x="1183787" y="624776"/>
                </a:cubicBezTo>
                <a:lnTo>
                  <a:pt x="1118020" y="624776"/>
                </a:lnTo>
                <a:cubicBezTo>
                  <a:pt x="1099869" y="624776"/>
                  <a:pt x="1085137" y="610044"/>
                  <a:pt x="1085137" y="591893"/>
                </a:cubicBezTo>
                <a:cubicBezTo>
                  <a:pt x="1085137" y="573742"/>
                  <a:pt x="1099869" y="559009"/>
                  <a:pt x="1118020" y="559009"/>
                </a:cubicBezTo>
                <a:close/>
                <a:moveTo>
                  <a:pt x="657659" y="559009"/>
                </a:moveTo>
                <a:lnTo>
                  <a:pt x="986489" y="559009"/>
                </a:lnTo>
                <a:cubicBezTo>
                  <a:pt x="1004640" y="559009"/>
                  <a:pt x="1019372" y="573742"/>
                  <a:pt x="1019372" y="591893"/>
                </a:cubicBezTo>
                <a:cubicBezTo>
                  <a:pt x="1019372" y="610044"/>
                  <a:pt x="1004640" y="624776"/>
                  <a:pt x="986489" y="624776"/>
                </a:cubicBezTo>
                <a:lnTo>
                  <a:pt x="657659" y="624776"/>
                </a:lnTo>
                <a:cubicBezTo>
                  <a:pt x="639508" y="624776"/>
                  <a:pt x="624776" y="610044"/>
                  <a:pt x="624776" y="591893"/>
                </a:cubicBezTo>
                <a:cubicBezTo>
                  <a:pt x="624776" y="573742"/>
                  <a:pt x="639508" y="559009"/>
                  <a:pt x="657659" y="559009"/>
                </a:cubicBezTo>
                <a:close/>
                <a:moveTo>
                  <a:pt x="339547" y="462009"/>
                </a:moveTo>
                <a:cubicBezTo>
                  <a:pt x="360686" y="459111"/>
                  <a:pt x="382348" y="460246"/>
                  <a:pt x="402883" y="465589"/>
                </a:cubicBezTo>
                <a:cubicBezTo>
                  <a:pt x="420476" y="470160"/>
                  <a:pt x="430998" y="488115"/>
                  <a:pt x="426428" y="505674"/>
                </a:cubicBezTo>
                <a:cubicBezTo>
                  <a:pt x="421857" y="523267"/>
                  <a:pt x="403903" y="533789"/>
                  <a:pt x="386343" y="529219"/>
                </a:cubicBezTo>
                <a:cubicBezTo>
                  <a:pt x="361911" y="522905"/>
                  <a:pt x="334553" y="526489"/>
                  <a:pt x="312554" y="539379"/>
                </a:cubicBezTo>
                <a:cubicBezTo>
                  <a:pt x="307324" y="542437"/>
                  <a:pt x="301603" y="543884"/>
                  <a:pt x="295980" y="543884"/>
                </a:cubicBezTo>
                <a:cubicBezTo>
                  <a:pt x="284668" y="543884"/>
                  <a:pt x="273685" y="538064"/>
                  <a:pt x="267569" y="527607"/>
                </a:cubicBezTo>
                <a:cubicBezTo>
                  <a:pt x="258395" y="511922"/>
                  <a:pt x="263689" y="491798"/>
                  <a:pt x="279341" y="482622"/>
                </a:cubicBezTo>
                <a:cubicBezTo>
                  <a:pt x="297789" y="471837"/>
                  <a:pt x="318407" y="464907"/>
                  <a:pt x="339547" y="462009"/>
                </a:cubicBezTo>
                <a:close/>
                <a:moveTo>
                  <a:pt x="520707" y="460813"/>
                </a:moveTo>
                <a:cubicBezTo>
                  <a:pt x="529005" y="459432"/>
                  <a:pt x="537835" y="461216"/>
                  <a:pt x="545233" y="466477"/>
                </a:cubicBezTo>
                <a:cubicBezTo>
                  <a:pt x="559997" y="477032"/>
                  <a:pt x="563417" y="497584"/>
                  <a:pt x="552862" y="512349"/>
                </a:cubicBezTo>
                <a:lnTo>
                  <a:pt x="388446" y="742529"/>
                </a:lnTo>
                <a:lnTo>
                  <a:pt x="386202" y="743685"/>
                </a:lnTo>
                <a:lnTo>
                  <a:pt x="384962" y="746673"/>
                </a:lnTo>
                <a:cubicBezTo>
                  <a:pt x="378549" y="753085"/>
                  <a:pt x="370131" y="756308"/>
                  <a:pt x="361713" y="756308"/>
                </a:cubicBezTo>
                <a:lnTo>
                  <a:pt x="361693" y="756300"/>
                </a:lnTo>
                <a:lnTo>
                  <a:pt x="361679" y="756307"/>
                </a:lnTo>
                <a:cubicBezTo>
                  <a:pt x="355070" y="756307"/>
                  <a:pt x="348395" y="754301"/>
                  <a:pt x="342574" y="750191"/>
                </a:cubicBezTo>
                <a:lnTo>
                  <a:pt x="341050" y="747744"/>
                </a:lnTo>
                <a:lnTo>
                  <a:pt x="338465" y="746673"/>
                </a:lnTo>
                <a:lnTo>
                  <a:pt x="239815" y="648025"/>
                </a:lnTo>
                <a:cubicBezTo>
                  <a:pt x="226958" y="635166"/>
                  <a:pt x="226958" y="614384"/>
                  <a:pt x="239815" y="601527"/>
                </a:cubicBezTo>
                <a:cubicBezTo>
                  <a:pt x="246228" y="595099"/>
                  <a:pt x="254646" y="591884"/>
                  <a:pt x="263064" y="591884"/>
                </a:cubicBezTo>
                <a:cubicBezTo>
                  <a:pt x="271482" y="591884"/>
                  <a:pt x="279900" y="595099"/>
                  <a:pt x="286313" y="601527"/>
                </a:cubicBezTo>
                <a:lnTo>
                  <a:pt x="357512" y="672726"/>
                </a:lnTo>
                <a:lnTo>
                  <a:pt x="499361" y="474139"/>
                </a:lnTo>
                <a:cubicBezTo>
                  <a:pt x="504639" y="466740"/>
                  <a:pt x="512408" y="462194"/>
                  <a:pt x="520707" y="460813"/>
                </a:cubicBezTo>
                <a:close/>
                <a:moveTo>
                  <a:pt x="1284119" y="197297"/>
                </a:moveTo>
                <a:lnTo>
                  <a:pt x="1403082" y="304364"/>
                </a:lnTo>
                <a:cubicBezTo>
                  <a:pt x="1408146" y="308919"/>
                  <a:pt x="1411541" y="314797"/>
                  <a:pt x="1413062" y="321127"/>
                </a:cubicBezTo>
                <a:lnTo>
                  <a:pt x="1412741" y="326074"/>
                </a:lnTo>
                <a:lnTo>
                  <a:pt x="1413968" y="328829"/>
                </a:lnTo>
                <a:lnTo>
                  <a:pt x="1413968" y="1808560"/>
                </a:lnTo>
                <a:cubicBezTo>
                  <a:pt x="1413968" y="1817636"/>
                  <a:pt x="1410285" y="1825857"/>
                  <a:pt x="1404333" y="1831808"/>
                </a:cubicBezTo>
                <a:lnTo>
                  <a:pt x="1404333" y="1831808"/>
                </a:lnTo>
                <a:lnTo>
                  <a:pt x="1404333" y="1831809"/>
                </a:lnTo>
                <a:cubicBezTo>
                  <a:pt x="1398381" y="1837761"/>
                  <a:pt x="1390160" y="1841444"/>
                  <a:pt x="1381084" y="1841444"/>
                </a:cubicBezTo>
                <a:lnTo>
                  <a:pt x="197298" y="1841444"/>
                </a:lnTo>
                <a:lnTo>
                  <a:pt x="197298" y="1907209"/>
                </a:lnTo>
                <a:lnTo>
                  <a:pt x="1479734" y="1907209"/>
                </a:lnTo>
                <a:lnTo>
                  <a:pt x="1479734" y="197297"/>
                </a:lnTo>
                <a:close/>
                <a:moveTo>
                  <a:pt x="1085137" y="106726"/>
                </a:moveTo>
                <a:lnTo>
                  <a:pt x="1085137" y="295946"/>
                </a:lnTo>
                <a:lnTo>
                  <a:pt x="1295372" y="295946"/>
                </a:lnTo>
                <a:close/>
                <a:moveTo>
                  <a:pt x="65766" y="65766"/>
                </a:moveTo>
                <a:lnTo>
                  <a:pt x="65766" y="1775678"/>
                </a:lnTo>
                <a:lnTo>
                  <a:pt x="164413" y="1775678"/>
                </a:lnTo>
                <a:lnTo>
                  <a:pt x="164415" y="1775677"/>
                </a:lnTo>
                <a:lnTo>
                  <a:pt x="1348202" y="1775677"/>
                </a:lnTo>
                <a:lnTo>
                  <a:pt x="1348202" y="361712"/>
                </a:lnTo>
                <a:lnTo>
                  <a:pt x="1052254" y="361712"/>
                </a:lnTo>
                <a:cubicBezTo>
                  <a:pt x="1034103" y="361712"/>
                  <a:pt x="1019371" y="346981"/>
                  <a:pt x="1019371" y="328829"/>
                </a:cubicBezTo>
                <a:lnTo>
                  <a:pt x="1019371" y="65766"/>
                </a:lnTo>
                <a:close/>
                <a:moveTo>
                  <a:pt x="32883" y="0"/>
                </a:moveTo>
                <a:lnTo>
                  <a:pt x="1052255" y="0"/>
                </a:lnTo>
                <a:lnTo>
                  <a:pt x="1054332" y="798"/>
                </a:lnTo>
                <a:lnTo>
                  <a:pt x="1057401" y="395"/>
                </a:lnTo>
                <a:cubicBezTo>
                  <a:pt x="1063558" y="1365"/>
                  <a:pt x="1069436" y="4077"/>
                  <a:pt x="1074253" y="8418"/>
                </a:cubicBezTo>
                <a:lnTo>
                  <a:pt x="1211045" y="131531"/>
                </a:lnTo>
                <a:lnTo>
                  <a:pt x="1512616" y="131531"/>
                </a:lnTo>
                <a:cubicBezTo>
                  <a:pt x="1530768" y="131531"/>
                  <a:pt x="1545499" y="146263"/>
                  <a:pt x="1545499" y="164414"/>
                </a:cubicBezTo>
                <a:lnTo>
                  <a:pt x="1545499" y="1940092"/>
                </a:lnTo>
                <a:cubicBezTo>
                  <a:pt x="1545499" y="1958243"/>
                  <a:pt x="1530768" y="1972975"/>
                  <a:pt x="1512616" y="1972975"/>
                </a:cubicBezTo>
                <a:lnTo>
                  <a:pt x="164415" y="1972975"/>
                </a:lnTo>
                <a:cubicBezTo>
                  <a:pt x="146264" y="1972975"/>
                  <a:pt x="131532" y="1958243"/>
                  <a:pt x="131532" y="1940092"/>
                </a:cubicBezTo>
                <a:lnTo>
                  <a:pt x="131532" y="1841444"/>
                </a:lnTo>
                <a:lnTo>
                  <a:pt x="32883" y="1841444"/>
                </a:lnTo>
                <a:cubicBezTo>
                  <a:pt x="14732" y="1841444"/>
                  <a:pt x="0" y="1826712"/>
                  <a:pt x="0" y="1808561"/>
                </a:cubicBezTo>
                <a:lnTo>
                  <a:pt x="0" y="32883"/>
                </a:lnTo>
                <a:cubicBezTo>
                  <a:pt x="0" y="14732"/>
                  <a:pt x="14732" y="0"/>
                  <a:pt x="32883" y="0"/>
                </a:cubicBezTo>
                <a:close/>
              </a:path>
            </a:pathLst>
          </a:custGeom>
          <a:solidFill>
            <a:schemeClr val="tx2"/>
          </a:solidFill>
          <a:ln>
            <a:noFill/>
          </a:ln>
        </p:spPr>
        <p:txBody>
          <a:bodyPr rtlCol="0" anchor="ctr"/>
          <a:lstStyle/>
          <a:p>
            <a:endParaRPr lang="en-US" dirty="0"/>
          </a:p>
        </p:txBody>
      </p:sp>
    </p:spTree>
    <p:extLst>
      <p:ext uri="{BB962C8B-B14F-4D97-AF65-F5344CB8AC3E}">
        <p14:creationId xmlns:p14="http://schemas.microsoft.com/office/powerpoint/2010/main" val="15287392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0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4465EB-264D-D4BE-800A-4678FC7DFE00}"/>
              </a:ext>
            </a:extLst>
          </p:cNvPr>
          <p:cNvGraphicFramePr>
            <a:graphicFrameLocks noChangeAspect="1"/>
          </p:cNvGraphicFramePr>
          <p:nvPr>
            <p:custDataLst>
              <p:tags r:id="rId1"/>
            </p:custDataLst>
            <p:extLst>
              <p:ext uri="{D42A27DB-BD31-4B8C-83A1-F6EECF244321}">
                <p14:modId xmlns:p14="http://schemas.microsoft.com/office/powerpoint/2010/main" val="3606019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754465EB-264D-D4BE-800A-4678FC7DFE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08" name="Google Shape;908;p145"/>
          <p:cNvSpPr txBox="1">
            <a:spLocks noGrp="1"/>
          </p:cNvSpPr>
          <p:nvPr>
            <p:ph type="title"/>
          </p:nvPr>
        </p:nvSpPr>
        <p:spPr>
          <a:xfrm>
            <a:off x="539400" y="560588"/>
            <a:ext cx="11089972" cy="430887"/>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None/>
            </a:pPr>
            <a:r>
              <a:rPr lang="en-US" sz="2800" dirty="0"/>
              <a:t>Infomineo offers a full suite of Data Analytics Services</a:t>
            </a:r>
            <a:endParaRPr lang="en-IN" sz="2800" dirty="0"/>
          </a:p>
        </p:txBody>
      </p:sp>
      <p:sp>
        <p:nvSpPr>
          <p:cNvPr id="909" name="Google Shape;909;p14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7</a:t>
            </a:fld>
            <a:endParaRPr/>
          </a:p>
        </p:txBody>
      </p:sp>
      <p:sp>
        <p:nvSpPr>
          <p:cNvPr id="915" name="Google Shape;915;p145"/>
          <p:cNvSpPr/>
          <p:nvPr/>
        </p:nvSpPr>
        <p:spPr>
          <a:xfrm>
            <a:off x="8044017" y="1624059"/>
            <a:ext cx="3595646" cy="4449087"/>
          </a:xfrm>
          <a:prstGeom prst="roundRect">
            <a:avLst>
              <a:gd name="adj" fmla="val 3729"/>
            </a:avLst>
          </a:prstGeom>
          <a:solidFill>
            <a:schemeClr val="lt1"/>
          </a:solidFill>
          <a:ln>
            <a:noFill/>
          </a:ln>
          <a:effectLst>
            <a:outerShdw blurRad="508000" algn="ctr" rotWithShape="0">
              <a:srgbClr val="000000">
                <a:alpha val="11764"/>
              </a:srgbClr>
            </a:outerShdw>
          </a:effectLst>
        </p:spPr>
        <p:txBody>
          <a:bodyPr spcFirstLastPara="1" wrap="square" lIns="144000" tIns="180000" rIns="144000" bIns="180000" anchor="t" anchorCtr="0">
            <a:noAutofit/>
          </a:bodyPr>
          <a:lstStyle/>
          <a:p>
            <a:pPr marL="0" marR="0" lvl="0" indent="0" algn="ctr" rtl="0">
              <a:lnSpc>
                <a:spcPct val="141666"/>
              </a:lnSpc>
              <a:spcBef>
                <a:spcPts val="0"/>
              </a:spcBef>
              <a:spcAft>
                <a:spcPts val="0"/>
              </a:spcAft>
              <a:buClr>
                <a:srgbClr val="00B9FF"/>
              </a:buClr>
              <a:buSzPts val="1200"/>
              <a:buFont typeface="Calibri"/>
              <a:buNone/>
            </a:pPr>
            <a:endParaRPr sz="1200" b="0" i="0" u="none" strike="noStrike" cap="none">
              <a:solidFill>
                <a:srgbClr val="444444"/>
              </a:solidFill>
              <a:latin typeface="Calibri"/>
              <a:ea typeface="Calibri"/>
              <a:cs typeface="Calibri"/>
              <a:sym typeface="Calibri"/>
            </a:endParaRPr>
          </a:p>
        </p:txBody>
      </p:sp>
      <p:sp>
        <p:nvSpPr>
          <p:cNvPr id="910" name="Google Shape;910;p145"/>
          <p:cNvSpPr/>
          <p:nvPr/>
        </p:nvSpPr>
        <p:spPr>
          <a:xfrm>
            <a:off x="4294326" y="1654536"/>
            <a:ext cx="3595646" cy="4449087"/>
          </a:xfrm>
          <a:prstGeom prst="roundRect">
            <a:avLst>
              <a:gd name="adj" fmla="val 3729"/>
            </a:avLst>
          </a:prstGeom>
          <a:solidFill>
            <a:schemeClr val="lt1"/>
          </a:solidFill>
          <a:ln>
            <a:noFill/>
          </a:ln>
          <a:effectLst>
            <a:outerShdw blurRad="508000" algn="ctr" rotWithShape="0">
              <a:srgbClr val="000000">
                <a:alpha val="11764"/>
              </a:srgbClr>
            </a:outerShdw>
          </a:effectLst>
        </p:spPr>
        <p:txBody>
          <a:bodyPr spcFirstLastPara="1" wrap="square" lIns="144000" tIns="180000" rIns="144000" bIns="180000" anchor="t" anchorCtr="0">
            <a:noAutofit/>
          </a:bodyPr>
          <a:lstStyle/>
          <a:p>
            <a:pPr algn="ctr">
              <a:lnSpc>
                <a:spcPct val="90000"/>
              </a:lnSpc>
              <a:buClr>
                <a:srgbClr val="000000"/>
              </a:buClr>
              <a:buSzPts val="1400"/>
            </a:pPr>
            <a:endParaRPr lang="en-US" sz="1200" b="1" dirty="0">
              <a:solidFill>
                <a:schemeClr val="tx2">
                  <a:lumMod val="50000"/>
                </a:schemeClr>
              </a:solidFill>
              <a:latin typeface="Calibri"/>
              <a:ea typeface="Calibri"/>
              <a:cs typeface="Calibri"/>
              <a:sym typeface="Calibri"/>
            </a:endParaRPr>
          </a:p>
        </p:txBody>
      </p:sp>
      <p:sp>
        <p:nvSpPr>
          <p:cNvPr id="912" name="Google Shape;912;p145"/>
          <p:cNvSpPr/>
          <p:nvPr/>
        </p:nvSpPr>
        <p:spPr>
          <a:xfrm>
            <a:off x="539400" y="1652273"/>
            <a:ext cx="3599407" cy="4449087"/>
          </a:xfrm>
          <a:prstGeom prst="roundRect">
            <a:avLst>
              <a:gd name="adj" fmla="val 3729"/>
            </a:avLst>
          </a:prstGeom>
          <a:solidFill>
            <a:schemeClr val="lt1"/>
          </a:solidFill>
          <a:ln>
            <a:noFill/>
          </a:ln>
          <a:effectLst>
            <a:outerShdw blurRad="508000" algn="ctr" rotWithShape="0">
              <a:srgbClr val="000000">
                <a:alpha val="11764"/>
              </a:srgbClr>
            </a:outerShdw>
          </a:effectLst>
        </p:spPr>
        <p:txBody>
          <a:bodyPr spcFirstLastPara="1" wrap="square" lIns="144000" tIns="180000" rIns="144000" bIns="180000" anchor="t" anchorCtr="0">
            <a:noAutofit/>
          </a:bodyPr>
          <a:lstStyle/>
          <a:p>
            <a:pPr marL="0" marR="0" lvl="0" indent="0" algn="ctr" rtl="0">
              <a:lnSpc>
                <a:spcPct val="141666"/>
              </a:lnSpc>
              <a:spcBef>
                <a:spcPts val="0"/>
              </a:spcBef>
              <a:spcAft>
                <a:spcPts val="0"/>
              </a:spcAft>
              <a:buClr>
                <a:srgbClr val="00B9FF"/>
              </a:buClr>
              <a:buSzPts val="1200"/>
              <a:buFont typeface="Calibri"/>
              <a:buNone/>
            </a:pPr>
            <a:endParaRPr sz="1200" b="0" i="0" u="none" strike="noStrike" cap="none">
              <a:solidFill>
                <a:srgbClr val="444444"/>
              </a:solidFill>
              <a:latin typeface="Calibri"/>
              <a:ea typeface="Calibri"/>
              <a:cs typeface="Calibri"/>
              <a:sym typeface="Calibri"/>
            </a:endParaRPr>
          </a:p>
        </p:txBody>
      </p:sp>
      <p:sp>
        <p:nvSpPr>
          <p:cNvPr id="914" name="Google Shape;914;p145"/>
          <p:cNvSpPr txBox="1"/>
          <p:nvPr/>
        </p:nvSpPr>
        <p:spPr>
          <a:xfrm>
            <a:off x="1999869" y="2497863"/>
            <a:ext cx="2095141" cy="581698"/>
          </a:xfrm>
          <a:prstGeom prst="rect">
            <a:avLst/>
          </a:prstGeom>
          <a:noFill/>
          <a:ln>
            <a:noFill/>
          </a:ln>
        </p:spPr>
        <p:txBody>
          <a:bodyPr spcFirstLastPara="1" wrap="square" lIns="0" tIns="0" rIns="0" bIns="0" anchor="ctr" anchorCtr="0">
            <a:spAutoFit/>
          </a:bodyPr>
          <a:lstStyle/>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a:solidFill>
                  <a:srgbClr val="3D3D3D"/>
                </a:solidFill>
                <a:latin typeface="Calibri"/>
                <a:ea typeface="Calibri"/>
                <a:cs typeface="Calibri"/>
                <a:sym typeface="Calibri"/>
              </a:rPr>
              <a:t>Data Exploration</a:t>
            </a:r>
            <a:endParaRPr sz="1400" b="0" i="0" u="none" strike="noStrike" cap="none">
              <a:solidFill>
                <a:srgbClr val="000000"/>
              </a:solidFill>
              <a:latin typeface="Calibri"/>
              <a:ea typeface="Calibri"/>
              <a:cs typeface="Calibri"/>
              <a:sym typeface="Calibri"/>
            </a:endParaRPr>
          </a:p>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a:solidFill>
                  <a:srgbClr val="3D3D3D"/>
                </a:solidFill>
                <a:latin typeface="Calibri"/>
                <a:ea typeface="Calibri"/>
                <a:cs typeface="Calibri"/>
                <a:sym typeface="Calibri"/>
              </a:rPr>
              <a:t>Statistical Analysis</a:t>
            </a:r>
            <a:endParaRPr sz="1400" b="0" i="0" u="none" strike="noStrike" cap="none">
              <a:solidFill>
                <a:srgbClr val="000000"/>
              </a:solidFill>
              <a:latin typeface="Calibri"/>
              <a:ea typeface="Calibri"/>
              <a:cs typeface="Calibri"/>
              <a:sym typeface="Calibri"/>
            </a:endParaRPr>
          </a:p>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a:solidFill>
                  <a:srgbClr val="3D3D3D"/>
                </a:solidFill>
                <a:latin typeface="Calibri"/>
                <a:ea typeface="Calibri"/>
                <a:cs typeface="Calibri"/>
                <a:sym typeface="Calibri"/>
              </a:rPr>
              <a:t>Data Visualization</a:t>
            </a:r>
            <a:endParaRPr sz="1400" b="0" i="0" u="none" strike="noStrike" cap="none">
              <a:solidFill>
                <a:srgbClr val="000000"/>
              </a:solidFill>
              <a:latin typeface="Calibri"/>
              <a:ea typeface="Calibri"/>
              <a:cs typeface="Calibri"/>
              <a:sym typeface="Calibri"/>
            </a:endParaRPr>
          </a:p>
        </p:txBody>
      </p:sp>
      <p:sp>
        <p:nvSpPr>
          <p:cNvPr id="917" name="Google Shape;917;p145"/>
          <p:cNvSpPr/>
          <p:nvPr/>
        </p:nvSpPr>
        <p:spPr>
          <a:xfrm rot="5400000">
            <a:off x="761447" y="2254276"/>
            <a:ext cx="1032415" cy="1068873"/>
          </a:xfrm>
          <a:prstGeom prst="roundRect">
            <a:avLst>
              <a:gd name="adj" fmla="val 13304"/>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pPr>
            <a:endParaRPr>
              <a:solidFill>
                <a:schemeClr val="lt1"/>
              </a:solidFill>
              <a:latin typeface="Calibri"/>
              <a:ea typeface="Calibri"/>
              <a:cs typeface="Calibri"/>
              <a:sym typeface="Calibri"/>
            </a:endParaRPr>
          </a:p>
        </p:txBody>
      </p:sp>
      <p:sp>
        <p:nvSpPr>
          <p:cNvPr id="918" name="Google Shape;918;p145"/>
          <p:cNvSpPr/>
          <p:nvPr/>
        </p:nvSpPr>
        <p:spPr>
          <a:xfrm>
            <a:off x="775608" y="2574185"/>
            <a:ext cx="1004093" cy="429054"/>
          </a:xfrm>
          <a:prstGeom prst="roundRect">
            <a:avLst>
              <a:gd name="adj" fmla="val 16667"/>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dirty="0">
                <a:solidFill>
                  <a:schemeClr val="tx2">
                    <a:lumMod val="50000"/>
                  </a:schemeClr>
                </a:solidFill>
                <a:latin typeface="Calibri"/>
                <a:ea typeface="Calibri"/>
                <a:cs typeface="Calibri"/>
                <a:sym typeface="Calibri"/>
              </a:rPr>
              <a:t>Data </a:t>
            </a:r>
            <a:endParaRPr sz="1400" b="1" dirty="0">
              <a:solidFill>
                <a:schemeClr val="tx2">
                  <a:lumMod val="50000"/>
                </a:schemeClr>
              </a:solidFill>
              <a:latin typeface="Calibri"/>
              <a:ea typeface="Calibri"/>
              <a:cs typeface="Calibri"/>
              <a:sym typeface="Calibri"/>
            </a:endParaRPr>
          </a:p>
          <a:p>
            <a:pPr marL="0" marR="0" lvl="0" indent="0" algn="ctr" rtl="0">
              <a:lnSpc>
                <a:spcPct val="90000"/>
              </a:lnSpc>
              <a:spcBef>
                <a:spcPts val="0"/>
              </a:spcBef>
              <a:spcAft>
                <a:spcPts val="0"/>
              </a:spcAft>
              <a:buClr>
                <a:srgbClr val="000000"/>
              </a:buClr>
              <a:buSzPts val="1400"/>
              <a:buFont typeface="Arial"/>
              <a:buNone/>
            </a:pPr>
            <a:r>
              <a:rPr lang="en-US" sz="1400" b="1" dirty="0">
                <a:solidFill>
                  <a:schemeClr val="tx2">
                    <a:lumMod val="50000"/>
                  </a:schemeClr>
                </a:solidFill>
                <a:latin typeface="Calibri"/>
                <a:ea typeface="Calibri"/>
                <a:cs typeface="Calibri"/>
                <a:sym typeface="Calibri"/>
              </a:rPr>
              <a:t>Analysis</a:t>
            </a:r>
            <a:endParaRPr sz="1400" b="1" dirty="0">
              <a:solidFill>
                <a:schemeClr val="tx2">
                  <a:lumMod val="50000"/>
                </a:schemeClr>
              </a:solidFill>
              <a:latin typeface="Calibri"/>
              <a:ea typeface="Calibri"/>
              <a:cs typeface="Calibri"/>
              <a:sym typeface="Calibri"/>
            </a:endParaRPr>
          </a:p>
        </p:txBody>
      </p:sp>
      <p:sp>
        <p:nvSpPr>
          <p:cNvPr id="919" name="Google Shape;919;p145"/>
          <p:cNvSpPr/>
          <p:nvPr/>
        </p:nvSpPr>
        <p:spPr>
          <a:xfrm rot="5400000">
            <a:off x="613875" y="4712802"/>
            <a:ext cx="1340491" cy="1094433"/>
          </a:xfrm>
          <a:prstGeom prst="roundRect">
            <a:avLst>
              <a:gd name="adj" fmla="val 10321"/>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pPr>
            <a:endParaRPr>
              <a:solidFill>
                <a:schemeClr val="lt1"/>
              </a:solidFill>
              <a:latin typeface="Calibri"/>
              <a:ea typeface="Calibri"/>
              <a:cs typeface="Calibri"/>
              <a:sym typeface="Calibri"/>
            </a:endParaRPr>
          </a:p>
        </p:txBody>
      </p:sp>
      <p:sp>
        <p:nvSpPr>
          <p:cNvPr id="920" name="Google Shape;920;p145"/>
          <p:cNvSpPr/>
          <p:nvPr/>
        </p:nvSpPr>
        <p:spPr>
          <a:xfrm>
            <a:off x="782075" y="5045491"/>
            <a:ext cx="1004093" cy="429054"/>
          </a:xfrm>
          <a:prstGeom prst="roundRect">
            <a:avLst>
              <a:gd name="adj" fmla="val 16667"/>
            </a:avLst>
          </a:prstGeom>
          <a:noFill/>
          <a:ln>
            <a:noFill/>
          </a:ln>
        </p:spPr>
        <p:txBody>
          <a:bodyPr spcFirstLastPara="1" wrap="square" lIns="0" tIns="0" rIns="0" bIns="0" anchor="t" anchorCtr="0">
            <a:spAutoFit/>
          </a:bodyPr>
          <a:lstStyle/>
          <a:p>
            <a:pPr marR="0" lvl="0" indent="0" algn="ctr">
              <a:lnSpc>
                <a:spcPct val="90000"/>
              </a:lnSpc>
              <a:spcBef>
                <a:spcPts val="0"/>
              </a:spcBef>
              <a:spcAft>
                <a:spcPts val="0"/>
              </a:spcAft>
              <a:buClr>
                <a:srgbClr val="000000"/>
              </a:buClr>
              <a:buSzPts val="1400"/>
              <a:buFont typeface="Arial"/>
              <a:buNone/>
            </a:pPr>
            <a:r>
              <a:rPr lang="en-US" sz="1400" b="1" dirty="0">
                <a:solidFill>
                  <a:schemeClr val="tx2">
                    <a:lumMod val="50000"/>
                  </a:schemeClr>
                </a:solidFill>
                <a:latin typeface="Calibri"/>
                <a:ea typeface="Calibri"/>
                <a:cs typeface="Calibri"/>
                <a:sym typeface="Calibri"/>
              </a:rPr>
              <a:t>Data Engineering</a:t>
            </a:r>
            <a:endParaRPr sz="1400" b="1" dirty="0">
              <a:solidFill>
                <a:schemeClr val="tx2">
                  <a:lumMod val="50000"/>
                </a:schemeClr>
              </a:solidFill>
              <a:latin typeface="Calibri"/>
              <a:ea typeface="Calibri"/>
              <a:cs typeface="Calibri"/>
              <a:sym typeface="Calibri"/>
            </a:endParaRPr>
          </a:p>
        </p:txBody>
      </p:sp>
      <p:sp>
        <p:nvSpPr>
          <p:cNvPr id="921" name="Google Shape;921;p145"/>
          <p:cNvSpPr txBox="1"/>
          <p:nvPr/>
        </p:nvSpPr>
        <p:spPr>
          <a:xfrm>
            <a:off x="1956122" y="4589773"/>
            <a:ext cx="2095017" cy="1357295"/>
          </a:xfrm>
          <a:prstGeom prst="rect">
            <a:avLst/>
          </a:prstGeom>
          <a:noFill/>
          <a:ln>
            <a:noFill/>
          </a:ln>
        </p:spPr>
        <p:txBody>
          <a:bodyPr spcFirstLastPara="1" wrap="square" lIns="0" tIns="0" rIns="0" bIns="0" anchor="t" anchorCtr="0">
            <a:spAutoFit/>
          </a:bodyPr>
          <a:lstStyle/>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dirty="0">
                <a:solidFill>
                  <a:srgbClr val="3D3D3D"/>
                </a:solidFill>
                <a:latin typeface="Calibri"/>
                <a:ea typeface="Calibri"/>
                <a:cs typeface="Calibri"/>
                <a:sym typeface="Calibri"/>
              </a:rPr>
              <a:t>Data Sourcing and Integration</a:t>
            </a:r>
            <a:endParaRPr sz="1400" b="0" i="0" u="none" strike="noStrike" cap="none" dirty="0">
              <a:solidFill>
                <a:srgbClr val="000000"/>
              </a:solidFill>
              <a:latin typeface="Calibri"/>
              <a:ea typeface="Calibri"/>
              <a:cs typeface="Calibri"/>
              <a:sym typeface="Calibri"/>
            </a:endParaRPr>
          </a:p>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dirty="0">
                <a:solidFill>
                  <a:srgbClr val="3D3D3D"/>
                </a:solidFill>
                <a:latin typeface="Calibri"/>
                <a:ea typeface="Calibri"/>
                <a:cs typeface="Calibri"/>
                <a:sym typeface="Calibri"/>
              </a:rPr>
              <a:t>Data Cleaning </a:t>
            </a:r>
            <a:endParaRPr sz="1400" b="0" i="0" u="none" strike="noStrike" cap="none" dirty="0">
              <a:solidFill>
                <a:srgbClr val="000000"/>
              </a:solidFill>
              <a:latin typeface="Calibri"/>
              <a:ea typeface="Calibri"/>
              <a:cs typeface="Calibri"/>
              <a:sym typeface="Calibri"/>
            </a:endParaRPr>
          </a:p>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dirty="0">
                <a:solidFill>
                  <a:srgbClr val="3D3D3D"/>
                </a:solidFill>
                <a:latin typeface="Calibri"/>
                <a:ea typeface="Calibri"/>
                <a:cs typeface="Calibri"/>
                <a:sym typeface="Calibri"/>
              </a:rPr>
              <a:t>Feature Engineering and Data transformation</a:t>
            </a:r>
            <a:endParaRPr sz="1400" b="0" i="0" u="none" strike="noStrike" cap="none" dirty="0">
              <a:solidFill>
                <a:srgbClr val="000000"/>
              </a:solidFill>
              <a:latin typeface="Calibri"/>
              <a:ea typeface="Calibri"/>
              <a:cs typeface="Calibri"/>
              <a:sym typeface="Calibri"/>
            </a:endParaRPr>
          </a:p>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dirty="0">
                <a:solidFill>
                  <a:srgbClr val="3D3D3D"/>
                </a:solidFill>
                <a:latin typeface="Calibri"/>
                <a:ea typeface="Calibri"/>
                <a:cs typeface="Calibri"/>
                <a:sym typeface="Calibri"/>
              </a:rPr>
              <a:t>Model Deployment and scalability</a:t>
            </a:r>
            <a:endParaRPr sz="1400" b="0" i="0" u="none" strike="noStrike" cap="none" dirty="0">
              <a:solidFill>
                <a:srgbClr val="3D3D3D"/>
              </a:solidFill>
              <a:latin typeface="Calibri"/>
              <a:ea typeface="Calibri"/>
              <a:cs typeface="Calibri"/>
              <a:sym typeface="Calibri"/>
            </a:endParaRPr>
          </a:p>
        </p:txBody>
      </p:sp>
      <p:sp>
        <p:nvSpPr>
          <p:cNvPr id="922" name="Google Shape;922;p145"/>
          <p:cNvSpPr txBox="1"/>
          <p:nvPr/>
        </p:nvSpPr>
        <p:spPr>
          <a:xfrm>
            <a:off x="4371117" y="2399542"/>
            <a:ext cx="1590493" cy="664797"/>
          </a:xfrm>
          <a:prstGeom prst="rect">
            <a:avLst/>
          </a:prstGeom>
          <a:noFill/>
          <a:ln>
            <a:noFill/>
          </a:ln>
        </p:spPr>
        <p:txBody>
          <a:bodyPr spcFirstLastPara="1" wrap="square" lIns="0" tIns="0" rIns="0" bIns="0" anchor="t" anchorCtr="0">
            <a:spAutoFit/>
          </a:bodyPr>
          <a:lstStyle/>
          <a:p>
            <a:pPr marL="0" marR="0" lvl="1" indent="0" algn="ctr" rtl="0">
              <a:lnSpc>
                <a:spcPct val="90000"/>
              </a:lnSpc>
              <a:spcBef>
                <a:spcPts val="0"/>
              </a:spcBef>
              <a:spcAft>
                <a:spcPts val="0"/>
              </a:spcAft>
              <a:buClr>
                <a:srgbClr val="00B050"/>
              </a:buClr>
              <a:buSzPts val="1400"/>
              <a:buFont typeface="Noto Sans Symbols"/>
              <a:buNone/>
            </a:pPr>
            <a:r>
              <a:rPr lang="en-US" sz="1200" b="1" i="1" u="none" strike="noStrike" cap="none">
                <a:solidFill>
                  <a:schemeClr val="dk1"/>
                </a:solidFill>
                <a:latin typeface="Calibri"/>
                <a:ea typeface="Calibri"/>
                <a:cs typeface="Calibri"/>
                <a:sym typeface="Calibri"/>
              </a:rPr>
              <a:t>Brainshoring</a:t>
            </a:r>
            <a:r>
              <a:rPr lang="en-US" sz="1200" b="0" i="0" u="none" strike="noStrike" cap="none">
                <a:solidFill>
                  <a:schemeClr val="dk1"/>
                </a:solidFill>
                <a:latin typeface="Calibri"/>
                <a:ea typeface="Calibri"/>
                <a:cs typeface="Calibri"/>
                <a:sym typeface="Calibri"/>
              </a:rPr>
              <a:t>: business sense and critical thinking applied to our clients’ problems</a:t>
            </a:r>
            <a:endParaRPr sz="1200" b="0" i="0" u="none" strike="noStrike" cap="none">
              <a:solidFill>
                <a:schemeClr val="dk1"/>
              </a:solidFill>
              <a:latin typeface="Calibri"/>
              <a:ea typeface="Calibri"/>
              <a:cs typeface="Calibri"/>
              <a:sym typeface="Calibri"/>
            </a:endParaRPr>
          </a:p>
        </p:txBody>
      </p:sp>
      <p:sp>
        <p:nvSpPr>
          <p:cNvPr id="923" name="Google Shape;923;p145"/>
          <p:cNvSpPr/>
          <p:nvPr/>
        </p:nvSpPr>
        <p:spPr>
          <a:xfrm>
            <a:off x="4634260" y="3159746"/>
            <a:ext cx="1214273" cy="1215895"/>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algn="ctr">
              <a:lnSpc>
                <a:spcPct val="90000"/>
              </a:lnSpc>
              <a:buClr>
                <a:srgbClr val="000000"/>
              </a:buClr>
              <a:buSzPts val="1400"/>
            </a:pPr>
            <a:endParaRPr sz="1200" b="1" dirty="0">
              <a:solidFill>
                <a:schemeClr val="tx2">
                  <a:lumMod val="50000"/>
                </a:schemeClr>
              </a:solidFill>
              <a:latin typeface="Calibri"/>
              <a:ea typeface="Calibri"/>
              <a:cs typeface="Calibri"/>
              <a:sym typeface="Calibri"/>
            </a:endParaRPr>
          </a:p>
        </p:txBody>
      </p:sp>
      <p:sp>
        <p:nvSpPr>
          <p:cNvPr id="924" name="Google Shape;924;p145"/>
          <p:cNvSpPr/>
          <p:nvPr/>
        </p:nvSpPr>
        <p:spPr>
          <a:xfrm>
            <a:off x="5485013" y="3796163"/>
            <a:ext cx="1214273" cy="1215895"/>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algn="ctr">
              <a:lnSpc>
                <a:spcPct val="90000"/>
              </a:lnSpc>
              <a:buClr>
                <a:srgbClr val="000000"/>
              </a:buClr>
              <a:buSzPts val="1400"/>
            </a:pPr>
            <a:endParaRPr sz="1200" b="1" dirty="0">
              <a:solidFill>
                <a:schemeClr val="tx2">
                  <a:lumMod val="50000"/>
                </a:schemeClr>
              </a:solidFill>
              <a:latin typeface="Calibri"/>
              <a:ea typeface="Calibri"/>
              <a:cs typeface="Calibri"/>
              <a:sym typeface="Calibri"/>
            </a:endParaRPr>
          </a:p>
        </p:txBody>
      </p:sp>
      <p:sp>
        <p:nvSpPr>
          <p:cNvPr id="925" name="Google Shape;925;p145"/>
          <p:cNvSpPr/>
          <p:nvPr/>
        </p:nvSpPr>
        <p:spPr>
          <a:xfrm>
            <a:off x="6339491" y="3159746"/>
            <a:ext cx="1214273" cy="1215895"/>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algn="ctr">
              <a:lnSpc>
                <a:spcPct val="90000"/>
              </a:lnSpc>
              <a:buClr>
                <a:srgbClr val="000000"/>
              </a:buClr>
              <a:buSzPts val="1400"/>
            </a:pPr>
            <a:endParaRPr sz="1200" b="1" dirty="0">
              <a:solidFill>
                <a:schemeClr val="tx2">
                  <a:lumMod val="50000"/>
                </a:schemeClr>
              </a:solidFill>
              <a:latin typeface="Calibri"/>
              <a:ea typeface="Calibri"/>
              <a:cs typeface="Calibri"/>
              <a:sym typeface="Calibri"/>
            </a:endParaRPr>
          </a:p>
        </p:txBody>
      </p:sp>
      <p:sp>
        <p:nvSpPr>
          <p:cNvPr id="926" name="Google Shape;926;p145"/>
          <p:cNvSpPr txBox="1"/>
          <p:nvPr/>
        </p:nvSpPr>
        <p:spPr>
          <a:xfrm>
            <a:off x="6207941" y="2410844"/>
            <a:ext cx="1540991" cy="664797"/>
          </a:xfrm>
          <a:prstGeom prst="rect">
            <a:avLst/>
          </a:prstGeom>
          <a:noFill/>
          <a:ln>
            <a:noFill/>
          </a:ln>
        </p:spPr>
        <p:txBody>
          <a:bodyPr spcFirstLastPara="1" wrap="square" lIns="0" tIns="0" rIns="0" bIns="0" anchor="t" anchorCtr="0">
            <a:spAutoFit/>
          </a:bodyPr>
          <a:lstStyle/>
          <a:p>
            <a:pPr marL="0" marR="0" lvl="1" indent="0" algn="ctr" rtl="0">
              <a:lnSpc>
                <a:spcPct val="90000"/>
              </a:lnSpc>
              <a:spcBef>
                <a:spcPts val="0"/>
              </a:spcBef>
              <a:spcAft>
                <a:spcPts val="0"/>
              </a:spcAft>
              <a:buClr>
                <a:srgbClr val="00B050"/>
              </a:buClr>
              <a:buSzPts val="1400"/>
              <a:buFont typeface="Arial"/>
              <a:buNone/>
            </a:pPr>
            <a:r>
              <a:rPr lang="en-US" sz="1200" b="0" i="0" u="none" strike="noStrike" cap="none">
                <a:solidFill>
                  <a:schemeClr val="dk1"/>
                </a:solidFill>
                <a:latin typeface="Calibri"/>
                <a:ea typeface="Calibri"/>
                <a:cs typeface="Calibri"/>
                <a:sym typeface="Calibri"/>
              </a:rPr>
              <a:t>We work in an iterative approach to be always align to our clients’ needs and expectations</a:t>
            </a:r>
            <a:endParaRPr sz="1200" b="0" i="0" u="none" strike="noStrike" cap="none">
              <a:solidFill>
                <a:schemeClr val="dk1"/>
              </a:solidFill>
              <a:latin typeface="Calibri"/>
              <a:ea typeface="Calibri"/>
              <a:cs typeface="Calibri"/>
              <a:sym typeface="Calibri"/>
            </a:endParaRPr>
          </a:p>
        </p:txBody>
      </p:sp>
      <p:sp>
        <p:nvSpPr>
          <p:cNvPr id="927" name="Google Shape;927;p145"/>
          <p:cNvSpPr txBox="1"/>
          <p:nvPr/>
        </p:nvSpPr>
        <p:spPr>
          <a:xfrm>
            <a:off x="5150432" y="5049878"/>
            <a:ext cx="1883434" cy="830997"/>
          </a:xfrm>
          <a:prstGeom prst="rect">
            <a:avLst/>
          </a:prstGeom>
          <a:noFill/>
          <a:ln>
            <a:noFill/>
          </a:ln>
        </p:spPr>
        <p:txBody>
          <a:bodyPr spcFirstLastPara="1" wrap="square" lIns="0" tIns="0" rIns="0" bIns="0" anchor="t" anchorCtr="0">
            <a:spAutoFit/>
          </a:bodyPr>
          <a:lstStyle/>
          <a:p>
            <a:pPr marL="0" marR="0" lvl="1" indent="0" algn="ctr" rtl="0">
              <a:lnSpc>
                <a:spcPct val="90000"/>
              </a:lnSpc>
              <a:spcBef>
                <a:spcPts val="0"/>
              </a:spcBef>
              <a:spcAft>
                <a:spcPts val="0"/>
              </a:spcAft>
              <a:buClr>
                <a:srgbClr val="00B050"/>
              </a:buClr>
              <a:buSzPts val="1400"/>
              <a:buFont typeface="Noto Sans Symbols"/>
              <a:buNone/>
            </a:pPr>
            <a:r>
              <a:rPr lang="en-US" sz="1200" b="0" i="0" u="none" strike="noStrike" cap="none">
                <a:solidFill>
                  <a:schemeClr val="dk1"/>
                </a:solidFill>
                <a:latin typeface="Calibri"/>
                <a:ea typeface="Calibri"/>
                <a:cs typeface="Calibri"/>
                <a:sym typeface="Calibri"/>
              </a:rPr>
              <a:t>We take care of release and change management, including versioning, unit tests, model validation, documentation, etc.</a:t>
            </a:r>
            <a:endParaRPr sz="1200" b="0" i="0" u="none" strike="noStrike" cap="none">
              <a:solidFill>
                <a:schemeClr val="dk1"/>
              </a:solidFill>
              <a:latin typeface="Calibri"/>
              <a:ea typeface="Calibri"/>
              <a:cs typeface="Calibri"/>
              <a:sym typeface="Calibri"/>
            </a:endParaRPr>
          </a:p>
        </p:txBody>
      </p:sp>
      <p:pic>
        <p:nvPicPr>
          <p:cNvPr id="928" name="Google Shape;928;p145" descr="Research outline"/>
          <p:cNvPicPr preferRelativeResize="0"/>
          <p:nvPr/>
        </p:nvPicPr>
        <p:blipFill rotWithShape="1">
          <a:blip r:embed="rId6">
            <a:alphaModFix/>
            <a:duotone>
              <a:prstClr val="black"/>
              <a:schemeClr val="tx2">
                <a:tint val="45000"/>
                <a:satMod val="400000"/>
              </a:schemeClr>
            </a:duotone>
          </a:blip>
          <a:srcRect/>
          <a:stretch/>
        </p:blipFill>
        <p:spPr>
          <a:xfrm>
            <a:off x="782076" y="2322451"/>
            <a:ext cx="385248" cy="331848"/>
          </a:xfrm>
          <a:prstGeom prst="rect">
            <a:avLst/>
          </a:prstGeom>
          <a:noFill/>
          <a:ln>
            <a:noFill/>
          </a:ln>
        </p:spPr>
      </p:pic>
      <p:sp>
        <p:nvSpPr>
          <p:cNvPr id="929" name="Google Shape;929;p145"/>
          <p:cNvSpPr/>
          <p:nvPr/>
        </p:nvSpPr>
        <p:spPr>
          <a:xfrm rot="5400000">
            <a:off x="767914" y="3412910"/>
            <a:ext cx="1032415" cy="1068873"/>
          </a:xfrm>
          <a:prstGeom prst="roundRect">
            <a:avLst>
              <a:gd name="adj" fmla="val 12183"/>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800"/>
            </a:pPr>
            <a:endParaRPr>
              <a:solidFill>
                <a:schemeClr val="lt1"/>
              </a:solidFill>
              <a:latin typeface="Calibri"/>
              <a:ea typeface="Calibri"/>
              <a:cs typeface="Calibri"/>
              <a:sym typeface="Calibri"/>
            </a:endParaRPr>
          </a:p>
        </p:txBody>
      </p:sp>
      <p:sp>
        <p:nvSpPr>
          <p:cNvPr id="930" name="Google Shape;930;p145"/>
          <p:cNvSpPr/>
          <p:nvPr/>
        </p:nvSpPr>
        <p:spPr>
          <a:xfrm>
            <a:off x="782076" y="3774336"/>
            <a:ext cx="1004093" cy="429054"/>
          </a:xfrm>
          <a:prstGeom prst="roundRect">
            <a:avLst>
              <a:gd name="adj" fmla="val 16667"/>
            </a:avLst>
          </a:prstGeom>
          <a:noFill/>
          <a:ln>
            <a:noFill/>
          </a:ln>
        </p:spPr>
        <p:txBody>
          <a:bodyPr spcFirstLastPara="1" wrap="square" lIns="0" tIns="0" rIns="0" bIns="0" anchor="t" anchorCtr="0">
            <a:spAutoFit/>
          </a:bodyPr>
          <a:lstStyle/>
          <a:p>
            <a:pPr algn="ctr">
              <a:lnSpc>
                <a:spcPct val="90000"/>
              </a:lnSpc>
              <a:buClr>
                <a:srgbClr val="000000"/>
              </a:buClr>
              <a:buSzPts val="1400"/>
            </a:pPr>
            <a:r>
              <a:rPr lang="en-US" sz="1400" b="1" dirty="0">
                <a:solidFill>
                  <a:schemeClr val="tx2">
                    <a:lumMod val="50000"/>
                  </a:schemeClr>
                </a:solidFill>
                <a:latin typeface="Calibri"/>
                <a:ea typeface="Calibri"/>
                <a:cs typeface="Calibri"/>
                <a:sym typeface="Calibri"/>
              </a:rPr>
              <a:t>Data </a:t>
            </a:r>
            <a:endParaRPr sz="1400" b="1" dirty="0">
              <a:solidFill>
                <a:schemeClr val="tx2">
                  <a:lumMod val="50000"/>
                </a:schemeClr>
              </a:solidFill>
              <a:latin typeface="Calibri"/>
              <a:ea typeface="Calibri"/>
              <a:cs typeface="Calibri"/>
              <a:sym typeface="Calibri"/>
            </a:endParaRPr>
          </a:p>
          <a:p>
            <a:pPr algn="ctr">
              <a:lnSpc>
                <a:spcPct val="90000"/>
              </a:lnSpc>
              <a:buClr>
                <a:srgbClr val="000000"/>
              </a:buClr>
              <a:buSzPts val="1400"/>
            </a:pPr>
            <a:r>
              <a:rPr lang="en-US" sz="1400" b="1" dirty="0">
                <a:solidFill>
                  <a:schemeClr val="tx2">
                    <a:lumMod val="50000"/>
                  </a:schemeClr>
                </a:solidFill>
                <a:latin typeface="Calibri"/>
                <a:ea typeface="Calibri"/>
                <a:cs typeface="Calibri"/>
                <a:sym typeface="Calibri"/>
              </a:rPr>
              <a:t>Science</a:t>
            </a:r>
            <a:endParaRPr sz="1400" b="1" dirty="0">
              <a:solidFill>
                <a:schemeClr val="tx2">
                  <a:lumMod val="50000"/>
                </a:schemeClr>
              </a:solidFill>
              <a:latin typeface="Calibri"/>
              <a:ea typeface="Calibri"/>
              <a:cs typeface="Calibri"/>
              <a:sym typeface="Calibri"/>
            </a:endParaRPr>
          </a:p>
        </p:txBody>
      </p:sp>
      <p:sp>
        <p:nvSpPr>
          <p:cNvPr id="931" name="Google Shape;931;p145"/>
          <p:cNvSpPr txBox="1"/>
          <p:nvPr/>
        </p:nvSpPr>
        <p:spPr>
          <a:xfrm>
            <a:off x="1937186" y="3656497"/>
            <a:ext cx="2095017" cy="581698"/>
          </a:xfrm>
          <a:prstGeom prst="rect">
            <a:avLst/>
          </a:prstGeom>
          <a:noFill/>
          <a:ln>
            <a:noFill/>
          </a:ln>
        </p:spPr>
        <p:txBody>
          <a:bodyPr spcFirstLastPara="1" wrap="square" lIns="0" tIns="0" rIns="0" bIns="0" anchor="t" anchorCtr="0">
            <a:spAutoFit/>
          </a:bodyPr>
          <a:lstStyle/>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dirty="0">
                <a:solidFill>
                  <a:srgbClr val="3D3D3D"/>
                </a:solidFill>
                <a:latin typeface="Calibri"/>
                <a:ea typeface="Calibri"/>
                <a:cs typeface="Calibri"/>
                <a:sym typeface="Calibri"/>
              </a:rPr>
              <a:t>Model building and tuning</a:t>
            </a:r>
            <a:endParaRPr sz="1400" b="0" i="0" u="none" strike="noStrike" cap="none" dirty="0">
              <a:solidFill>
                <a:srgbClr val="000000"/>
              </a:solidFill>
              <a:latin typeface="Calibri"/>
              <a:ea typeface="Calibri"/>
              <a:cs typeface="Calibri"/>
              <a:sym typeface="Calibri"/>
            </a:endParaRPr>
          </a:p>
          <a:p>
            <a:pPr marL="173038" marR="0" lvl="1" indent="-173038" algn="l" rtl="0">
              <a:lnSpc>
                <a:spcPct val="90000"/>
              </a:lnSpc>
              <a:spcBef>
                <a:spcPts val="0"/>
              </a:spcBef>
              <a:spcAft>
                <a:spcPts val="0"/>
              </a:spcAft>
              <a:buClr>
                <a:schemeClr val="dk2"/>
              </a:buClr>
              <a:buSzPts val="1400"/>
              <a:buFont typeface="Noto Sans Symbols"/>
              <a:buChar char="▪"/>
            </a:pPr>
            <a:r>
              <a:rPr lang="en-US" sz="1400" b="0" i="0" u="none" strike="noStrike" cap="none" dirty="0">
                <a:solidFill>
                  <a:srgbClr val="3D3D3D"/>
                </a:solidFill>
                <a:latin typeface="Calibri"/>
                <a:ea typeface="Calibri"/>
                <a:cs typeface="Calibri"/>
                <a:sym typeface="Calibri"/>
              </a:rPr>
              <a:t>Model evaluation and retraining </a:t>
            </a:r>
            <a:endParaRPr sz="1400" b="0" i="0" u="none" strike="noStrike" cap="none" dirty="0">
              <a:solidFill>
                <a:srgbClr val="3D3D3D"/>
              </a:solidFill>
              <a:latin typeface="Calibri"/>
              <a:ea typeface="Calibri"/>
              <a:cs typeface="Calibri"/>
              <a:sym typeface="Calibri"/>
            </a:endParaRPr>
          </a:p>
        </p:txBody>
      </p:sp>
      <p:pic>
        <p:nvPicPr>
          <p:cNvPr id="932" name="Google Shape;932;p145" descr="Business Growth outline"/>
          <p:cNvPicPr preferRelativeResize="0"/>
          <p:nvPr/>
        </p:nvPicPr>
        <p:blipFill rotWithShape="1">
          <a:blip r:embed="rId7">
            <a:alphaModFix/>
            <a:duotone>
              <a:prstClr val="black"/>
              <a:schemeClr val="tx2">
                <a:tint val="45000"/>
                <a:satMod val="400000"/>
              </a:schemeClr>
            </a:duotone>
          </a:blip>
          <a:srcRect/>
          <a:stretch/>
        </p:blipFill>
        <p:spPr>
          <a:xfrm>
            <a:off x="765713" y="3548899"/>
            <a:ext cx="385248" cy="331848"/>
          </a:xfrm>
          <a:prstGeom prst="rect">
            <a:avLst/>
          </a:prstGeom>
          <a:noFill/>
          <a:ln>
            <a:noFill/>
          </a:ln>
        </p:spPr>
      </p:pic>
      <p:pic>
        <p:nvPicPr>
          <p:cNvPr id="933" name="Google Shape;933;p145" descr="Server outline"/>
          <p:cNvPicPr preferRelativeResize="0"/>
          <p:nvPr/>
        </p:nvPicPr>
        <p:blipFill rotWithShape="1">
          <a:blip r:embed="rId8">
            <a:alphaModFix/>
            <a:duotone>
              <a:prstClr val="black"/>
              <a:schemeClr val="tx2">
                <a:tint val="45000"/>
                <a:satMod val="400000"/>
              </a:schemeClr>
            </a:duotone>
          </a:blip>
          <a:srcRect/>
          <a:stretch/>
        </p:blipFill>
        <p:spPr>
          <a:xfrm flipH="1">
            <a:off x="712025" y="4680061"/>
            <a:ext cx="385248" cy="331848"/>
          </a:xfrm>
          <a:prstGeom prst="rect">
            <a:avLst/>
          </a:prstGeom>
          <a:noFill/>
          <a:ln>
            <a:noFill/>
          </a:ln>
        </p:spPr>
      </p:pic>
      <p:sp>
        <p:nvSpPr>
          <p:cNvPr id="940" name="Google Shape;940;p145"/>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algn="ctr">
              <a:buClr>
                <a:srgbClr val="000000"/>
              </a:buClr>
              <a:buSzPts val="1000"/>
            </a:pPr>
            <a:r>
              <a:rPr lang="en-US" sz="1000" dirty="0">
                <a:solidFill>
                  <a:schemeClr val="dk2"/>
                </a:solidFill>
                <a:latin typeface="Franklin Gothic"/>
                <a:sym typeface="Calibri"/>
              </a:rPr>
              <a:t>Analytics</a:t>
            </a:r>
            <a:endParaRPr sz="1000" dirty="0">
              <a:solidFill>
                <a:schemeClr val="dk2"/>
              </a:solidFill>
              <a:latin typeface="Franklin Gothic"/>
              <a:sym typeface="Calibri"/>
            </a:endParaRPr>
          </a:p>
        </p:txBody>
      </p:sp>
      <p:sp>
        <p:nvSpPr>
          <p:cNvPr id="941" name="Google Shape;941;p145"/>
          <p:cNvSpPr/>
          <p:nvPr/>
        </p:nvSpPr>
        <p:spPr>
          <a:xfrm>
            <a:off x="11557889"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rgbClr val="FFFFFF"/>
              </a:solidFill>
              <a:latin typeface="Calibri"/>
              <a:ea typeface="Calibri"/>
              <a:cs typeface="Calibri"/>
              <a:sym typeface="Calibri"/>
            </a:endParaRPr>
          </a:p>
        </p:txBody>
      </p:sp>
      <p:pic>
        <p:nvPicPr>
          <p:cNvPr id="942" name="Google Shape;942;p145"/>
          <p:cNvPicPr preferRelativeResize="0"/>
          <p:nvPr/>
        </p:nvPicPr>
        <p:blipFill rotWithShape="1">
          <a:blip r:embed="rId9">
            <a:alphaModFix/>
          </a:blip>
          <a:srcRect/>
          <a:stretch/>
        </p:blipFill>
        <p:spPr>
          <a:xfrm>
            <a:off x="11627442" y="209253"/>
            <a:ext cx="322766" cy="322766"/>
          </a:xfrm>
          <a:prstGeom prst="rect">
            <a:avLst/>
          </a:prstGeom>
          <a:noFill/>
          <a:ln>
            <a:noFill/>
          </a:ln>
        </p:spPr>
      </p:pic>
      <p:sp>
        <p:nvSpPr>
          <p:cNvPr id="3" name="Google Shape;1407;p9">
            <a:extLst>
              <a:ext uri="{FF2B5EF4-FFF2-40B4-BE49-F238E27FC236}">
                <a16:creationId xmlns:a16="http://schemas.microsoft.com/office/drawing/2014/main" id="{4EBF31B7-89AA-58E1-F90D-939DD7014AAC}"/>
              </a:ext>
            </a:extLst>
          </p:cNvPr>
          <p:cNvSpPr>
            <a:spLocks/>
          </p:cNvSpPr>
          <p:nvPr/>
        </p:nvSpPr>
        <p:spPr>
          <a:xfrm>
            <a:off x="539400" y="1648505"/>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b="1" dirty="0">
                <a:solidFill>
                  <a:schemeClr val="bg1"/>
                </a:solidFill>
                <a:latin typeface="Calibri" panose="020F0502020204030204" pitchFamily="34" charset="0"/>
                <a:cs typeface="Calibri" panose="020F0502020204030204" pitchFamily="34" charset="0"/>
                <a:sym typeface="Franklin Gothic"/>
              </a:rPr>
              <a:t>Three Levels of Analytics</a:t>
            </a:r>
            <a:endParaRPr lang="en-US" b="1" dirty="0">
              <a:solidFill>
                <a:schemeClr val="bg1"/>
              </a:solidFill>
              <a:latin typeface="Calibri" panose="020F0502020204030204" pitchFamily="34" charset="0"/>
              <a:cs typeface="Calibri" panose="020F0502020204030204" pitchFamily="34" charset="0"/>
              <a:sym typeface="Arial"/>
            </a:endParaRPr>
          </a:p>
        </p:txBody>
      </p:sp>
      <p:sp>
        <p:nvSpPr>
          <p:cNvPr id="4" name="Google Shape;1407;p9">
            <a:extLst>
              <a:ext uri="{FF2B5EF4-FFF2-40B4-BE49-F238E27FC236}">
                <a16:creationId xmlns:a16="http://schemas.microsoft.com/office/drawing/2014/main" id="{76BA2E10-E7FB-07F4-326E-BFBFD2954538}"/>
              </a:ext>
            </a:extLst>
          </p:cNvPr>
          <p:cNvSpPr>
            <a:spLocks/>
          </p:cNvSpPr>
          <p:nvPr/>
        </p:nvSpPr>
        <p:spPr>
          <a:xfrm>
            <a:off x="4278460" y="1648505"/>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b="1" dirty="0">
                <a:solidFill>
                  <a:schemeClr val="bg1"/>
                </a:solidFill>
                <a:latin typeface="Calibri" panose="020F0502020204030204" pitchFamily="34" charset="0"/>
                <a:cs typeface="Calibri" panose="020F0502020204030204" pitchFamily="34" charset="0"/>
                <a:sym typeface="Franklin Gothic"/>
              </a:rPr>
              <a:t>Business Oriented Approach </a:t>
            </a:r>
            <a:endParaRPr lang="en-US" b="1" dirty="0">
              <a:solidFill>
                <a:schemeClr val="bg1"/>
              </a:solidFill>
              <a:latin typeface="Calibri" panose="020F0502020204030204" pitchFamily="34" charset="0"/>
              <a:cs typeface="Calibri" panose="020F0502020204030204" pitchFamily="34" charset="0"/>
              <a:sym typeface="Arial"/>
            </a:endParaRPr>
          </a:p>
        </p:txBody>
      </p:sp>
      <p:sp>
        <p:nvSpPr>
          <p:cNvPr id="5" name="Google Shape;1407;p9">
            <a:extLst>
              <a:ext uri="{FF2B5EF4-FFF2-40B4-BE49-F238E27FC236}">
                <a16:creationId xmlns:a16="http://schemas.microsoft.com/office/drawing/2014/main" id="{FC6088DA-5948-207C-78C6-D8122ADB315F}"/>
              </a:ext>
            </a:extLst>
          </p:cNvPr>
          <p:cNvSpPr>
            <a:spLocks/>
          </p:cNvSpPr>
          <p:nvPr/>
        </p:nvSpPr>
        <p:spPr>
          <a:xfrm>
            <a:off x="8026829" y="1648505"/>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b="1" dirty="0">
                <a:solidFill>
                  <a:schemeClr val="bg1"/>
                </a:solidFill>
                <a:latin typeface="Calibri" panose="020F0502020204030204" pitchFamily="34" charset="0"/>
                <a:cs typeface="Calibri" panose="020F0502020204030204" pitchFamily="34" charset="0"/>
                <a:sym typeface="Franklin Gothic"/>
              </a:rPr>
              <a:t>Three Types of Data Services</a:t>
            </a:r>
            <a:endParaRPr lang="en-US" b="1" dirty="0">
              <a:solidFill>
                <a:schemeClr val="bg1"/>
              </a:solidFill>
              <a:latin typeface="Calibri" panose="020F0502020204030204" pitchFamily="34" charset="0"/>
              <a:cs typeface="Calibri" panose="020F0502020204030204" pitchFamily="34" charset="0"/>
              <a:sym typeface="Arial"/>
            </a:endParaRPr>
          </a:p>
        </p:txBody>
      </p:sp>
      <p:sp>
        <p:nvSpPr>
          <p:cNvPr id="9" name="TextBox 8">
            <a:extLst>
              <a:ext uri="{FF2B5EF4-FFF2-40B4-BE49-F238E27FC236}">
                <a16:creationId xmlns:a16="http://schemas.microsoft.com/office/drawing/2014/main" id="{D38EBEC5-D9A4-7EAC-4CF7-FBA65AEF3064}"/>
              </a:ext>
            </a:extLst>
          </p:cNvPr>
          <p:cNvSpPr txBox="1"/>
          <p:nvPr/>
        </p:nvSpPr>
        <p:spPr>
          <a:xfrm>
            <a:off x="4671978" y="3365898"/>
            <a:ext cx="1138836" cy="590931"/>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Business </a:t>
            </a:r>
            <a:b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b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and Data </a:t>
            </a:r>
            <a:b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b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Understanding</a:t>
            </a:r>
          </a:p>
        </p:txBody>
      </p:sp>
      <p:sp>
        <p:nvSpPr>
          <p:cNvPr id="13" name="TextBox 12">
            <a:extLst>
              <a:ext uri="{FF2B5EF4-FFF2-40B4-BE49-F238E27FC236}">
                <a16:creationId xmlns:a16="http://schemas.microsoft.com/office/drawing/2014/main" id="{5B009FB4-D02D-9DC4-5701-D976E3758D3E}"/>
              </a:ext>
            </a:extLst>
          </p:cNvPr>
          <p:cNvSpPr txBox="1"/>
          <p:nvPr/>
        </p:nvSpPr>
        <p:spPr>
          <a:xfrm>
            <a:off x="5522731" y="4191744"/>
            <a:ext cx="1138836" cy="424732"/>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Delivery Management</a:t>
            </a:r>
          </a:p>
        </p:txBody>
      </p:sp>
      <p:sp>
        <p:nvSpPr>
          <p:cNvPr id="17" name="TextBox 16">
            <a:extLst>
              <a:ext uri="{FF2B5EF4-FFF2-40B4-BE49-F238E27FC236}">
                <a16:creationId xmlns:a16="http://schemas.microsoft.com/office/drawing/2014/main" id="{58865423-812B-EFB8-0AA6-51358C730A14}"/>
              </a:ext>
            </a:extLst>
          </p:cNvPr>
          <p:cNvSpPr txBox="1"/>
          <p:nvPr/>
        </p:nvSpPr>
        <p:spPr>
          <a:xfrm>
            <a:off x="6402945" y="3555327"/>
            <a:ext cx="1087365" cy="424732"/>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Agile Methodology</a:t>
            </a:r>
          </a:p>
        </p:txBody>
      </p:sp>
      <p:sp>
        <p:nvSpPr>
          <p:cNvPr id="7" name="Rectangle 6">
            <a:extLst>
              <a:ext uri="{FF2B5EF4-FFF2-40B4-BE49-F238E27FC236}">
                <a16:creationId xmlns:a16="http://schemas.microsoft.com/office/drawing/2014/main" id="{F73FBB78-8CE2-6E8D-6F69-16ADF052977B}"/>
              </a:ext>
            </a:extLst>
          </p:cNvPr>
          <p:cNvSpPr>
            <a:spLocks/>
          </p:cNvSpPr>
          <p:nvPr/>
        </p:nvSpPr>
        <p:spPr>
          <a:xfrm rot="5400000">
            <a:off x="9334213" y="1130002"/>
            <a:ext cx="1032294"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extBox 11">
            <a:extLst>
              <a:ext uri="{FF2B5EF4-FFF2-40B4-BE49-F238E27FC236}">
                <a16:creationId xmlns:a16="http://schemas.microsoft.com/office/drawing/2014/main" id="{4DC616FB-7503-6990-E6C2-08E0E495F62E}"/>
              </a:ext>
            </a:extLst>
          </p:cNvPr>
          <p:cNvSpPr txBox="1"/>
          <p:nvPr/>
        </p:nvSpPr>
        <p:spPr>
          <a:xfrm>
            <a:off x="8109491" y="2379195"/>
            <a:ext cx="3197914" cy="1031051"/>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300"/>
              </a:spcAft>
              <a:buClr>
                <a:srgbClr val="00B050"/>
              </a:buClr>
              <a:buSzPts val="1400"/>
              <a:buFontTx/>
              <a:buNone/>
              <a:tabLst/>
              <a:defRPr/>
            </a:pPr>
            <a:r>
              <a:rPr kumimoji="0" lang="en-US" sz="1400" b="1" i="0" u="none" strike="noStrike" kern="1200" cap="none" spc="0" normalizeH="0" baseline="0" noProof="0" dirty="0">
                <a:ln>
                  <a:noFill/>
                </a:ln>
                <a:solidFill>
                  <a:srgbClr val="0F47F2"/>
                </a:solidFill>
                <a:effectLst/>
                <a:uLnTx/>
                <a:uFillTx/>
                <a:latin typeface="Calibri"/>
                <a:ea typeface="Calibri"/>
                <a:cs typeface="Calibri"/>
                <a:sym typeface="Calibri"/>
              </a:rPr>
              <a:t>Acquire and Prepare</a:t>
            </a:r>
          </a:p>
          <a:p>
            <a:pPr marL="0" marR="0" lvl="1" indent="0" algn="l" defTabSz="914400" rtl="0" eaLnBrk="1" fontAlgn="auto" latinLnBrk="0" hangingPunct="1">
              <a:lnSpc>
                <a:spcPct val="100000"/>
              </a:lnSpc>
              <a:spcBef>
                <a:spcPts val="0"/>
              </a:spcBef>
              <a:spcAft>
                <a:spcPts val="300"/>
              </a:spcAft>
              <a:buClr>
                <a:srgbClr val="00B050"/>
              </a:buClr>
              <a:buSzPts val="1400"/>
              <a:buFontTx/>
              <a:buNone/>
              <a:tabLst/>
              <a:defRPr/>
            </a:pPr>
            <a:r>
              <a:rPr kumimoji="0" lang="en-US" sz="1400" b="0" i="0" u="none" strike="noStrike" kern="1200" cap="none" spc="0" normalizeH="0" baseline="0" noProof="0" dirty="0">
                <a:ln>
                  <a:noFill/>
                </a:ln>
                <a:solidFill>
                  <a:srgbClr val="3D3D3D"/>
                </a:solidFill>
                <a:effectLst/>
                <a:uLnTx/>
                <a:uFillTx/>
                <a:latin typeface="Calibri"/>
                <a:ea typeface="Calibri"/>
                <a:cs typeface="Calibri"/>
                <a:sym typeface="Calibri"/>
              </a:rPr>
              <a:t>Unleash the </a:t>
            </a:r>
            <a:r>
              <a:rPr kumimoji="0" lang="en-US" sz="1400" b="1" i="0" u="none" strike="noStrike" kern="1200" cap="none" spc="0" normalizeH="0" baseline="0" noProof="0" dirty="0">
                <a:ln>
                  <a:noFill/>
                </a:ln>
                <a:solidFill>
                  <a:srgbClr val="3D3D3D"/>
                </a:solidFill>
                <a:effectLst/>
                <a:uLnTx/>
                <a:uFillTx/>
                <a:latin typeface="Calibri"/>
                <a:ea typeface="Calibri"/>
                <a:cs typeface="Calibri"/>
                <a:sym typeface="Calibri"/>
              </a:rPr>
              <a:t>power of Information </a:t>
            </a:r>
          </a:p>
          <a:p>
            <a:pPr marL="0" marR="0" lvl="1" indent="0" algn="l" defTabSz="914400" rtl="0" eaLnBrk="1" fontAlgn="auto" latinLnBrk="0" hangingPunct="1">
              <a:lnSpc>
                <a:spcPct val="100000"/>
              </a:lnSpc>
              <a:spcBef>
                <a:spcPts val="0"/>
              </a:spcBef>
              <a:spcAft>
                <a:spcPts val="300"/>
              </a:spcAft>
              <a:buClr>
                <a:srgbClr val="00B050"/>
              </a:buClr>
              <a:buSzPts val="1400"/>
              <a:buFontTx/>
              <a:buNone/>
              <a:tabLst/>
              <a:defRPr/>
            </a:pPr>
            <a:r>
              <a:rPr kumimoji="0" lang="en-US" sz="1400" b="0" i="0" u="none" strike="noStrike" kern="1200" cap="none" spc="0" normalizeH="0" baseline="0" noProof="0" dirty="0">
                <a:ln>
                  <a:noFill/>
                </a:ln>
                <a:solidFill>
                  <a:srgbClr val="3D3D3D"/>
                </a:solidFill>
                <a:effectLst/>
                <a:uLnTx/>
                <a:uFillTx/>
                <a:latin typeface="Calibri"/>
                <a:ea typeface="Calibri"/>
                <a:cs typeface="Calibri"/>
                <a:sym typeface="Calibri"/>
              </a:rPr>
              <a:t>Discover, assess, clean, and transform Data from multiple sources with ease</a:t>
            </a:r>
          </a:p>
        </p:txBody>
      </p:sp>
      <p:sp>
        <p:nvSpPr>
          <p:cNvPr id="14" name="Rectangle 13">
            <a:extLst>
              <a:ext uri="{FF2B5EF4-FFF2-40B4-BE49-F238E27FC236}">
                <a16:creationId xmlns:a16="http://schemas.microsoft.com/office/drawing/2014/main" id="{E7870172-A7C8-36B8-9A39-D6BC8B725EE7}"/>
              </a:ext>
            </a:extLst>
          </p:cNvPr>
          <p:cNvSpPr>
            <a:spLocks/>
          </p:cNvSpPr>
          <p:nvPr/>
        </p:nvSpPr>
        <p:spPr>
          <a:xfrm rot="5400000">
            <a:off x="9212854" y="2377670"/>
            <a:ext cx="1275012"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35" name="Google Shape;935;p145"/>
          <p:cNvSpPr/>
          <p:nvPr/>
        </p:nvSpPr>
        <p:spPr>
          <a:xfrm>
            <a:off x="8109491" y="3491653"/>
            <a:ext cx="3414490" cy="1275012"/>
          </a:xfrm>
          <a:prstGeom prst="roundRect">
            <a:avLst>
              <a:gd name="adj" fmla="val 16667"/>
            </a:avLst>
          </a:prstGeom>
          <a:noFill/>
          <a:ln>
            <a:noFill/>
          </a:ln>
        </p:spPr>
        <p:txBody>
          <a:bodyPr spcFirstLastPara="1" wrap="square" lIns="91425" tIns="45700" rIns="91425" bIns="45700" anchor="ctr" anchorCtr="0">
            <a:noAutofit/>
          </a:bodyPr>
          <a:lstStyle/>
          <a:p>
            <a:pPr marL="0" lvl="1">
              <a:spcAft>
                <a:spcPts val="300"/>
              </a:spcAft>
              <a:buClr>
                <a:srgbClr val="00B050"/>
              </a:buClr>
              <a:buSzPts val="1400"/>
              <a:defRPr/>
            </a:pPr>
            <a:r>
              <a:rPr lang="en-US" sz="1400" b="1" dirty="0">
                <a:solidFill>
                  <a:srgbClr val="0F47F2"/>
                </a:solidFill>
                <a:latin typeface="Calibri"/>
                <a:ea typeface="Calibri"/>
                <a:cs typeface="Calibri"/>
                <a:sym typeface="Calibri"/>
              </a:rPr>
              <a:t>Analyze</a:t>
            </a:r>
            <a:endParaRPr sz="1400" b="1" dirty="0">
              <a:solidFill>
                <a:srgbClr val="0F47F2"/>
              </a:solidFill>
              <a:latin typeface="Calibri"/>
              <a:ea typeface="Calibri"/>
              <a:cs typeface="Calibri"/>
              <a:sym typeface="Calibri"/>
            </a:endParaRPr>
          </a:p>
          <a:p>
            <a:pPr marL="0" marR="0" lvl="1" indent="0"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Empower your business with dynamic insights</a:t>
            </a:r>
            <a:r>
              <a:rPr lang="en-US" sz="1200" b="1" i="0" u="none" strike="noStrike" cap="none" dirty="0">
                <a:solidFill>
                  <a:srgbClr val="3D3D3D"/>
                </a:solidFill>
                <a:latin typeface="Calibri"/>
                <a:ea typeface="Calibri"/>
                <a:cs typeface="Calibri"/>
                <a:sym typeface="Calibri"/>
              </a:rPr>
              <a:t> </a:t>
            </a:r>
            <a:r>
              <a:rPr lang="en-US" sz="1400" b="0" i="0" u="none" strike="noStrike" cap="none" dirty="0">
                <a:solidFill>
                  <a:srgbClr val="3D3D3D"/>
                </a:solidFill>
                <a:latin typeface="Calibri"/>
                <a:ea typeface="Calibri"/>
                <a:cs typeface="Calibri"/>
                <a:sym typeface="Calibri"/>
              </a:rPr>
              <a:t>with unified Self-Service Analytics;</a:t>
            </a:r>
            <a:endParaRPr sz="700" b="1" i="0" u="none" strike="noStrike" cap="none" dirty="0">
              <a:solidFill>
                <a:srgbClr val="3D3D3D"/>
              </a:solidFill>
              <a:latin typeface="Calibri"/>
              <a:ea typeface="Calibri"/>
              <a:cs typeface="Calibri"/>
              <a:sym typeface="Calibri"/>
            </a:endParaRPr>
          </a:p>
          <a:p>
            <a:pPr marL="0" marR="0" lvl="1" indent="0" rtl="0">
              <a:lnSpc>
                <a:spcPct val="90000"/>
              </a:lnSpc>
              <a:spcBef>
                <a:spcPts val="0"/>
              </a:spcBef>
              <a:spcAft>
                <a:spcPts val="0"/>
              </a:spcAft>
              <a:buClr>
                <a:srgbClr val="000000"/>
              </a:buClr>
              <a:buSzPts val="1400"/>
              <a:buFont typeface="Arial"/>
              <a:buNone/>
            </a:pPr>
            <a:endParaRPr sz="1400" b="1" i="0" u="none" strike="noStrike" cap="none" dirty="0">
              <a:solidFill>
                <a:srgbClr val="3D3D3D"/>
              </a:solidFill>
              <a:latin typeface="Calibri"/>
              <a:ea typeface="Calibri"/>
              <a:cs typeface="Calibri"/>
              <a:sym typeface="Calibri"/>
            </a:endParaRPr>
          </a:p>
          <a:p>
            <a:pPr marL="0" marR="0" lvl="1" indent="0"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Tackle critical business challenges </a:t>
            </a:r>
            <a:r>
              <a:rPr lang="en-US" sz="1400" b="0" i="0" u="none" strike="noStrike" cap="none" dirty="0">
                <a:solidFill>
                  <a:srgbClr val="3D3D3D"/>
                </a:solidFill>
                <a:latin typeface="Calibri"/>
                <a:ea typeface="Calibri"/>
                <a:cs typeface="Calibri"/>
                <a:sym typeface="Calibri"/>
              </a:rPr>
              <a:t>using cutting-edge models</a:t>
            </a:r>
            <a:endParaRPr sz="1200" b="1" i="0" u="none" strike="noStrike" cap="none" dirty="0">
              <a:solidFill>
                <a:schemeClr val="dk2"/>
              </a:solidFill>
              <a:latin typeface="Calibri"/>
              <a:ea typeface="Calibri"/>
              <a:cs typeface="Calibri"/>
              <a:sym typeface="Calibri"/>
            </a:endParaRPr>
          </a:p>
        </p:txBody>
      </p:sp>
      <p:sp>
        <p:nvSpPr>
          <p:cNvPr id="15" name="Rectangle 14">
            <a:extLst>
              <a:ext uri="{FF2B5EF4-FFF2-40B4-BE49-F238E27FC236}">
                <a16:creationId xmlns:a16="http://schemas.microsoft.com/office/drawing/2014/main" id="{F7ECA27F-4F0F-692F-C078-C8DBB7B83693}"/>
              </a:ext>
            </a:extLst>
          </p:cNvPr>
          <p:cNvSpPr>
            <a:spLocks/>
          </p:cNvSpPr>
          <p:nvPr/>
        </p:nvSpPr>
        <p:spPr>
          <a:xfrm rot="5400000">
            <a:off x="9300426" y="3669745"/>
            <a:ext cx="1121109"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36" name="Google Shape;936;p145"/>
          <p:cNvSpPr/>
          <p:nvPr/>
        </p:nvSpPr>
        <p:spPr>
          <a:xfrm>
            <a:off x="8109491" y="4929479"/>
            <a:ext cx="3414490" cy="1052310"/>
          </a:xfrm>
          <a:prstGeom prst="rect">
            <a:avLst/>
          </a:prstGeom>
          <a:noFill/>
          <a:ln>
            <a:noFill/>
          </a:ln>
        </p:spPr>
        <p:txBody>
          <a:bodyPr spcFirstLastPara="1" wrap="square" lIns="91425" tIns="45700" rIns="91425" bIns="45700" anchor="ctr" anchorCtr="0">
            <a:noAutofit/>
          </a:bodyPr>
          <a:lstStyle/>
          <a:p>
            <a:pPr marL="0" marR="0" lvl="1" indent="0">
              <a:lnSpc>
                <a:spcPct val="90000"/>
              </a:lnSpc>
              <a:spcBef>
                <a:spcPts val="0"/>
              </a:spcBef>
              <a:spcAft>
                <a:spcPts val="300"/>
              </a:spcAft>
              <a:buClr>
                <a:srgbClr val="00B050"/>
              </a:buClr>
              <a:buSzPts val="1400"/>
              <a:buFont typeface="Arial"/>
              <a:buNone/>
              <a:defRPr/>
            </a:pPr>
            <a:r>
              <a:rPr lang="en-US" sz="1400" b="1" dirty="0">
                <a:solidFill>
                  <a:srgbClr val="0F47F2"/>
                </a:solidFill>
                <a:latin typeface="Calibri"/>
                <a:ea typeface="Calibri"/>
                <a:cs typeface="Calibri"/>
                <a:sym typeface="Calibri"/>
              </a:rPr>
              <a:t>Deploy</a:t>
            </a:r>
            <a:endParaRPr sz="1400" b="1" dirty="0">
              <a:solidFill>
                <a:srgbClr val="0F47F2"/>
              </a:solidFill>
              <a:latin typeface="Calibri"/>
              <a:ea typeface="Calibri"/>
              <a:cs typeface="Calibri"/>
              <a:sym typeface="Calibri"/>
            </a:endParaRPr>
          </a:p>
          <a:p>
            <a:pPr marL="0" marR="0" lvl="1" indent="0" rtl="0">
              <a:lnSpc>
                <a:spcPct val="90000"/>
              </a:lnSpc>
              <a:spcBef>
                <a:spcPts val="0"/>
              </a:spcBef>
              <a:spcAft>
                <a:spcPts val="0"/>
              </a:spcAft>
              <a:buClr>
                <a:srgbClr val="000000"/>
              </a:buClr>
              <a:buSzPts val="1400"/>
              <a:buFont typeface="Arial"/>
              <a:buNone/>
            </a:pPr>
            <a:r>
              <a:rPr lang="en-US" sz="1400" b="1" dirty="0">
                <a:solidFill>
                  <a:srgbClr val="3D3D3D"/>
                </a:solidFill>
                <a:latin typeface="Calibri"/>
                <a:ea typeface="Calibri"/>
                <a:cs typeface="Calibri"/>
                <a:sym typeface="Calibri"/>
              </a:rPr>
              <a:t>Bringing Models to Life</a:t>
            </a:r>
            <a:endParaRPr sz="1400" b="1" dirty="0">
              <a:solidFill>
                <a:srgbClr val="3D3D3D"/>
              </a:solidFill>
              <a:latin typeface="Calibri"/>
              <a:ea typeface="Calibri"/>
              <a:cs typeface="Calibri"/>
              <a:sym typeface="Calibri"/>
            </a:endParaRPr>
          </a:p>
          <a:p>
            <a:pPr marL="0" marR="0" lvl="1" indent="0" rtl="0">
              <a:lnSpc>
                <a:spcPct val="90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Seamless deployment, monitoring, and integration into client's infrastructure for maximum impact</a:t>
            </a:r>
            <a:endParaRPr sz="1600" b="1" i="0" u="none" strike="noStrike" cap="none" dirty="0">
              <a:solidFill>
                <a:schemeClr val="dk2"/>
              </a:solidFill>
              <a:latin typeface="Calibri"/>
              <a:ea typeface="Calibri"/>
              <a:cs typeface="Calibri"/>
              <a:sym typeface="Calibri"/>
            </a:endParaRPr>
          </a:p>
        </p:txBody>
      </p:sp>
    </p:spTree>
    <p:extLst>
      <p:ext uri="{BB962C8B-B14F-4D97-AF65-F5344CB8AC3E}">
        <p14:creationId xmlns:p14="http://schemas.microsoft.com/office/powerpoint/2010/main" val="3545218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24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12D3EAD-CB33-BAE3-5ED8-BA15FF5AC090}"/>
              </a:ext>
            </a:extLst>
          </p:cNvPr>
          <p:cNvGraphicFramePr>
            <a:graphicFrameLocks noChangeAspect="1"/>
          </p:cNvGraphicFramePr>
          <p:nvPr>
            <p:custDataLst>
              <p:tags r:id="rId1"/>
            </p:custDataLst>
            <p:extLst>
              <p:ext uri="{D42A27DB-BD31-4B8C-83A1-F6EECF244321}">
                <p14:modId xmlns:p14="http://schemas.microsoft.com/office/powerpoint/2010/main" val="2948197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512D3EAD-CB33-BAE3-5ED8-BA15FF5AC0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46" name="Google Shape;1246;p148"/>
          <p:cNvSpPr txBox="1">
            <a:spLocks noGrp="1"/>
          </p:cNvSpPr>
          <p:nvPr>
            <p:ph type="title"/>
          </p:nvPr>
        </p:nvSpPr>
        <p:spPr>
          <a:xfrm>
            <a:off x="539400" y="560588"/>
            <a:ext cx="11089972" cy="430887"/>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None/>
            </a:pPr>
            <a:r>
              <a:rPr lang="en-US" sz="2800" dirty="0"/>
              <a:t>Our Data Analytics service can handle all steps of a Use Case</a:t>
            </a:r>
            <a:endParaRPr lang="en-IN" sz="2800" dirty="0"/>
          </a:p>
        </p:txBody>
      </p:sp>
      <p:sp>
        <p:nvSpPr>
          <p:cNvPr id="1247" name="Google Shape;1247;p14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8</a:t>
            </a:fld>
            <a:endParaRPr/>
          </a:p>
        </p:txBody>
      </p:sp>
      <p:sp>
        <p:nvSpPr>
          <p:cNvPr id="1248" name="Google Shape;1248;p148"/>
          <p:cNvSpPr/>
          <p:nvPr/>
        </p:nvSpPr>
        <p:spPr>
          <a:xfrm>
            <a:off x="7446595" y="2110106"/>
            <a:ext cx="2552965" cy="417012"/>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400" b="1">
                <a:solidFill>
                  <a:schemeClr val="bg1"/>
                </a:solidFill>
                <a:latin typeface="Calibri" panose="020F0502020204030204" pitchFamily="34" charset="0"/>
                <a:cs typeface="Calibri" panose="020F0502020204030204" pitchFamily="34" charset="0"/>
                <a:sym typeface="Calibri"/>
              </a:rPr>
              <a:t>Modeling</a:t>
            </a:r>
            <a:endParaRPr sz="1400" b="1">
              <a:solidFill>
                <a:schemeClr val="bg1"/>
              </a:solidFill>
              <a:latin typeface="Calibri" panose="020F0502020204030204" pitchFamily="34" charset="0"/>
              <a:cs typeface="Calibri" panose="020F0502020204030204" pitchFamily="34" charset="0"/>
              <a:sym typeface="Calibri"/>
            </a:endParaRPr>
          </a:p>
        </p:txBody>
      </p:sp>
      <p:sp>
        <p:nvSpPr>
          <p:cNvPr id="1249" name="Google Shape;1249;p148"/>
          <p:cNvSpPr/>
          <p:nvPr/>
        </p:nvSpPr>
        <p:spPr>
          <a:xfrm>
            <a:off x="10166332" y="2110106"/>
            <a:ext cx="1463040" cy="417012"/>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400" b="1">
                <a:solidFill>
                  <a:schemeClr val="bg1"/>
                </a:solidFill>
                <a:latin typeface="Calibri" panose="020F0502020204030204" pitchFamily="34" charset="0"/>
                <a:cs typeface="Calibri" panose="020F0502020204030204" pitchFamily="34" charset="0"/>
                <a:sym typeface="Calibri"/>
              </a:rPr>
              <a:t>Delivery</a:t>
            </a:r>
            <a:endParaRPr sz="1400" b="1">
              <a:solidFill>
                <a:schemeClr val="bg1"/>
              </a:solidFill>
              <a:latin typeface="Calibri" panose="020F0502020204030204" pitchFamily="34" charset="0"/>
              <a:cs typeface="Calibri" panose="020F0502020204030204" pitchFamily="34" charset="0"/>
              <a:sym typeface="Calibri"/>
            </a:endParaRPr>
          </a:p>
        </p:txBody>
      </p:sp>
      <p:sp>
        <p:nvSpPr>
          <p:cNvPr id="1250" name="Google Shape;1250;p148"/>
          <p:cNvSpPr/>
          <p:nvPr/>
        </p:nvSpPr>
        <p:spPr>
          <a:xfrm>
            <a:off x="1938601" y="2110106"/>
            <a:ext cx="1193098" cy="417012"/>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400" b="1" dirty="0">
                <a:solidFill>
                  <a:schemeClr val="bg1"/>
                </a:solidFill>
                <a:latin typeface="Calibri" panose="020F0502020204030204" pitchFamily="34" charset="0"/>
                <a:cs typeface="Calibri" panose="020F0502020204030204" pitchFamily="34" charset="0"/>
                <a:sym typeface="Calibri"/>
              </a:rPr>
              <a:t>Integration</a:t>
            </a:r>
            <a:endParaRPr sz="1400" b="1" dirty="0">
              <a:solidFill>
                <a:schemeClr val="bg1"/>
              </a:solidFill>
              <a:latin typeface="Calibri" panose="020F0502020204030204" pitchFamily="34" charset="0"/>
              <a:cs typeface="Calibri" panose="020F0502020204030204" pitchFamily="34" charset="0"/>
              <a:sym typeface="Calibri"/>
            </a:endParaRPr>
          </a:p>
        </p:txBody>
      </p:sp>
      <p:sp>
        <p:nvSpPr>
          <p:cNvPr id="1251" name="Google Shape;1251;p148"/>
          <p:cNvSpPr/>
          <p:nvPr/>
        </p:nvSpPr>
        <p:spPr>
          <a:xfrm>
            <a:off x="1938601" y="269180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Batch Data Integration</a:t>
            </a:r>
            <a:endParaRPr sz="1200" b="0" i="0" u="none" strike="noStrike" cap="none">
              <a:solidFill>
                <a:schemeClr val="dk1"/>
              </a:solidFill>
              <a:latin typeface="Calibri"/>
              <a:ea typeface="Calibri"/>
              <a:cs typeface="Calibri"/>
              <a:sym typeface="Calibri"/>
            </a:endParaRPr>
          </a:p>
        </p:txBody>
      </p:sp>
      <p:sp>
        <p:nvSpPr>
          <p:cNvPr id="1252" name="Google Shape;1252;p148"/>
          <p:cNvSpPr/>
          <p:nvPr/>
        </p:nvSpPr>
        <p:spPr>
          <a:xfrm>
            <a:off x="1938601" y="336851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tream Ingestion Real time</a:t>
            </a:r>
            <a:endParaRPr sz="1200" b="0" i="0" u="none" strike="noStrike" cap="none">
              <a:solidFill>
                <a:schemeClr val="dk1"/>
              </a:solidFill>
              <a:latin typeface="Calibri"/>
              <a:ea typeface="Calibri"/>
              <a:cs typeface="Calibri"/>
              <a:sym typeface="Calibri"/>
            </a:endParaRPr>
          </a:p>
        </p:txBody>
      </p:sp>
      <p:sp>
        <p:nvSpPr>
          <p:cNvPr id="1253" name="Google Shape;1253;p148"/>
          <p:cNvSpPr/>
          <p:nvPr/>
        </p:nvSpPr>
        <p:spPr>
          <a:xfrm>
            <a:off x="1938601" y="404522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Message Broker</a:t>
            </a:r>
            <a:endParaRPr sz="1200" b="0" i="0" u="none" strike="noStrike" cap="none">
              <a:solidFill>
                <a:schemeClr val="dk1"/>
              </a:solidFill>
              <a:latin typeface="Calibri"/>
              <a:ea typeface="Calibri"/>
              <a:cs typeface="Calibri"/>
              <a:sym typeface="Calibri"/>
            </a:endParaRPr>
          </a:p>
        </p:txBody>
      </p:sp>
      <p:sp>
        <p:nvSpPr>
          <p:cNvPr id="1254" name="Google Shape;1254;p148"/>
          <p:cNvSpPr/>
          <p:nvPr/>
        </p:nvSpPr>
        <p:spPr>
          <a:xfrm>
            <a:off x="578734" y="2110106"/>
            <a:ext cx="1193098" cy="417012"/>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400" b="1" dirty="0">
                <a:solidFill>
                  <a:schemeClr val="bg1"/>
                </a:solidFill>
                <a:latin typeface="Calibri" panose="020F0502020204030204" pitchFamily="34" charset="0"/>
                <a:cs typeface="Calibri" panose="020F0502020204030204" pitchFamily="34" charset="0"/>
                <a:sym typeface="Calibri"/>
              </a:rPr>
              <a:t>Data Sources</a:t>
            </a:r>
            <a:endParaRPr sz="1400" b="1" dirty="0">
              <a:solidFill>
                <a:schemeClr val="bg1"/>
              </a:solidFill>
              <a:latin typeface="Calibri" panose="020F0502020204030204" pitchFamily="34" charset="0"/>
              <a:cs typeface="Calibri" panose="020F0502020204030204" pitchFamily="34" charset="0"/>
              <a:sym typeface="Calibri"/>
            </a:endParaRPr>
          </a:p>
        </p:txBody>
      </p:sp>
      <p:sp>
        <p:nvSpPr>
          <p:cNvPr id="1255" name="Google Shape;1255;p148"/>
          <p:cNvSpPr/>
          <p:nvPr/>
        </p:nvSpPr>
        <p:spPr>
          <a:xfrm>
            <a:off x="578734" y="2691809"/>
            <a:ext cx="1193098" cy="590036"/>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ERP</a:t>
            </a:r>
            <a:endParaRPr sz="1200" b="0" i="0" u="none" strike="noStrike" cap="none">
              <a:solidFill>
                <a:schemeClr val="dk1"/>
              </a:solidFill>
              <a:latin typeface="Calibri"/>
              <a:ea typeface="Calibri"/>
              <a:cs typeface="Calibri"/>
              <a:sym typeface="Calibri"/>
            </a:endParaRPr>
          </a:p>
        </p:txBody>
      </p:sp>
      <p:sp>
        <p:nvSpPr>
          <p:cNvPr id="1256" name="Google Shape;1256;p148"/>
          <p:cNvSpPr/>
          <p:nvPr/>
        </p:nvSpPr>
        <p:spPr>
          <a:xfrm>
            <a:off x="578734" y="4045229"/>
            <a:ext cx="1193098" cy="590036"/>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tabases</a:t>
            </a:r>
            <a:endParaRPr sz="1200" b="0" i="0" u="none" strike="noStrike" cap="none">
              <a:solidFill>
                <a:schemeClr val="dk1"/>
              </a:solidFill>
              <a:latin typeface="Calibri"/>
              <a:ea typeface="Calibri"/>
              <a:cs typeface="Calibri"/>
              <a:sym typeface="Calibri"/>
            </a:endParaRPr>
          </a:p>
        </p:txBody>
      </p:sp>
      <p:sp>
        <p:nvSpPr>
          <p:cNvPr id="1257" name="Google Shape;1257;p148"/>
          <p:cNvSpPr/>
          <p:nvPr/>
        </p:nvSpPr>
        <p:spPr>
          <a:xfrm>
            <a:off x="578734" y="4721939"/>
            <a:ext cx="1193098" cy="590036"/>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External Sources</a:t>
            </a:r>
            <a:endParaRPr sz="1200" b="0" i="0" u="none" strike="noStrike" cap="none">
              <a:solidFill>
                <a:schemeClr val="dk1"/>
              </a:solidFill>
              <a:latin typeface="Calibri"/>
              <a:ea typeface="Calibri"/>
              <a:cs typeface="Calibri"/>
              <a:sym typeface="Calibri"/>
            </a:endParaRPr>
          </a:p>
        </p:txBody>
      </p:sp>
      <p:sp>
        <p:nvSpPr>
          <p:cNvPr id="1258" name="Google Shape;1258;p148"/>
          <p:cNvSpPr/>
          <p:nvPr/>
        </p:nvSpPr>
        <p:spPr>
          <a:xfrm>
            <a:off x="578734" y="3368519"/>
            <a:ext cx="1193098" cy="590036"/>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CRM</a:t>
            </a:r>
            <a:endParaRPr sz="1200" b="0" i="0" u="none" strike="noStrike" cap="none">
              <a:solidFill>
                <a:schemeClr val="dk1"/>
              </a:solidFill>
              <a:latin typeface="Calibri"/>
              <a:ea typeface="Calibri"/>
              <a:cs typeface="Calibri"/>
              <a:sym typeface="Calibri"/>
            </a:endParaRPr>
          </a:p>
        </p:txBody>
      </p:sp>
      <p:sp>
        <p:nvSpPr>
          <p:cNvPr id="1259" name="Google Shape;1259;p148"/>
          <p:cNvSpPr/>
          <p:nvPr/>
        </p:nvSpPr>
        <p:spPr>
          <a:xfrm>
            <a:off x="578734" y="5398649"/>
            <a:ext cx="1193098" cy="590036"/>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Files</a:t>
            </a:r>
            <a:endParaRPr sz="1200" b="0" i="0" u="none" strike="noStrike" cap="none">
              <a:solidFill>
                <a:schemeClr val="dk1"/>
              </a:solidFill>
              <a:latin typeface="Calibri"/>
              <a:ea typeface="Calibri"/>
              <a:cs typeface="Calibri"/>
              <a:sym typeface="Calibri"/>
            </a:endParaRPr>
          </a:p>
        </p:txBody>
      </p:sp>
      <p:sp>
        <p:nvSpPr>
          <p:cNvPr id="1260" name="Google Shape;1260;p148"/>
          <p:cNvSpPr/>
          <p:nvPr/>
        </p:nvSpPr>
        <p:spPr>
          <a:xfrm>
            <a:off x="7446595" y="4191296"/>
            <a:ext cx="1193098" cy="426959"/>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Machine Learning</a:t>
            </a:r>
            <a:endParaRPr sz="1200" b="0" i="0" u="none" strike="noStrike" cap="none">
              <a:solidFill>
                <a:schemeClr val="dk1"/>
              </a:solidFill>
              <a:latin typeface="Calibri"/>
              <a:ea typeface="Calibri"/>
              <a:cs typeface="Calibri"/>
              <a:sym typeface="Calibri"/>
            </a:endParaRPr>
          </a:p>
        </p:txBody>
      </p:sp>
      <p:sp>
        <p:nvSpPr>
          <p:cNvPr id="1261" name="Google Shape;1261;p148"/>
          <p:cNvSpPr/>
          <p:nvPr/>
        </p:nvSpPr>
        <p:spPr>
          <a:xfrm>
            <a:off x="7446595" y="4692991"/>
            <a:ext cx="1193098" cy="305204"/>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eep Learning</a:t>
            </a:r>
            <a:endParaRPr sz="1200" b="0" i="0" u="none" strike="noStrike" cap="none">
              <a:solidFill>
                <a:schemeClr val="dk1"/>
              </a:solidFill>
              <a:latin typeface="Calibri"/>
              <a:ea typeface="Calibri"/>
              <a:cs typeface="Calibri"/>
              <a:sym typeface="Calibri"/>
            </a:endParaRPr>
          </a:p>
        </p:txBody>
      </p:sp>
      <p:sp>
        <p:nvSpPr>
          <p:cNvPr id="1262" name="Google Shape;1262;p148"/>
          <p:cNvSpPr/>
          <p:nvPr/>
        </p:nvSpPr>
        <p:spPr>
          <a:xfrm>
            <a:off x="7446595" y="3689601"/>
            <a:ext cx="1193098" cy="426959"/>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imulation and Optimization</a:t>
            </a:r>
            <a:endParaRPr sz="1200" b="0" i="0" u="none" strike="noStrike" cap="none">
              <a:solidFill>
                <a:schemeClr val="dk1"/>
              </a:solidFill>
              <a:latin typeface="Calibri"/>
              <a:ea typeface="Calibri"/>
              <a:cs typeface="Calibri"/>
              <a:sym typeface="Calibri"/>
            </a:endParaRPr>
          </a:p>
        </p:txBody>
      </p:sp>
      <p:sp>
        <p:nvSpPr>
          <p:cNvPr id="1263" name="Google Shape;1263;p148"/>
          <p:cNvSpPr/>
          <p:nvPr/>
        </p:nvSpPr>
        <p:spPr>
          <a:xfrm>
            <a:off x="7436326" y="5452872"/>
            <a:ext cx="1193098" cy="535813"/>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Geospatial and</a:t>
            </a: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Location Analytics</a:t>
            </a:r>
            <a:endParaRPr sz="1200" b="0" i="0" u="none" strike="noStrike" cap="none">
              <a:solidFill>
                <a:schemeClr val="dk1"/>
              </a:solidFill>
              <a:latin typeface="Calibri"/>
              <a:ea typeface="Calibri"/>
              <a:cs typeface="Calibri"/>
              <a:sym typeface="Calibri"/>
            </a:endParaRPr>
          </a:p>
        </p:txBody>
      </p:sp>
      <p:sp>
        <p:nvSpPr>
          <p:cNvPr id="1264" name="Google Shape;1264;p148"/>
          <p:cNvSpPr/>
          <p:nvPr/>
        </p:nvSpPr>
        <p:spPr>
          <a:xfrm>
            <a:off x="7446595" y="3187906"/>
            <a:ext cx="1193098" cy="426959"/>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Predictive Analytics</a:t>
            </a:r>
            <a:endParaRPr sz="1200" b="0" i="0" u="none" strike="noStrike" cap="none">
              <a:solidFill>
                <a:schemeClr val="dk1"/>
              </a:solidFill>
              <a:latin typeface="Calibri"/>
              <a:ea typeface="Calibri"/>
              <a:cs typeface="Calibri"/>
              <a:sym typeface="Calibri"/>
            </a:endParaRPr>
          </a:p>
        </p:txBody>
      </p:sp>
      <p:sp>
        <p:nvSpPr>
          <p:cNvPr id="1265" name="Google Shape;1265;p148"/>
          <p:cNvSpPr/>
          <p:nvPr/>
        </p:nvSpPr>
        <p:spPr>
          <a:xfrm>
            <a:off x="7446595" y="5072931"/>
            <a:ext cx="1193098" cy="305204"/>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Graph Analytics</a:t>
            </a:r>
            <a:endParaRPr sz="1200" b="0" i="0" u="none" strike="noStrike" cap="none">
              <a:solidFill>
                <a:schemeClr val="dk1"/>
              </a:solidFill>
              <a:latin typeface="Calibri"/>
              <a:ea typeface="Calibri"/>
              <a:cs typeface="Calibri"/>
              <a:sym typeface="Calibri"/>
            </a:endParaRPr>
          </a:p>
        </p:txBody>
      </p:sp>
      <p:sp>
        <p:nvSpPr>
          <p:cNvPr id="1266" name="Google Shape;1266;p148"/>
          <p:cNvSpPr/>
          <p:nvPr/>
        </p:nvSpPr>
        <p:spPr>
          <a:xfrm>
            <a:off x="7446595" y="2686211"/>
            <a:ext cx="1193098" cy="426959"/>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Prescriptive Analytics</a:t>
            </a:r>
            <a:endParaRPr sz="1200" b="0" i="0" u="none" strike="noStrike" cap="none">
              <a:solidFill>
                <a:schemeClr val="dk1"/>
              </a:solidFill>
              <a:latin typeface="Calibri"/>
              <a:ea typeface="Calibri"/>
              <a:cs typeface="Calibri"/>
              <a:sym typeface="Calibri"/>
            </a:endParaRPr>
          </a:p>
        </p:txBody>
      </p:sp>
      <p:sp>
        <p:nvSpPr>
          <p:cNvPr id="1267" name="Google Shape;1267;p148"/>
          <p:cNvSpPr/>
          <p:nvPr/>
        </p:nvSpPr>
        <p:spPr>
          <a:xfrm>
            <a:off x="8806462" y="4492510"/>
            <a:ext cx="1193098" cy="462471"/>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Video/Image Analytics</a:t>
            </a:r>
            <a:endParaRPr sz="1200" b="0" i="0" u="none" strike="noStrike" cap="none">
              <a:solidFill>
                <a:schemeClr val="dk1"/>
              </a:solidFill>
              <a:latin typeface="Calibri"/>
              <a:ea typeface="Calibri"/>
              <a:cs typeface="Calibri"/>
              <a:sym typeface="Calibri"/>
            </a:endParaRPr>
          </a:p>
        </p:txBody>
      </p:sp>
      <p:sp>
        <p:nvSpPr>
          <p:cNvPr id="1268" name="Google Shape;1268;p148"/>
          <p:cNvSpPr/>
          <p:nvPr/>
        </p:nvSpPr>
        <p:spPr>
          <a:xfrm>
            <a:off x="8806462" y="3959177"/>
            <a:ext cx="1193098" cy="462471"/>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peech Analytics</a:t>
            </a:r>
            <a:endParaRPr sz="1200" b="0" i="0" u="none" strike="noStrike" cap="none">
              <a:solidFill>
                <a:schemeClr val="dk1"/>
              </a:solidFill>
              <a:latin typeface="Calibri"/>
              <a:ea typeface="Calibri"/>
              <a:cs typeface="Calibri"/>
              <a:sym typeface="Calibri"/>
            </a:endParaRPr>
          </a:p>
        </p:txBody>
      </p:sp>
      <p:sp>
        <p:nvSpPr>
          <p:cNvPr id="1269" name="Google Shape;1269;p148"/>
          <p:cNvSpPr/>
          <p:nvPr/>
        </p:nvSpPr>
        <p:spPr>
          <a:xfrm>
            <a:off x="8806462" y="5025842"/>
            <a:ext cx="1193098" cy="295484"/>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Text Analytics</a:t>
            </a:r>
            <a:endParaRPr sz="1200" b="0" i="0" u="none" strike="noStrike" cap="none">
              <a:solidFill>
                <a:schemeClr val="dk1"/>
              </a:solidFill>
              <a:latin typeface="Calibri"/>
              <a:ea typeface="Calibri"/>
              <a:cs typeface="Calibri"/>
              <a:sym typeface="Calibri"/>
            </a:endParaRPr>
          </a:p>
        </p:txBody>
      </p:sp>
      <p:sp>
        <p:nvSpPr>
          <p:cNvPr id="1270" name="Google Shape;1270;p148"/>
          <p:cNvSpPr/>
          <p:nvPr/>
        </p:nvSpPr>
        <p:spPr>
          <a:xfrm>
            <a:off x="8806462" y="2693155"/>
            <a:ext cx="1193098" cy="462471"/>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Recommendation Systems</a:t>
            </a:r>
            <a:endParaRPr sz="1200" b="0" i="0" u="none" strike="noStrike" cap="none">
              <a:solidFill>
                <a:schemeClr val="dk1"/>
              </a:solidFill>
              <a:latin typeface="Calibri"/>
              <a:ea typeface="Calibri"/>
              <a:cs typeface="Calibri"/>
              <a:sym typeface="Calibri"/>
            </a:endParaRPr>
          </a:p>
        </p:txBody>
      </p:sp>
      <p:sp>
        <p:nvSpPr>
          <p:cNvPr id="1271" name="Google Shape;1271;p148"/>
          <p:cNvSpPr/>
          <p:nvPr/>
        </p:nvSpPr>
        <p:spPr>
          <a:xfrm>
            <a:off x="8806462" y="3226487"/>
            <a:ext cx="1193098" cy="295484"/>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Time series</a:t>
            </a:r>
            <a:endParaRPr sz="1200" b="0" i="0" u="none" strike="noStrike" cap="none">
              <a:solidFill>
                <a:schemeClr val="dk1"/>
              </a:solidFill>
              <a:latin typeface="Calibri"/>
              <a:ea typeface="Calibri"/>
              <a:cs typeface="Calibri"/>
              <a:sym typeface="Calibri"/>
            </a:endParaRPr>
          </a:p>
        </p:txBody>
      </p:sp>
      <p:sp>
        <p:nvSpPr>
          <p:cNvPr id="1272" name="Google Shape;1272;p148"/>
          <p:cNvSpPr/>
          <p:nvPr/>
        </p:nvSpPr>
        <p:spPr>
          <a:xfrm>
            <a:off x="8806462" y="3592832"/>
            <a:ext cx="1193098" cy="295484"/>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egmentation</a:t>
            </a:r>
            <a:endParaRPr sz="1200" b="0" i="0" u="none" strike="noStrike" cap="none">
              <a:solidFill>
                <a:schemeClr val="dk1"/>
              </a:solidFill>
              <a:latin typeface="Calibri"/>
              <a:ea typeface="Calibri"/>
              <a:cs typeface="Calibri"/>
              <a:sym typeface="Calibri"/>
            </a:endParaRPr>
          </a:p>
        </p:txBody>
      </p:sp>
      <p:sp>
        <p:nvSpPr>
          <p:cNvPr id="1273" name="Google Shape;1273;p148"/>
          <p:cNvSpPr/>
          <p:nvPr/>
        </p:nvSpPr>
        <p:spPr>
          <a:xfrm>
            <a:off x="8806462" y="5392184"/>
            <a:ext cx="1193098" cy="59650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entiment/ Behavior Analytics</a:t>
            </a:r>
            <a:endParaRPr sz="1200" b="0" i="0" u="none" strike="noStrike" cap="none">
              <a:solidFill>
                <a:schemeClr val="dk1"/>
              </a:solidFill>
              <a:latin typeface="Calibri"/>
              <a:ea typeface="Calibri"/>
              <a:cs typeface="Calibri"/>
              <a:sym typeface="Calibri"/>
            </a:endParaRPr>
          </a:p>
        </p:txBody>
      </p:sp>
      <p:sp>
        <p:nvSpPr>
          <p:cNvPr id="1274" name="Google Shape;1274;p148"/>
          <p:cNvSpPr/>
          <p:nvPr/>
        </p:nvSpPr>
        <p:spPr>
          <a:xfrm>
            <a:off x="3298468" y="2110106"/>
            <a:ext cx="1193098" cy="417012"/>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400" b="1">
                <a:solidFill>
                  <a:schemeClr val="bg1"/>
                </a:solidFill>
                <a:latin typeface="Calibri" panose="020F0502020204030204" pitchFamily="34" charset="0"/>
                <a:cs typeface="Calibri" panose="020F0502020204030204" pitchFamily="34" charset="0"/>
                <a:sym typeface="Calibri"/>
              </a:rPr>
              <a:t>Storage</a:t>
            </a:r>
            <a:endParaRPr sz="1400" b="1">
              <a:solidFill>
                <a:schemeClr val="bg1"/>
              </a:solidFill>
              <a:latin typeface="Calibri" panose="020F0502020204030204" pitchFamily="34" charset="0"/>
              <a:cs typeface="Calibri" panose="020F0502020204030204" pitchFamily="34" charset="0"/>
              <a:sym typeface="Calibri"/>
            </a:endParaRPr>
          </a:p>
        </p:txBody>
      </p:sp>
      <p:sp>
        <p:nvSpPr>
          <p:cNvPr id="1275" name="Google Shape;1275;p148"/>
          <p:cNvSpPr/>
          <p:nvPr/>
        </p:nvSpPr>
        <p:spPr>
          <a:xfrm>
            <a:off x="3298468" y="404522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Big Data/Distributed Environment</a:t>
            </a:r>
            <a:endParaRPr sz="1200" b="0" i="0" u="none" strike="noStrike" cap="none">
              <a:solidFill>
                <a:schemeClr val="dk1"/>
              </a:solidFill>
              <a:latin typeface="Calibri"/>
              <a:ea typeface="Calibri"/>
              <a:cs typeface="Calibri"/>
              <a:sym typeface="Calibri"/>
            </a:endParaRPr>
          </a:p>
        </p:txBody>
      </p:sp>
      <p:sp>
        <p:nvSpPr>
          <p:cNvPr id="1276" name="Google Shape;1276;p148"/>
          <p:cNvSpPr/>
          <p:nvPr/>
        </p:nvSpPr>
        <p:spPr>
          <a:xfrm>
            <a:off x="3298468" y="336851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NOSQL Environment</a:t>
            </a:r>
            <a:endParaRPr sz="1200" b="0" i="0" u="none" strike="noStrike" cap="none">
              <a:solidFill>
                <a:schemeClr val="dk1"/>
              </a:solidFill>
              <a:latin typeface="Calibri"/>
              <a:ea typeface="Calibri"/>
              <a:cs typeface="Calibri"/>
              <a:sym typeface="Calibri"/>
            </a:endParaRPr>
          </a:p>
        </p:txBody>
      </p:sp>
      <p:sp>
        <p:nvSpPr>
          <p:cNvPr id="1277" name="Google Shape;1277;p148"/>
          <p:cNvSpPr/>
          <p:nvPr/>
        </p:nvSpPr>
        <p:spPr>
          <a:xfrm>
            <a:off x="3298468" y="269180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Warehousing</a:t>
            </a: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Environment</a:t>
            </a:r>
            <a:endParaRPr sz="1200" b="0" i="0" u="none" strike="noStrike" cap="none">
              <a:solidFill>
                <a:schemeClr val="dk1"/>
              </a:solidFill>
              <a:latin typeface="Calibri"/>
              <a:ea typeface="Calibri"/>
              <a:cs typeface="Calibri"/>
              <a:sym typeface="Calibri"/>
            </a:endParaRPr>
          </a:p>
        </p:txBody>
      </p:sp>
      <p:sp>
        <p:nvSpPr>
          <p:cNvPr id="1278" name="Google Shape;1278;p148"/>
          <p:cNvSpPr/>
          <p:nvPr/>
        </p:nvSpPr>
        <p:spPr>
          <a:xfrm>
            <a:off x="3298468" y="472193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Cloud </a:t>
            </a: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Environment</a:t>
            </a:r>
            <a:endParaRPr sz="1200" b="0" i="0" u="none" strike="noStrike" cap="none">
              <a:solidFill>
                <a:schemeClr val="dk1"/>
              </a:solidFill>
              <a:latin typeface="Calibri"/>
              <a:ea typeface="Calibri"/>
              <a:cs typeface="Calibri"/>
              <a:sym typeface="Calibri"/>
            </a:endParaRPr>
          </a:p>
        </p:txBody>
      </p:sp>
      <p:sp>
        <p:nvSpPr>
          <p:cNvPr id="1279" name="Google Shape;1279;p148"/>
          <p:cNvSpPr/>
          <p:nvPr/>
        </p:nvSpPr>
        <p:spPr>
          <a:xfrm>
            <a:off x="6018202" y="2110106"/>
            <a:ext cx="1251355" cy="417012"/>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400" b="1" dirty="0">
                <a:solidFill>
                  <a:schemeClr val="bg1"/>
                </a:solidFill>
                <a:latin typeface="Calibri" panose="020F0502020204030204" pitchFamily="34" charset="0"/>
                <a:cs typeface="Calibri" panose="020F0502020204030204" pitchFamily="34" charset="0"/>
                <a:sym typeface="Calibri"/>
              </a:rPr>
              <a:t>Exploration </a:t>
            </a:r>
            <a:endParaRPr sz="1400" b="1" dirty="0">
              <a:solidFill>
                <a:schemeClr val="bg1"/>
              </a:solidFill>
              <a:latin typeface="Calibri" panose="020F0502020204030204" pitchFamily="34" charset="0"/>
              <a:cs typeface="Calibri" panose="020F0502020204030204" pitchFamily="34" charset="0"/>
              <a:sym typeface="Calibri"/>
            </a:endParaRPr>
          </a:p>
          <a:p>
            <a:pPr algn="ctr"/>
            <a:r>
              <a:rPr lang="en-US" sz="1400" b="1" dirty="0">
                <a:solidFill>
                  <a:schemeClr val="bg1"/>
                </a:solidFill>
                <a:latin typeface="Calibri" panose="020F0502020204030204" pitchFamily="34" charset="0"/>
                <a:cs typeface="Calibri" panose="020F0502020204030204" pitchFamily="34" charset="0"/>
                <a:sym typeface="Calibri"/>
              </a:rPr>
              <a:t>Visualization</a:t>
            </a:r>
            <a:endParaRPr sz="1400" b="1" dirty="0">
              <a:solidFill>
                <a:schemeClr val="bg1"/>
              </a:solidFill>
              <a:latin typeface="Calibri" panose="020F0502020204030204" pitchFamily="34" charset="0"/>
              <a:cs typeface="Calibri" panose="020F0502020204030204" pitchFamily="34" charset="0"/>
              <a:sym typeface="Calibri"/>
            </a:endParaRPr>
          </a:p>
        </p:txBody>
      </p:sp>
      <p:sp>
        <p:nvSpPr>
          <p:cNvPr id="1280" name="Google Shape;1280;p148"/>
          <p:cNvSpPr/>
          <p:nvPr/>
        </p:nvSpPr>
        <p:spPr>
          <a:xfrm>
            <a:off x="6018202" y="2686211"/>
            <a:ext cx="1249816" cy="59938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tatistics</a:t>
            </a:r>
            <a:endParaRPr sz="1200" b="0" i="0" u="none" strike="noStrike" cap="none">
              <a:solidFill>
                <a:schemeClr val="dk1"/>
              </a:solidFill>
              <a:latin typeface="Calibri"/>
              <a:ea typeface="Calibri"/>
              <a:cs typeface="Calibri"/>
              <a:sym typeface="Calibri"/>
            </a:endParaRPr>
          </a:p>
        </p:txBody>
      </p:sp>
      <p:sp>
        <p:nvSpPr>
          <p:cNvPr id="1281" name="Google Shape;1281;p148"/>
          <p:cNvSpPr/>
          <p:nvPr/>
        </p:nvSpPr>
        <p:spPr>
          <a:xfrm>
            <a:off x="6018202" y="4713531"/>
            <a:ext cx="1249816" cy="59938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shboard</a:t>
            </a:r>
            <a:endParaRPr sz="1200" b="0" i="0" u="none" strike="noStrike" cap="none">
              <a:solidFill>
                <a:schemeClr val="dk1"/>
              </a:solidFill>
              <a:latin typeface="Calibri"/>
              <a:ea typeface="Calibri"/>
              <a:cs typeface="Calibri"/>
              <a:sym typeface="Calibri"/>
            </a:endParaRPr>
          </a:p>
        </p:txBody>
      </p:sp>
      <p:sp>
        <p:nvSpPr>
          <p:cNvPr id="1282" name="Google Shape;1282;p148"/>
          <p:cNvSpPr/>
          <p:nvPr/>
        </p:nvSpPr>
        <p:spPr>
          <a:xfrm>
            <a:off x="6018202" y="5389305"/>
            <a:ext cx="1249816" cy="59938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Real time Reporting</a:t>
            </a:r>
            <a:endParaRPr sz="1200" b="0" i="0" u="none" strike="noStrike" cap="none">
              <a:solidFill>
                <a:schemeClr val="dk1"/>
              </a:solidFill>
              <a:latin typeface="Calibri"/>
              <a:ea typeface="Calibri"/>
              <a:cs typeface="Calibri"/>
              <a:sym typeface="Calibri"/>
            </a:endParaRPr>
          </a:p>
        </p:txBody>
      </p:sp>
      <p:sp>
        <p:nvSpPr>
          <p:cNvPr id="1283" name="Google Shape;1283;p148"/>
          <p:cNvSpPr/>
          <p:nvPr/>
        </p:nvSpPr>
        <p:spPr>
          <a:xfrm>
            <a:off x="6018202" y="4037758"/>
            <a:ext cx="1249816" cy="59938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Reports</a:t>
            </a:r>
            <a:endParaRPr sz="1200" b="0" i="0" u="none" strike="noStrike" cap="none">
              <a:solidFill>
                <a:schemeClr val="dk1"/>
              </a:solidFill>
              <a:latin typeface="Calibri"/>
              <a:ea typeface="Calibri"/>
              <a:cs typeface="Calibri"/>
              <a:sym typeface="Calibri"/>
            </a:endParaRPr>
          </a:p>
        </p:txBody>
      </p:sp>
      <p:sp>
        <p:nvSpPr>
          <p:cNvPr id="1284" name="Google Shape;1284;p148"/>
          <p:cNvSpPr/>
          <p:nvPr/>
        </p:nvSpPr>
        <p:spPr>
          <a:xfrm>
            <a:off x="6018202" y="3361984"/>
            <a:ext cx="1249816" cy="59938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Feature Engineering</a:t>
            </a:r>
            <a:endParaRPr sz="1200" b="0" i="0" u="none" strike="noStrike" cap="none">
              <a:solidFill>
                <a:schemeClr val="dk1"/>
              </a:solidFill>
              <a:latin typeface="Calibri"/>
              <a:ea typeface="Calibri"/>
              <a:cs typeface="Calibri"/>
              <a:sym typeface="Calibri"/>
            </a:endParaRPr>
          </a:p>
        </p:txBody>
      </p:sp>
      <p:sp>
        <p:nvSpPr>
          <p:cNvPr id="1285" name="Google Shape;1285;p148"/>
          <p:cNvSpPr/>
          <p:nvPr/>
        </p:nvSpPr>
        <p:spPr>
          <a:xfrm>
            <a:off x="10166332" y="5107403"/>
            <a:ext cx="1463040" cy="397895"/>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Containerization</a:t>
            </a:r>
            <a:endParaRPr sz="2400" b="0" i="0" u="none" strike="noStrike" cap="none">
              <a:solidFill>
                <a:schemeClr val="dk1"/>
              </a:solidFill>
              <a:latin typeface="Calibri"/>
              <a:ea typeface="Calibri"/>
              <a:cs typeface="Calibri"/>
              <a:sym typeface="Calibri"/>
            </a:endParaRPr>
          </a:p>
        </p:txBody>
      </p:sp>
      <p:sp>
        <p:nvSpPr>
          <p:cNvPr id="1286" name="Google Shape;1286;p148"/>
          <p:cNvSpPr/>
          <p:nvPr/>
        </p:nvSpPr>
        <p:spPr>
          <a:xfrm>
            <a:off x="10166332" y="4624554"/>
            <a:ext cx="1463040" cy="397895"/>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Security</a:t>
            </a:r>
            <a:endParaRPr sz="2400" b="0" i="0" u="none" strike="noStrike" cap="none">
              <a:solidFill>
                <a:schemeClr val="dk1"/>
              </a:solidFill>
              <a:latin typeface="Calibri"/>
              <a:ea typeface="Calibri"/>
              <a:cs typeface="Calibri"/>
              <a:sym typeface="Calibri"/>
            </a:endParaRPr>
          </a:p>
        </p:txBody>
      </p:sp>
      <p:sp>
        <p:nvSpPr>
          <p:cNvPr id="1287" name="Google Shape;1287;p148"/>
          <p:cNvSpPr/>
          <p:nvPr/>
        </p:nvSpPr>
        <p:spPr>
          <a:xfrm>
            <a:off x="10166332" y="4141704"/>
            <a:ext cx="1463040" cy="397895"/>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Orchestration</a:t>
            </a:r>
            <a:endParaRPr sz="2400" b="0" i="0" u="none" strike="noStrike" cap="none">
              <a:solidFill>
                <a:schemeClr val="dk1"/>
              </a:solidFill>
              <a:latin typeface="Calibri"/>
              <a:ea typeface="Calibri"/>
              <a:cs typeface="Calibri"/>
              <a:sym typeface="Calibri"/>
            </a:endParaRPr>
          </a:p>
        </p:txBody>
      </p:sp>
      <p:sp>
        <p:nvSpPr>
          <p:cNvPr id="1288" name="Google Shape;1288;p148"/>
          <p:cNvSpPr/>
          <p:nvPr/>
        </p:nvSpPr>
        <p:spPr>
          <a:xfrm>
            <a:off x="10166332" y="3176005"/>
            <a:ext cx="1463040" cy="397895"/>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DS/ML Platforms</a:t>
            </a:r>
            <a:endParaRPr sz="2400" b="0" i="0" u="none" strike="noStrike" cap="none">
              <a:solidFill>
                <a:schemeClr val="dk1"/>
              </a:solidFill>
              <a:latin typeface="Calibri"/>
              <a:ea typeface="Calibri"/>
              <a:cs typeface="Calibri"/>
              <a:sym typeface="Calibri"/>
            </a:endParaRPr>
          </a:p>
        </p:txBody>
      </p:sp>
      <p:sp>
        <p:nvSpPr>
          <p:cNvPr id="1289" name="Google Shape;1289;p148"/>
          <p:cNvSpPr/>
          <p:nvPr/>
        </p:nvSpPr>
        <p:spPr>
          <a:xfrm>
            <a:off x="10166332" y="3658854"/>
            <a:ext cx="1463040" cy="397895"/>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Version Control</a:t>
            </a:r>
            <a:endParaRPr sz="2400" b="0" i="0" u="none" strike="noStrike" cap="none">
              <a:solidFill>
                <a:schemeClr val="dk1"/>
              </a:solidFill>
              <a:latin typeface="Calibri"/>
              <a:ea typeface="Calibri"/>
              <a:cs typeface="Calibri"/>
              <a:sym typeface="Calibri"/>
            </a:endParaRPr>
          </a:p>
        </p:txBody>
      </p:sp>
      <p:sp>
        <p:nvSpPr>
          <p:cNvPr id="1290" name="Google Shape;1290;p148"/>
          <p:cNvSpPr/>
          <p:nvPr/>
        </p:nvSpPr>
        <p:spPr>
          <a:xfrm>
            <a:off x="10166332" y="2693155"/>
            <a:ext cx="1463040" cy="397895"/>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Model Monitoring</a:t>
            </a:r>
            <a:endParaRPr sz="2400" b="0" i="0" u="none" strike="noStrike" cap="none">
              <a:solidFill>
                <a:schemeClr val="dk1"/>
              </a:solidFill>
              <a:latin typeface="Calibri"/>
              <a:ea typeface="Calibri"/>
              <a:cs typeface="Calibri"/>
              <a:sym typeface="Calibri"/>
            </a:endParaRPr>
          </a:p>
        </p:txBody>
      </p:sp>
      <p:sp>
        <p:nvSpPr>
          <p:cNvPr id="1291" name="Google Shape;1291;p148"/>
          <p:cNvSpPr/>
          <p:nvPr/>
        </p:nvSpPr>
        <p:spPr>
          <a:xfrm>
            <a:off x="10166332" y="5590252"/>
            <a:ext cx="1463040" cy="397895"/>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Interfacing</a:t>
            </a:r>
            <a:endParaRPr sz="2400" b="0" i="0" u="none" strike="noStrike" cap="none">
              <a:solidFill>
                <a:schemeClr val="dk1"/>
              </a:solidFill>
              <a:latin typeface="Calibri"/>
              <a:ea typeface="Calibri"/>
              <a:cs typeface="Calibri"/>
              <a:sym typeface="Calibri"/>
            </a:endParaRPr>
          </a:p>
        </p:txBody>
      </p:sp>
      <p:sp>
        <p:nvSpPr>
          <p:cNvPr id="1292" name="Google Shape;1292;p148"/>
          <p:cNvSpPr/>
          <p:nvPr/>
        </p:nvSpPr>
        <p:spPr>
          <a:xfrm>
            <a:off x="4658335" y="2110106"/>
            <a:ext cx="1193098" cy="417012"/>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400" b="1" dirty="0">
                <a:solidFill>
                  <a:schemeClr val="bg1"/>
                </a:solidFill>
                <a:latin typeface="Calibri" panose="020F0502020204030204" pitchFamily="34" charset="0"/>
                <a:cs typeface="Calibri" panose="020F0502020204030204" pitchFamily="34" charset="0"/>
                <a:sym typeface="Calibri"/>
              </a:rPr>
              <a:t>Preparation</a:t>
            </a:r>
            <a:endParaRPr sz="1400" b="1" dirty="0">
              <a:solidFill>
                <a:schemeClr val="bg1"/>
              </a:solidFill>
              <a:latin typeface="Calibri" panose="020F0502020204030204" pitchFamily="34" charset="0"/>
              <a:cs typeface="Calibri" panose="020F0502020204030204" pitchFamily="34" charset="0"/>
              <a:sym typeface="Calibri"/>
            </a:endParaRPr>
          </a:p>
        </p:txBody>
      </p:sp>
      <p:sp>
        <p:nvSpPr>
          <p:cNvPr id="1293" name="Google Shape;1293;p148"/>
          <p:cNvSpPr/>
          <p:nvPr/>
        </p:nvSpPr>
        <p:spPr>
          <a:xfrm>
            <a:off x="4658335" y="269180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ta Quality</a:t>
            </a:r>
            <a:endParaRPr sz="1200" b="0" i="0" u="none" strike="noStrike" cap="none">
              <a:solidFill>
                <a:schemeClr val="dk1"/>
              </a:solidFill>
              <a:latin typeface="Calibri"/>
              <a:ea typeface="Calibri"/>
              <a:cs typeface="Calibri"/>
              <a:sym typeface="Calibri"/>
            </a:endParaRPr>
          </a:p>
        </p:txBody>
      </p:sp>
      <p:sp>
        <p:nvSpPr>
          <p:cNvPr id="1294" name="Google Shape;1294;p148"/>
          <p:cNvSpPr/>
          <p:nvPr/>
        </p:nvSpPr>
        <p:spPr>
          <a:xfrm>
            <a:off x="4658335" y="336851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ta Cleaning</a:t>
            </a:r>
            <a:endParaRPr sz="1200" b="0" i="0" u="none" strike="noStrike" cap="none">
              <a:solidFill>
                <a:schemeClr val="dk1"/>
              </a:solidFill>
              <a:latin typeface="Calibri"/>
              <a:ea typeface="Calibri"/>
              <a:cs typeface="Calibri"/>
              <a:sym typeface="Calibri"/>
            </a:endParaRPr>
          </a:p>
        </p:txBody>
      </p:sp>
      <p:sp>
        <p:nvSpPr>
          <p:cNvPr id="1295" name="Google Shape;1295;p148"/>
          <p:cNvSpPr/>
          <p:nvPr/>
        </p:nvSpPr>
        <p:spPr>
          <a:xfrm>
            <a:off x="4658335" y="4045229"/>
            <a:ext cx="1193098" cy="594360"/>
          </a:xfrm>
          <a:prstGeom prst="rect">
            <a:avLst/>
          </a:prstGeom>
          <a:solidFill>
            <a:schemeClr val="lt1"/>
          </a:solidFill>
          <a:ln w="952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ta Transformation</a:t>
            </a:r>
            <a:endParaRPr sz="1200" b="0" i="0" u="none" strike="noStrike" cap="none">
              <a:solidFill>
                <a:schemeClr val="dk1"/>
              </a:solidFill>
              <a:latin typeface="Calibri"/>
              <a:ea typeface="Calibri"/>
              <a:cs typeface="Calibri"/>
              <a:sym typeface="Calibri"/>
            </a:endParaRPr>
          </a:p>
        </p:txBody>
      </p:sp>
      <p:sp>
        <p:nvSpPr>
          <p:cNvPr id="1296" name="Google Shape;1296;p148"/>
          <p:cNvSpPr txBox="1"/>
          <p:nvPr/>
        </p:nvSpPr>
        <p:spPr>
          <a:xfrm>
            <a:off x="1161204" y="1642139"/>
            <a:ext cx="4217288" cy="369291"/>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1800" b="1" i="0" u="none" strike="noStrike" cap="none">
                <a:solidFill>
                  <a:srgbClr val="0F47F2"/>
                </a:solidFill>
                <a:latin typeface="Calibri"/>
                <a:ea typeface="Calibri"/>
                <a:cs typeface="Calibri"/>
                <a:sym typeface="Calibri"/>
              </a:rPr>
              <a:t>ACQUIRE and PREPARE</a:t>
            </a:r>
            <a:endParaRPr sz="1800" b="1" i="0" u="none" strike="noStrike" cap="none">
              <a:solidFill>
                <a:srgbClr val="0F47F2"/>
              </a:solidFill>
              <a:latin typeface="Calibri"/>
              <a:ea typeface="Calibri"/>
              <a:cs typeface="Calibri"/>
              <a:sym typeface="Calibri"/>
            </a:endParaRPr>
          </a:p>
        </p:txBody>
      </p:sp>
      <p:sp>
        <p:nvSpPr>
          <p:cNvPr id="1297" name="Google Shape;1297;p148"/>
          <p:cNvSpPr txBox="1"/>
          <p:nvPr/>
        </p:nvSpPr>
        <p:spPr>
          <a:xfrm>
            <a:off x="7152870" y="1639278"/>
            <a:ext cx="1864093" cy="372152"/>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1800" b="1" i="0" u="none" strike="noStrike" cap="none" dirty="0">
                <a:solidFill>
                  <a:srgbClr val="0F47F2"/>
                </a:solidFill>
                <a:latin typeface="Calibri"/>
                <a:ea typeface="Calibri"/>
                <a:cs typeface="Calibri"/>
                <a:sym typeface="Calibri"/>
              </a:rPr>
              <a:t>ANALYZE</a:t>
            </a:r>
            <a:endParaRPr sz="1800" b="1" i="0" u="none" strike="noStrike" cap="none" dirty="0">
              <a:solidFill>
                <a:srgbClr val="0F47F2"/>
              </a:solidFill>
              <a:latin typeface="Calibri"/>
              <a:ea typeface="Calibri"/>
              <a:cs typeface="Calibri"/>
              <a:sym typeface="Calibri"/>
            </a:endParaRPr>
          </a:p>
        </p:txBody>
      </p:sp>
      <p:sp>
        <p:nvSpPr>
          <p:cNvPr id="1298" name="Google Shape;1298;p148"/>
          <p:cNvSpPr txBox="1"/>
          <p:nvPr/>
        </p:nvSpPr>
        <p:spPr>
          <a:xfrm>
            <a:off x="10166332" y="1642139"/>
            <a:ext cx="1463040" cy="369291"/>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1800" b="1" i="0" u="none" strike="noStrike" cap="none">
                <a:solidFill>
                  <a:schemeClr val="dk2"/>
                </a:solidFill>
                <a:latin typeface="Calibri"/>
                <a:ea typeface="Calibri"/>
                <a:cs typeface="Calibri"/>
                <a:sym typeface="Calibri"/>
              </a:rPr>
              <a:t>DEPLOY</a:t>
            </a:r>
            <a:endParaRPr sz="1800" b="1" i="0" u="none" strike="noStrike" cap="none">
              <a:solidFill>
                <a:schemeClr val="dk2"/>
              </a:solidFill>
              <a:latin typeface="Calibri"/>
              <a:ea typeface="Calibri"/>
              <a:cs typeface="Calibri"/>
              <a:sym typeface="Calibri"/>
            </a:endParaRPr>
          </a:p>
        </p:txBody>
      </p:sp>
      <p:cxnSp>
        <p:nvCxnSpPr>
          <p:cNvPr id="1299" name="Google Shape;1299;p148"/>
          <p:cNvCxnSpPr/>
          <p:nvPr/>
        </p:nvCxnSpPr>
        <p:spPr>
          <a:xfrm>
            <a:off x="578734" y="1998869"/>
            <a:ext cx="5272699" cy="0"/>
          </a:xfrm>
          <a:prstGeom prst="straightConnector1">
            <a:avLst/>
          </a:prstGeom>
          <a:noFill/>
          <a:ln w="28575" cap="flat" cmpd="sng">
            <a:solidFill>
              <a:srgbClr val="0F47F2"/>
            </a:solidFill>
            <a:prstDash val="solid"/>
            <a:round/>
            <a:headEnd type="none" w="sm" len="sm"/>
            <a:tailEnd type="none" w="sm" len="sm"/>
          </a:ln>
        </p:spPr>
      </p:cxnSp>
      <p:cxnSp>
        <p:nvCxnSpPr>
          <p:cNvPr id="1300" name="Google Shape;1300;p148"/>
          <p:cNvCxnSpPr/>
          <p:nvPr/>
        </p:nvCxnSpPr>
        <p:spPr>
          <a:xfrm>
            <a:off x="6018202" y="1998869"/>
            <a:ext cx="3981358" cy="0"/>
          </a:xfrm>
          <a:prstGeom prst="straightConnector1">
            <a:avLst/>
          </a:prstGeom>
          <a:noFill/>
          <a:ln w="28575" cap="flat" cmpd="sng">
            <a:solidFill>
              <a:srgbClr val="0F47F2"/>
            </a:solidFill>
            <a:prstDash val="solid"/>
            <a:round/>
            <a:headEnd type="none" w="sm" len="sm"/>
            <a:tailEnd type="none" w="sm" len="sm"/>
          </a:ln>
        </p:spPr>
      </p:cxnSp>
      <p:cxnSp>
        <p:nvCxnSpPr>
          <p:cNvPr id="1301" name="Google Shape;1301;p148"/>
          <p:cNvCxnSpPr/>
          <p:nvPr/>
        </p:nvCxnSpPr>
        <p:spPr>
          <a:xfrm>
            <a:off x="10166332" y="1998869"/>
            <a:ext cx="1463040" cy="0"/>
          </a:xfrm>
          <a:prstGeom prst="straightConnector1">
            <a:avLst/>
          </a:prstGeom>
          <a:noFill/>
          <a:ln w="28575" cap="flat" cmpd="sng">
            <a:solidFill>
              <a:schemeClr val="dk2"/>
            </a:solidFill>
            <a:prstDash val="solid"/>
            <a:round/>
            <a:headEnd type="none" w="sm" len="sm"/>
            <a:tailEnd type="none" w="sm" len="sm"/>
          </a:ln>
        </p:spPr>
      </p:cxnSp>
      <p:sp>
        <p:nvSpPr>
          <p:cNvPr id="3" name="Google Shape;940;p145">
            <a:extLst>
              <a:ext uri="{FF2B5EF4-FFF2-40B4-BE49-F238E27FC236}">
                <a16:creationId xmlns:a16="http://schemas.microsoft.com/office/drawing/2014/main" id="{5F56E476-0794-D3C9-E01B-3C8999359ACB}"/>
              </a:ext>
            </a:extLst>
          </p:cNvPr>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algn="ctr">
              <a:buClr>
                <a:srgbClr val="000000"/>
              </a:buClr>
              <a:buSzPts val="1000"/>
            </a:pPr>
            <a:r>
              <a:rPr lang="en-US" sz="1000" dirty="0">
                <a:solidFill>
                  <a:schemeClr val="dk2"/>
                </a:solidFill>
                <a:latin typeface="Franklin Gothic"/>
                <a:sym typeface="Calibri"/>
              </a:rPr>
              <a:t>Analytics</a:t>
            </a:r>
            <a:endParaRPr sz="1000" dirty="0">
              <a:solidFill>
                <a:schemeClr val="dk2"/>
              </a:solidFill>
              <a:latin typeface="Franklin Gothic"/>
              <a:sym typeface="Calibri"/>
            </a:endParaRPr>
          </a:p>
        </p:txBody>
      </p:sp>
      <p:sp>
        <p:nvSpPr>
          <p:cNvPr id="4" name="Google Shape;941;p145">
            <a:extLst>
              <a:ext uri="{FF2B5EF4-FFF2-40B4-BE49-F238E27FC236}">
                <a16:creationId xmlns:a16="http://schemas.microsoft.com/office/drawing/2014/main" id="{A3FFAA5D-41EF-936A-0DE4-35F8F20F4419}"/>
              </a:ext>
            </a:extLst>
          </p:cNvPr>
          <p:cNvSpPr/>
          <p:nvPr/>
        </p:nvSpPr>
        <p:spPr>
          <a:xfrm>
            <a:off x="11557889"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rgbClr val="FFFFFF"/>
              </a:solidFill>
              <a:latin typeface="Calibri"/>
              <a:ea typeface="Calibri"/>
              <a:cs typeface="Calibri"/>
              <a:sym typeface="Calibri"/>
            </a:endParaRPr>
          </a:p>
        </p:txBody>
      </p:sp>
      <p:pic>
        <p:nvPicPr>
          <p:cNvPr id="5" name="Google Shape;942;p145">
            <a:extLst>
              <a:ext uri="{FF2B5EF4-FFF2-40B4-BE49-F238E27FC236}">
                <a16:creationId xmlns:a16="http://schemas.microsoft.com/office/drawing/2014/main" id="{5ECC171A-F6F9-758A-2814-E444B48D5183}"/>
              </a:ext>
            </a:extLst>
          </p:cNvPr>
          <p:cNvPicPr preferRelativeResize="0"/>
          <p:nvPr/>
        </p:nvPicPr>
        <p:blipFill rotWithShape="1">
          <a:blip r:embed="rId6">
            <a:alphaModFix/>
          </a:blip>
          <a:srcRect/>
          <a:stretch/>
        </p:blipFill>
        <p:spPr>
          <a:xfrm>
            <a:off x="11627442" y="209253"/>
            <a:ext cx="322766" cy="322766"/>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18353E-AED7-4A4A-8678-960B5FA4B8F3}"/>
              </a:ext>
            </a:extLst>
          </p:cNvPr>
          <p:cNvGraphicFramePr>
            <a:graphicFrameLocks noChangeAspect="1"/>
          </p:cNvGraphicFramePr>
          <p:nvPr>
            <p:custDataLst>
              <p:tags r:id="rId1"/>
            </p:custDataLst>
            <p:extLst>
              <p:ext uri="{D42A27DB-BD31-4B8C-83A1-F6EECF244321}">
                <p14:modId xmlns:p14="http://schemas.microsoft.com/office/powerpoint/2010/main" val="3954923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D118353E-AED7-4A4A-8678-960B5FA4B8F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536C2C-F896-4E60-984C-D84CCAD8C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Title 3">
            <a:extLst>
              <a:ext uri="{FF2B5EF4-FFF2-40B4-BE49-F238E27FC236}">
                <a16:creationId xmlns:a16="http://schemas.microsoft.com/office/drawing/2014/main" id="{05A2FE30-D496-684B-8A91-C05FB484EE23}"/>
              </a:ext>
            </a:extLst>
          </p:cNvPr>
          <p:cNvSpPr>
            <a:spLocks noGrp="1"/>
          </p:cNvSpPr>
          <p:nvPr>
            <p:ph type="title"/>
          </p:nvPr>
        </p:nvSpPr>
        <p:spPr>
          <a:xfrm>
            <a:off x="737591" y="4200768"/>
            <a:ext cx="8494899" cy="1384995"/>
          </a:xfrm>
        </p:spPr>
        <p:txBody>
          <a:bodyPr vert="horz"/>
          <a:lstStyle/>
          <a:p>
            <a:r>
              <a:rPr lang="en-US" dirty="0"/>
              <a:t>Our support to McKinsey teams</a:t>
            </a:r>
          </a:p>
        </p:txBody>
      </p:sp>
    </p:spTree>
    <p:extLst>
      <p:ext uri="{BB962C8B-B14F-4D97-AF65-F5344CB8AC3E}">
        <p14:creationId xmlns:p14="http://schemas.microsoft.com/office/powerpoint/2010/main" val="45393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2ctrBBb1hU4XgeIGNpaq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QAgailYubZJomdfAED65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gxQNXmcxBGpWx7X1I8s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2ctrBBb1hU4XgeIGNpa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5jvsGbONRlHa1tN1XBgZ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2ctrBBb1hU4XgeIGNpa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3QAgailYubZJomdfAED65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2ctrBBb1hU4XgeIGNpa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fSFcWpRIHZEtIzGpVGRL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5s0jprjfBwVwL454DHZG4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gQT1NWXJEBLuwhIFm4cg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6ECGll22u4VBbLYSlAB1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wveM1Oo90ppIF4epxPI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Eqwcc7DejGViCWBFpFD0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vKq2.R1hUTiwyg3vME0A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6PtFAQie.zfKR.sSpja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Bu55U501WJgUWI9cEuB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Z0UKagApXGHS7iuUKPWT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6q2r2NCXE78UFU9KKgQW_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IFBNReYhEXM3ilJIQQW0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dSP4ZQP2HfA_21xuEp4D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L6dMRQC7iT8dEl61UERg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tPuMvqAi8BQPLjQ2NiM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0.kE_OCUDYLqSOjwpjE4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cuHGZPY.aZO2JVsGlM6C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yqHNxdZFonat1eKgKhrb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9DruIrm3uRAOj6qYtFGB5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cIizVjrdiy.t1.VrJCuw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DaM1rRQF6pvZ5jX0wUsMK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ykSgusDS6L.83GD_Cy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_7Ykj3mnAaNDEA9RP33I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ebXjyc6AdfFM1tUB8R7U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1OebN_e6sJG4wEtXZ3L8w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PdFNF2imCVZqdlNepu1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xUgf80Ew5UI0qfRCz9aS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yHxNkrRYp25shgeqxtF2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tMFE2x6818aaDKXepPd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eqAztjFgzETavJle3vp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geWbLduRj.bl_i7N3pJO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gBTLXgIE4UYxeeLg6FjU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_4uKdH.mF4_IGCs1IDAKi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2ctrBBb1hU4XgeIGNpaq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3QAgailYubZJomdfAED65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2M2it4GJO6pqrb8WKyO2L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2M2it4GJO6pqrb8WKyO2L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At3g6oHR.eSMeI2wrOH9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jISAEtFUhbxIAwICusE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U7v3cWm.ALjPRKJ9nXr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blF5.eRNR9rPuGQEZuE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A9IE.7bLxBrULpoO3xS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y4LRVt1qo76aFx.vfDh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pH.igiAg4ypsuWHYavc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fp6Cj340VALGJWLymSW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mVjA4ltcgICe3e6_2sK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j3fl1AeGXOX4VVDsMkf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u263.y13U8EVew42DLd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Uio.O3YUYWzoTtrSsmIH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277zClE0ite5ZRjRkNVD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2ctrBBb1hU4XgeIGNpaq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spAutoFit/>
      </a:bodyPr>
      <a:lstStyle>
        <a:defPPr algn="l">
          <a:defRPr dirty="0"/>
        </a:defPPr>
      </a:lstStyle>
    </a:txDef>
  </a:objectDefaults>
  <a:extraClrSchemeLst/>
  <a:extLst>
    <a:ext uri="{05A4C25C-085E-4340-85A3-A5531E510DB2}">
      <thm15:themeFamily xmlns:thm15="http://schemas.microsoft.com/office/thememl/2012/main" name="Infomineo_Template_v1.potm" id="{ABC41400-80B7-47EE-907B-C4F60E8EFE29}" vid="{63900581-71C6-4AFD-B1F1-74BA0CD6F400}"/>
    </a:ext>
  </a:extLst>
</a:theme>
</file>

<file path=ppt/theme/theme2.xml><?xml version="1.0" encoding="utf-8"?>
<a:theme xmlns:a="http://schemas.openxmlformats.org/drawingml/2006/main" name="1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5B7EE7A25B13048BE703ED7370A1C7F" ma:contentTypeVersion="3" ma:contentTypeDescription="Create a new document." ma:contentTypeScope="" ma:versionID="8323e77b07041156507475ae67b1971f">
  <xsd:schema xmlns:xsd="http://www.w3.org/2001/XMLSchema" xmlns:xs="http://www.w3.org/2001/XMLSchema" xmlns:p="http://schemas.microsoft.com/office/2006/metadata/properties" xmlns:ns3="5035a708-e515-4b43-a6df-f57e2640a5d4" targetNamespace="http://schemas.microsoft.com/office/2006/metadata/properties" ma:root="true" ma:fieldsID="6aefb8e89d7ee64e73c8325d050558dd" ns3:_="">
    <xsd:import namespace="5035a708-e515-4b43-a6df-f57e2640a5d4"/>
    <xsd:element name="properties">
      <xsd:complexType>
        <xsd:sequence>
          <xsd:element name="documentManagement">
            <xsd:complexType>
              <xsd:all>
                <xsd:element ref="ns3:MediaServiceMetadata" minOccurs="0"/>
                <xsd:element ref="ns3:MediaServiceFastMetadata"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35a708-e515-4b43-a6df-f57e2640a5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387B20-30C9-4553-BC59-F6B64D0CC464}">
  <ds:schemaRefs>
    <ds:schemaRef ds:uri="http://schemas.microsoft.com/office/2006/metadata/properties"/>
    <ds:schemaRef ds:uri="http://purl.org/dc/dcmitype/"/>
    <ds:schemaRef ds:uri="http://purl.org/dc/elements/1.1/"/>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5035a708-e515-4b43-a6df-f57e2640a5d4"/>
  </ds:schemaRefs>
</ds:datastoreItem>
</file>

<file path=customXml/itemProps2.xml><?xml version="1.0" encoding="utf-8"?>
<ds:datastoreItem xmlns:ds="http://schemas.openxmlformats.org/officeDocument/2006/customXml" ds:itemID="{693EE29A-A901-40AF-A02C-532082F62736}">
  <ds:schemaRefs>
    <ds:schemaRef ds:uri="http://schemas.microsoft.com/sharepoint/v3/contenttype/forms"/>
  </ds:schemaRefs>
</ds:datastoreItem>
</file>

<file path=customXml/itemProps3.xml><?xml version="1.0" encoding="utf-8"?>
<ds:datastoreItem xmlns:ds="http://schemas.openxmlformats.org/officeDocument/2006/customXml" ds:itemID="{54B25159-5944-43B4-9150-BB15601A60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35a708-e515-4b43-a6df-f57e2640a5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302</TotalTime>
  <Words>4085</Words>
  <Application>Microsoft Office PowerPoint</Application>
  <PresentationFormat>Widescreen</PresentationFormat>
  <Paragraphs>562</Paragraphs>
  <Slides>30</Slides>
  <Notes>18</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8" baseType="lpstr">
      <vt:lpstr>Arial</vt:lpstr>
      <vt:lpstr>Arial Narrow</vt:lpstr>
      <vt:lpstr>Calibri</vt:lpstr>
      <vt:lpstr>Calibri Light</vt:lpstr>
      <vt:lpstr>EconSansOS</vt:lpstr>
      <vt:lpstr>EYInterstate Light</vt:lpstr>
      <vt:lpstr>Franklin Gothic</vt:lpstr>
      <vt:lpstr>Franklin Gothic Book</vt:lpstr>
      <vt:lpstr>Franklin Gothic Demi</vt:lpstr>
      <vt:lpstr>Libre Franklin</vt:lpstr>
      <vt:lpstr>Noto Sans Symbols</vt:lpstr>
      <vt:lpstr>Open Sans</vt:lpstr>
      <vt:lpstr>Wingdings</vt:lpstr>
      <vt:lpstr>Wingdings 2</vt:lpstr>
      <vt:lpstr>Office Theme</vt:lpstr>
      <vt:lpstr>1_Office Theme</vt:lpstr>
      <vt:lpstr>2_Office Theme</vt:lpstr>
      <vt:lpstr>think-cell Slide</vt:lpstr>
      <vt:lpstr>Research &amp; Analytics capabilities overview</vt:lpstr>
      <vt:lpstr>PowerPoint Presentation</vt:lpstr>
      <vt:lpstr>PowerPoint Presentation</vt:lpstr>
      <vt:lpstr>Presentation of services</vt:lpstr>
      <vt:lpstr>Infomineo offers a diversified suite of services</vt:lpstr>
      <vt:lpstr>Our Research service combines different approaches and depth levels </vt:lpstr>
      <vt:lpstr>Infomineo offers a full suite of Data Analytics Services</vt:lpstr>
      <vt:lpstr>Our Data Analytics service can handle all steps of a Use Case</vt:lpstr>
      <vt:lpstr>Our support to McKinsey teams</vt:lpstr>
      <vt:lpstr>Infomineo and McKinsey started their collaboration in 2013 and today our McK-dedicated research team size is almost 10x larger with a global coverage</vt:lpstr>
      <vt:lpstr>The engagement models</vt:lpstr>
      <vt:lpstr>Examples of requests / Use cases</vt:lpstr>
      <vt:lpstr>We support the local &amp; regional C&amp;I teams mostly to answer open-ended questions to better understand specific markets and industries </vt:lpstr>
      <vt:lpstr>Different practice areas are also leveraging our teams for industry-specific research and market analysis (1/2)</vt:lpstr>
      <vt:lpstr>Different practice areas are also leveraging our teams for industry-specific research and market analysis (2/2)</vt:lpstr>
      <vt:lpstr>A Comprehensive Dashboard of Key HR Metrics  and Performance Indicators</vt:lpstr>
      <vt:lpstr>A Comprehensive Dashboard of HR Key Metrics and Performance Indicators</vt:lpstr>
      <vt:lpstr>Web Scraping Tool for Second-Hand Car Sales</vt:lpstr>
      <vt:lpstr>Web Scraping Tool for Second-Hand Car Sales</vt:lpstr>
      <vt:lpstr>Geospatial Analysis of Labor Catchment:  Assessing Employment and Demographic Patterns</vt:lpstr>
      <vt:lpstr>Geospatial Analysis of Labor Catchment:  Assessing Employment and Demographic Patterns</vt:lpstr>
      <vt:lpstr>Our portfolio of databases</vt:lpstr>
      <vt:lpstr>Infomineo gives you access to the main premium databases1</vt:lpstr>
      <vt:lpstr>Feedback from the McK teams</vt:lpstr>
      <vt:lpstr>Over the past 3 years, +95% of the client feedback on the quality of the dedicated-team’s support is rated either as Excellent or Good </vt:lpstr>
      <vt:lpstr>Our office locations and contact details</vt:lpstr>
      <vt:lpstr>We provide the Firm with Research support with a global coverage from three main research hubs</vt:lpstr>
      <vt:lpstr>Working with Infomineo….</vt:lpstr>
      <vt:lpstr>Working with Infomine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 3</dc:creator>
  <cp:lastModifiedBy>Casa 3</cp:lastModifiedBy>
  <cp:revision>758</cp:revision>
  <dcterms:created xsi:type="dcterms:W3CDTF">2020-07-22T11:09:55Z</dcterms:created>
  <dcterms:modified xsi:type="dcterms:W3CDTF">2023-07-11T16:2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B7EE7A25B13048BE703ED7370A1C7F</vt:lpwstr>
  </property>
</Properties>
</file>